
<file path=[Content_Types].xml><?xml version="1.0" encoding="utf-8"?>
<Types xmlns="http://schemas.openxmlformats.org/package/2006/content-types">
  <Default Extension="png" ContentType="image/png"/>
  <Default Extension="wmf" ContentType="image/x-w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48" r:id="rId4"/>
    <p:sldMasterId id="2147483661" r:id="rId5"/>
    <p:sldMasterId id="2147483688" r:id="rId6"/>
  </p:sldMasterIdLst>
  <p:notesMasterIdLst>
    <p:notesMasterId r:id="rId21"/>
  </p:notesMasterIdLst>
  <p:handoutMasterIdLst>
    <p:handoutMasterId r:id="rId22"/>
  </p:handoutMasterIdLst>
  <p:sldIdLst>
    <p:sldId id="703" r:id="rId7"/>
    <p:sldId id="852" r:id="rId8"/>
    <p:sldId id="962" r:id="rId9"/>
    <p:sldId id="922" r:id="rId10"/>
    <p:sldId id="974" r:id="rId11"/>
    <p:sldId id="975" r:id="rId12"/>
    <p:sldId id="938" r:id="rId13"/>
    <p:sldId id="851" r:id="rId14"/>
    <p:sldId id="952" r:id="rId15"/>
    <p:sldId id="977" r:id="rId16"/>
    <p:sldId id="976" r:id="rId17"/>
    <p:sldId id="948" r:id="rId18"/>
    <p:sldId id="959" r:id="rId19"/>
    <p:sldId id="970" r:id="rId20"/>
  </p:sldIdLst>
  <p:sldSz cx="12192000" cy="6858000"/>
  <p:notesSz cx="6808788" cy="99409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340BAB7C-4380-478F-8AE2-000A0216D682}">
          <p14:sldIdLst>
            <p14:sldId id="703"/>
            <p14:sldId id="852"/>
            <p14:sldId id="962"/>
          </p14:sldIdLst>
        </p14:section>
        <p14:section name="Phase 1 - Cultural adaptation of EASE" id="{D1CBAE43-2AB3-4FC6-9AAB-45879AD68CE4}">
          <p14:sldIdLst>
            <p14:sldId id="922"/>
            <p14:sldId id="974"/>
            <p14:sldId id="975"/>
            <p14:sldId id="938"/>
          </p14:sldIdLst>
        </p14:section>
        <p14:section name="Phase 2 - Feasibility Study" id="{B9C3332F-F365-4844-9E84-38AC1CC4604E}">
          <p14:sldIdLst>
            <p14:sldId id="851"/>
            <p14:sldId id="952"/>
            <p14:sldId id="977"/>
            <p14:sldId id="976"/>
            <p14:sldId id="948"/>
          </p14:sldIdLst>
        </p14:section>
        <p14:section name="Phase 3-5" id="{4B13E2BA-7509-4CE8-B7BE-E265DAAD97DF}">
          <p14:sldIdLst>
            <p14:sldId id="959"/>
            <p14:sldId id="970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inske Ellermeijer" initials="RE" lastIdx="63" clrIdx="0">
    <p:extLst/>
  </p:cmAuthor>
  <p:cmAuthor id="2" name="Tjipke Bergsma" initials="TB" lastIdx="1" clrIdx="1">
    <p:extLst/>
  </p:cmAuthor>
  <p:cmAuthor id="3" name="Robbert Bodegraven" initials="RB" lastIdx="12" clrIdx="2">
    <p:extLst/>
  </p:cmAuthor>
  <p:cmAuthor id="4" name="Veronique Hoogendoorn" initials="VH" lastIdx="43" clrIdx="3">
    <p:extLst/>
  </p:cmAuthor>
  <p:cmAuthor id="5" name="Frederik Steen" initials="FS" lastIdx="4" clrIdx="4">
    <p:extLst/>
  </p:cmAuthor>
  <p:cmAuthor id="6" name="May Aoun" initials="MA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CFC"/>
    <a:srgbClr val="00FF00"/>
    <a:srgbClr val="FEE173"/>
    <a:srgbClr val="CADBFE"/>
    <a:srgbClr val="A06B9D"/>
    <a:srgbClr val="81BC57"/>
    <a:srgbClr val="94CBE0"/>
    <a:srgbClr val="ED1B2D"/>
    <a:srgbClr val="FF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75" autoAdjust="0"/>
    <p:restoredTop sz="66618" autoAdjust="0"/>
  </p:normalViewPr>
  <p:slideViewPr>
    <p:cSldViewPr snapToGrid="0">
      <p:cViewPr>
        <p:scale>
          <a:sx n="55" d="100"/>
          <a:sy n="55" d="100"/>
        </p:scale>
        <p:origin x="-1320" y="-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FBACF9-1BA7-4EE1-93E3-8415A0A9A41C}" type="doc">
      <dgm:prSet loTypeId="urn:microsoft.com/office/officeart/2005/8/layout/StepDownProcess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5422263A-12CD-45FD-9EA6-C70AA31841CB}">
      <dgm:prSet phldrT="[Text]"/>
      <dgm:spPr/>
      <dgm:t>
        <a:bodyPr/>
        <a:lstStyle/>
        <a:p>
          <a:r>
            <a:rPr lang="en-US" dirty="0" smtClean="0"/>
            <a:t>1b</a:t>
          </a:r>
          <a:r>
            <a:rPr lang="en-US" dirty="0"/>
            <a:t>. </a:t>
          </a:r>
          <a:r>
            <a:rPr lang="en-US" dirty="0" smtClean="0"/>
            <a:t>Desk Review</a:t>
          </a:r>
          <a:endParaRPr lang="en-US" dirty="0"/>
        </a:p>
      </dgm:t>
    </dgm:pt>
    <dgm:pt modelId="{E4C70053-90C3-4BEA-950D-A0D77D1C8D71}" type="parTrans" cxnId="{9A79369B-8D65-412F-BFDC-CFD23AF3B632}">
      <dgm:prSet/>
      <dgm:spPr/>
      <dgm:t>
        <a:bodyPr/>
        <a:lstStyle/>
        <a:p>
          <a:endParaRPr lang="en-US"/>
        </a:p>
      </dgm:t>
    </dgm:pt>
    <dgm:pt modelId="{64AA8570-B995-4C74-A24A-5AF623C616BD}" type="sibTrans" cxnId="{9A79369B-8D65-412F-BFDC-CFD23AF3B632}">
      <dgm:prSet/>
      <dgm:spPr/>
      <dgm:t>
        <a:bodyPr/>
        <a:lstStyle/>
        <a:p>
          <a:endParaRPr lang="en-US"/>
        </a:p>
      </dgm:t>
    </dgm:pt>
    <dgm:pt modelId="{527CD726-B840-4CA5-8461-C47192E9E4CF}">
      <dgm:prSet phldrT="[Text]"/>
      <dgm:spPr/>
      <dgm:t>
        <a:bodyPr/>
        <a:lstStyle/>
        <a:p>
          <a:r>
            <a:rPr lang="en-US" smtClean="0"/>
            <a:t>1d</a:t>
          </a:r>
          <a:r>
            <a:rPr lang="en-US" dirty="0" smtClean="0"/>
            <a:t>. Psychologist read through</a:t>
          </a:r>
          <a:endParaRPr lang="en-US" dirty="0"/>
        </a:p>
      </dgm:t>
    </dgm:pt>
    <dgm:pt modelId="{C02AB6BE-408E-4C18-8187-1C3CA9573892}" type="parTrans" cxnId="{C90EC50A-3A80-4182-9C4F-21463C6ADB6D}">
      <dgm:prSet/>
      <dgm:spPr/>
      <dgm:t>
        <a:bodyPr/>
        <a:lstStyle/>
        <a:p>
          <a:endParaRPr lang="en-US"/>
        </a:p>
      </dgm:t>
    </dgm:pt>
    <dgm:pt modelId="{DA5AB447-B4B8-45FE-8918-6283859B6B7A}" type="sibTrans" cxnId="{C90EC50A-3A80-4182-9C4F-21463C6ADB6D}">
      <dgm:prSet/>
      <dgm:spPr/>
      <dgm:t>
        <a:bodyPr/>
        <a:lstStyle/>
        <a:p>
          <a:endParaRPr lang="en-US"/>
        </a:p>
      </dgm:t>
    </dgm:pt>
    <dgm:pt modelId="{12C89141-A0AE-424E-B055-BC5FAD4A9D8D}">
      <dgm:prSet phldrT="[Text]"/>
      <dgm:spPr/>
      <dgm:t>
        <a:bodyPr/>
        <a:lstStyle/>
        <a:p>
          <a:r>
            <a:rPr lang="en-US" dirty="0" smtClean="0"/>
            <a:t>1e. Mock sessions EASE</a:t>
          </a:r>
          <a:endParaRPr lang="en-US" dirty="0"/>
        </a:p>
      </dgm:t>
    </dgm:pt>
    <dgm:pt modelId="{BDDFB032-7CDA-48EE-A117-E7142F371735}" type="parTrans" cxnId="{A9309466-D441-4DBE-AE41-FF40B9341E46}">
      <dgm:prSet/>
      <dgm:spPr/>
      <dgm:t>
        <a:bodyPr/>
        <a:lstStyle/>
        <a:p>
          <a:endParaRPr lang="en-US"/>
        </a:p>
      </dgm:t>
    </dgm:pt>
    <dgm:pt modelId="{97733B4B-A765-4C12-B7E0-3092D69907EE}" type="sibTrans" cxnId="{A9309466-D441-4DBE-AE41-FF40B9341E46}">
      <dgm:prSet/>
      <dgm:spPr/>
      <dgm:t>
        <a:bodyPr/>
        <a:lstStyle/>
        <a:p>
          <a:endParaRPr lang="en-US"/>
        </a:p>
      </dgm:t>
    </dgm:pt>
    <dgm:pt modelId="{A91FA4AD-E2C8-4035-88FD-A79B8A00C60D}">
      <dgm:prSet phldrT="[Text]"/>
      <dgm:spPr/>
      <dgm:t>
        <a:bodyPr/>
        <a:lstStyle/>
        <a:p>
          <a:r>
            <a:rPr lang="en-US" dirty="0" smtClean="0"/>
            <a:t>1c. Cognitive interviewing</a:t>
          </a:r>
          <a:endParaRPr lang="en-US" dirty="0"/>
        </a:p>
      </dgm:t>
    </dgm:pt>
    <dgm:pt modelId="{EC306D06-A233-4ECF-B9E9-4CFBB552F056}" type="parTrans" cxnId="{CF27C776-7ABD-4946-8256-ED1DAC170F00}">
      <dgm:prSet/>
      <dgm:spPr/>
      <dgm:t>
        <a:bodyPr/>
        <a:lstStyle/>
        <a:p>
          <a:endParaRPr lang="en-US"/>
        </a:p>
      </dgm:t>
    </dgm:pt>
    <dgm:pt modelId="{643C26AC-AE67-4C87-81F9-1DB46077C8C1}" type="sibTrans" cxnId="{CF27C776-7ABD-4946-8256-ED1DAC170F00}">
      <dgm:prSet/>
      <dgm:spPr/>
      <dgm:t>
        <a:bodyPr/>
        <a:lstStyle/>
        <a:p>
          <a:endParaRPr lang="en-US"/>
        </a:p>
      </dgm:t>
    </dgm:pt>
    <dgm:pt modelId="{8BD72A17-49B4-482B-AE9D-C8D9BD0BC272}">
      <dgm:prSet phldrT="[Text]"/>
      <dgm:spPr/>
      <dgm:t>
        <a:bodyPr/>
        <a:lstStyle/>
        <a:p>
          <a:r>
            <a:rPr lang="en-US" dirty="0" smtClean="0"/>
            <a:t>1a. Rapid Qualitative Assessment </a:t>
          </a:r>
          <a:endParaRPr lang="en-US" dirty="0"/>
        </a:p>
      </dgm:t>
    </dgm:pt>
    <dgm:pt modelId="{01A7DBBA-EEC7-440C-B552-C35436DB3C5F}" type="parTrans" cxnId="{A9D0F34E-83AB-4F18-9885-C53214FF6EFB}">
      <dgm:prSet/>
      <dgm:spPr/>
      <dgm:t>
        <a:bodyPr/>
        <a:lstStyle/>
        <a:p>
          <a:endParaRPr lang="en-US"/>
        </a:p>
      </dgm:t>
    </dgm:pt>
    <dgm:pt modelId="{FBD84722-1543-47D3-A59E-35ED54704C26}" type="sibTrans" cxnId="{A9D0F34E-83AB-4F18-9885-C53214FF6EFB}">
      <dgm:prSet/>
      <dgm:spPr/>
      <dgm:t>
        <a:bodyPr/>
        <a:lstStyle/>
        <a:p>
          <a:endParaRPr lang="en-US"/>
        </a:p>
      </dgm:t>
    </dgm:pt>
    <dgm:pt modelId="{E20C8595-E488-44C9-85CE-D02F8B6FD3D8}" type="pres">
      <dgm:prSet presAssocID="{FCFBACF9-1BA7-4EE1-93E3-8415A0A9A41C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nl-NL"/>
        </a:p>
      </dgm:t>
    </dgm:pt>
    <dgm:pt modelId="{8EB301F2-9EE4-4360-A43C-B6C9F418FB46}" type="pres">
      <dgm:prSet presAssocID="{8BD72A17-49B4-482B-AE9D-C8D9BD0BC272}" presName="composite" presStyleCnt="0"/>
      <dgm:spPr/>
      <dgm:t>
        <a:bodyPr/>
        <a:lstStyle/>
        <a:p>
          <a:endParaRPr lang="nl-NL"/>
        </a:p>
      </dgm:t>
    </dgm:pt>
    <dgm:pt modelId="{8F2B35AD-74AD-4EF7-BFEC-7F88B0647F13}" type="pres">
      <dgm:prSet presAssocID="{8BD72A17-49B4-482B-AE9D-C8D9BD0BC272}" presName="bentUpArrow1" presStyleLbl="alignImgPlace1" presStyleIdx="0" presStyleCnt="4"/>
      <dgm:spPr/>
      <dgm:t>
        <a:bodyPr/>
        <a:lstStyle/>
        <a:p>
          <a:endParaRPr lang="nl-NL"/>
        </a:p>
      </dgm:t>
    </dgm:pt>
    <dgm:pt modelId="{6899FE50-58E9-41F5-A266-F104EC637EBD}" type="pres">
      <dgm:prSet presAssocID="{8BD72A17-49B4-482B-AE9D-C8D9BD0BC272}" presName="ParentText" presStyleLbl="node1" presStyleIdx="0" presStyleCnt="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419B0353-6462-4D8B-BEE4-9EC3EAE356BF}" type="pres">
      <dgm:prSet presAssocID="{8BD72A17-49B4-482B-AE9D-C8D9BD0BC272}" presName="ChildText" presStyleLbl="revTx" presStyleIdx="0" presStyleCnt="4" custLinFactNeighborX="6642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D4BC4328-D8D6-43EB-B7E6-7C4C20D70E10}" type="pres">
      <dgm:prSet presAssocID="{FBD84722-1543-47D3-A59E-35ED54704C26}" presName="sibTrans" presStyleCnt="0"/>
      <dgm:spPr/>
      <dgm:t>
        <a:bodyPr/>
        <a:lstStyle/>
        <a:p>
          <a:endParaRPr lang="nl-NL"/>
        </a:p>
      </dgm:t>
    </dgm:pt>
    <dgm:pt modelId="{568BD63F-B2FD-484A-9DF9-550A74B65C03}" type="pres">
      <dgm:prSet presAssocID="{5422263A-12CD-45FD-9EA6-C70AA31841CB}" presName="composite" presStyleCnt="0"/>
      <dgm:spPr/>
      <dgm:t>
        <a:bodyPr/>
        <a:lstStyle/>
        <a:p>
          <a:endParaRPr lang="nl-NL"/>
        </a:p>
      </dgm:t>
    </dgm:pt>
    <dgm:pt modelId="{53D24DA1-DB30-4B0B-A88C-3F07F7625D84}" type="pres">
      <dgm:prSet presAssocID="{5422263A-12CD-45FD-9EA6-C70AA31841CB}" presName="bentUpArrow1" presStyleLbl="alignImgPlace1" presStyleIdx="1" presStyleCnt="4"/>
      <dgm:spPr/>
      <dgm:t>
        <a:bodyPr/>
        <a:lstStyle/>
        <a:p>
          <a:endParaRPr lang="nl-NL"/>
        </a:p>
      </dgm:t>
    </dgm:pt>
    <dgm:pt modelId="{D90A893D-68B3-4904-BE32-DC081BCC5A44}" type="pres">
      <dgm:prSet presAssocID="{5422263A-12CD-45FD-9EA6-C70AA31841CB}" presName="ParentText" presStyleLbl="node1" presStyleIdx="1" presStyleCnt="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9A05E111-54BD-4D23-9350-A50D29848CA5}" type="pres">
      <dgm:prSet presAssocID="{5422263A-12CD-45FD-9EA6-C70AA31841CB}" presName="ChildText" presStyleLbl="revTx" presStyleIdx="1" presStyleCnt="4" custScaleX="281733" custLinFactX="14400" custLinFactNeighborX="100000" custLinFactNeighborY="-237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22265E7B-9EF8-47BC-ADA6-5E5ADBFF358B}" type="pres">
      <dgm:prSet presAssocID="{64AA8570-B995-4C74-A24A-5AF623C616BD}" presName="sibTrans" presStyleCnt="0"/>
      <dgm:spPr/>
      <dgm:t>
        <a:bodyPr/>
        <a:lstStyle/>
        <a:p>
          <a:endParaRPr lang="nl-NL"/>
        </a:p>
      </dgm:t>
    </dgm:pt>
    <dgm:pt modelId="{88BF5496-A7E1-4E65-A0C0-87626AF1543D}" type="pres">
      <dgm:prSet presAssocID="{527CD726-B840-4CA5-8461-C47192E9E4CF}" presName="composite" presStyleCnt="0"/>
      <dgm:spPr/>
      <dgm:t>
        <a:bodyPr/>
        <a:lstStyle/>
        <a:p>
          <a:endParaRPr lang="nl-NL"/>
        </a:p>
      </dgm:t>
    </dgm:pt>
    <dgm:pt modelId="{2FD00E0E-4996-44C5-8103-43CD40869F40}" type="pres">
      <dgm:prSet presAssocID="{527CD726-B840-4CA5-8461-C47192E9E4CF}" presName="bentUpArrow1" presStyleLbl="alignImgPlace1" presStyleIdx="2" presStyleCnt="4"/>
      <dgm:spPr/>
      <dgm:t>
        <a:bodyPr/>
        <a:lstStyle/>
        <a:p>
          <a:endParaRPr lang="nl-NL"/>
        </a:p>
      </dgm:t>
    </dgm:pt>
    <dgm:pt modelId="{445A2192-0F17-4D8A-B1C0-D18C2CDC54D5}" type="pres">
      <dgm:prSet presAssocID="{527CD726-B840-4CA5-8461-C47192E9E4CF}" presName="ParentText" presStyleLbl="node1" presStyleIdx="2" presStyleCnt="5" custLinFactY="7342" custLinFactNeighborX="75152" custLinFactNeighborY="10000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CAB86768-701C-422B-89D3-6F61E1C2CD3A}" type="pres">
      <dgm:prSet presAssocID="{527CD726-B840-4CA5-8461-C47192E9E4CF}" presName="ChildText" presStyleLbl="revTx" presStyleIdx="2" presStyleCnt="4" custScaleX="274844" custLinFactX="100000" custLinFactY="23473" custLinFactNeighborX="102584" custLinFactNeighborY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842C1A56-677D-4343-BC6A-E7AABB4DB0D7}" type="pres">
      <dgm:prSet presAssocID="{DA5AB447-B4B8-45FE-8918-6283859B6B7A}" presName="sibTrans" presStyleCnt="0"/>
      <dgm:spPr/>
      <dgm:t>
        <a:bodyPr/>
        <a:lstStyle/>
        <a:p>
          <a:endParaRPr lang="nl-NL"/>
        </a:p>
      </dgm:t>
    </dgm:pt>
    <dgm:pt modelId="{313E5251-B63F-45F6-BCEE-F7C1BC92C301}" type="pres">
      <dgm:prSet presAssocID="{12C89141-A0AE-424E-B055-BC5FAD4A9D8D}" presName="composite" presStyleCnt="0"/>
      <dgm:spPr/>
      <dgm:t>
        <a:bodyPr/>
        <a:lstStyle/>
        <a:p>
          <a:endParaRPr lang="nl-NL"/>
        </a:p>
      </dgm:t>
    </dgm:pt>
    <dgm:pt modelId="{753C6A5C-D623-4CC7-B8FF-F3728786A22A}" type="pres">
      <dgm:prSet presAssocID="{12C89141-A0AE-424E-B055-BC5FAD4A9D8D}" presName="bentUpArrow1" presStyleLbl="alignImgPlace1" presStyleIdx="3" presStyleCnt="4"/>
      <dgm:spPr/>
      <dgm:t>
        <a:bodyPr/>
        <a:lstStyle/>
        <a:p>
          <a:endParaRPr lang="nl-NL"/>
        </a:p>
      </dgm:t>
    </dgm:pt>
    <dgm:pt modelId="{E0AB42DD-205E-43EF-B3F7-01EC9E8041CA}" type="pres">
      <dgm:prSet presAssocID="{12C89141-A0AE-424E-B055-BC5FAD4A9D8D}" presName="ParentText" presStyleLbl="node1" presStyleIdx="3" presStyleCnt="5" custLinFactY="7342" custLinFactNeighborX="83204" custLinFactNeighborY="10000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1DFBCA32-D718-4900-B2F0-4A175DB27132}" type="pres">
      <dgm:prSet presAssocID="{12C89141-A0AE-424E-B055-BC5FAD4A9D8D}" presName="ChildText" presStyleLbl="revTx" presStyleIdx="3" presStyleCnt="4" custAng="0" custScaleX="218162" custLinFactX="100000" custLinFactY="32028" custLinFactNeighborX="122468" custLinFactNeighborY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510D79B5-0F4B-4F28-A08C-4B391728C11F}" type="pres">
      <dgm:prSet presAssocID="{97733B4B-A765-4C12-B7E0-3092D69907EE}" presName="sibTrans" presStyleCnt="0"/>
      <dgm:spPr/>
      <dgm:t>
        <a:bodyPr/>
        <a:lstStyle/>
        <a:p>
          <a:endParaRPr lang="nl-NL"/>
        </a:p>
      </dgm:t>
    </dgm:pt>
    <dgm:pt modelId="{5D08E656-C26E-4CB9-B675-E3E70C93DC12}" type="pres">
      <dgm:prSet presAssocID="{A91FA4AD-E2C8-4035-88FD-A79B8A00C60D}" presName="composite" presStyleCnt="0"/>
      <dgm:spPr/>
      <dgm:t>
        <a:bodyPr/>
        <a:lstStyle/>
        <a:p>
          <a:endParaRPr lang="nl-NL"/>
        </a:p>
      </dgm:t>
    </dgm:pt>
    <dgm:pt modelId="{361B912B-7DE5-42A1-886C-A449158D76D5}" type="pres">
      <dgm:prSet presAssocID="{A91FA4AD-E2C8-4035-88FD-A79B8A00C60D}" presName="ParentText" presStyleLbl="node1" presStyleIdx="4" presStyleCnt="5" custLinFactX="-73118" custLinFactY="-100000" custLinFactNeighborX="-100000" custLinFactNeighborY="-130019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nl-NL"/>
        </a:p>
      </dgm:t>
    </dgm:pt>
  </dgm:ptLst>
  <dgm:cxnLst>
    <dgm:cxn modelId="{5FFE988A-6536-47E6-A544-46C0C6ED7EB3}" type="presOf" srcId="{A91FA4AD-E2C8-4035-88FD-A79B8A00C60D}" destId="{361B912B-7DE5-42A1-886C-A449158D76D5}" srcOrd="0" destOrd="0" presId="urn:microsoft.com/office/officeart/2005/8/layout/StepDownProcess"/>
    <dgm:cxn modelId="{B690C451-39F2-4019-845D-72F4D8F99B58}" type="presOf" srcId="{8BD72A17-49B4-482B-AE9D-C8D9BD0BC272}" destId="{6899FE50-58E9-41F5-A266-F104EC637EBD}" srcOrd="0" destOrd="0" presId="urn:microsoft.com/office/officeart/2005/8/layout/StepDownProcess"/>
    <dgm:cxn modelId="{A9D0F34E-83AB-4F18-9885-C53214FF6EFB}" srcId="{FCFBACF9-1BA7-4EE1-93E3-8415A0A9A41C}" destId="{8BD72A17-49B4-482B-AE9D-C8D9BD0BC272}" srcOrd="0" destOrd="0" parTransId="{01A7DBBA-EEC7-440C-B552-C35436DB3C5F}" sibTransId="{FBD84722-1543-47D3-A59E-35ED54704C26}"/>
    <dgm:cxn modelId="{A9309466-D441-4DBE-AE41-FF40B9341E46}" srcId="{FCFBACF9-1BA7-4EE1-93E3-8415A0A9A41C}" destId="{12C89141-A0AE-424E-B055-BC5FAD4A9D8D}" srcOrd="3" destOrd="0" parTransId="{BDDFB032-7CDA-48EE-A117-E7142F371735}" sibTransId="{97733B4B-A765-4C12-B7E0-3092D69907EE}"/>
    <dgm:cxn modelId="{432B3C24-7E0D-4D5A-96FA-ED94DC792CDF}" type="presOf" srcId="{12C89141-A0AE-424E-B055-BC5FAD4A9D8D}" destId="{E0AB42DD-205E-43EF-B3F7-01EC9E8041CA}" srcOrd="0" destOrd="0" presId="urn:microsoft.com/office/officeart/2005/8/layout/StepDownProcess"/>
    <dgm:cxn modelId="{CF27C776-7ABD-4946-8256-ED1DAC170F00}" srcId="{FCFBACF9-1BA7-4EE1-93E3-8415A0A9A41C}" destId="{A91FA4AD-E2C8-4035-88FD-A79B8A00C60D}" srcOrd="4" destOrd="0" parTransId="{EC306D06-A233-4ECF-B9E9-4CFBB552F056}" sibTransId="{643C26AC-AE67-4C87-81F9-1DB46077C8C1}"/>
    <dgm:cxn modelId="{09C38B1D-07D8-4E4D-9706-DF1330BF4B08}" type="presOf" srcId="{5422263A-12CD-45FD-9EA6-C70AA31841CB}" destId="{D90A893D-68B3-4904-BE32-DC081BCC5A44}" srcOrd="0" destOrd="0" presId="urn:microsoft.com/office/officeart/2005/8/layout/StepDownProcess"/>
    <dgm:cxn modelId="{9A79369B-8D65-412F-BFDC-CFD23AF3B632}" srcId="{FCFBACF9-1BA7-4EE1-93E3-8415A0A9A41C}" destId="{5422263A-12CD-45FD-9EA6-C70AA31841CB}" srcOrd="1" destOrd="0" parTransId="{E4C70053-90C3-4BEA-950D-A0D77D1C8D71}" sibTransId="{64AA8570-B995-4C74-A24A-5AF623C616BD}"/>
    <dgm:cxn modelId="{97523778-1A13-46E7-AEE1-6A8BFCD3A1C6}" type="presOf" srcId="{527CD726-B840-4CA5-8461-C47192E9E4CF}" destId="{445A2192-0F17-4D8A-B1C0-D18C2CDC54D5}" srcOrd="0" destOrd="0" presId="urn:microsoft.com/office/officeart/2005/8/layout/StepDownProcess"/>
    <dgm:cxn modelId="{0BE64A2A-99A3-49A7-9466-193696FAE45B}" type="presOf" srcId="{FCFBACF9-1BA7-4EE1-93E3-8415A0A9A41C}" destId="{E20C8595-E488-44C9-85CE-D02F8B6FD3D8}" srcOrd="0" destOrd="0" presId="urn:microsoft.com/office/officeart/2005/8/layout/StepDownProcess"/>
    <dgm:cxn modelId="{C90EC50A-3A80-4182-9C4F-21463C6ADB6D}" srcId="{FCFBACF9-1BA7-4EE1-93E3-8415A0A9A41C}" destId="{527CD726-B840-4CA5-8461-C47192E9E4CF}" srcOrd="2" destOrd="0" parTransId="{C02AB6BE-408E-4C18-8187-1C3CA9573892}" sibTransId="{DA5AB447-B4B8-45FE-8918-6283859B6B7A}"/>
    <dgm:cxn modelId="{EC14CBCF-0ACC-459E-B791-397D9BA211D1}" type="presParOf" srcId="{E20C8595-E488-44C9-85CE-D02F8B6FD3D8}" destId="{8EB301F2-9EE4-4360-A43C-B6C9F418FB46}" srcOrd="0" destOrd="0" presId="urn:microsoft.com/office/officeart/2005/8/layout/StepDownProcess"/>
    <dgm:cxn modelId="{54497BE2-D94D-4879-9448-0C0014423EA5}" type="presParOf" srcId="{8EB301F2-9EE4-4360-A43C-B6C9F418FB46}" destId="{8F2B35AD-74AD-4EF7-BFEC-7F88B0647F13}" srcOrd="0" destOrd="0" presId="urn:microsoft.com/office/officeart/2005/8/layout/StepDownProcess"/>
    <dgm:cxn modelId="{7F8770BA-AEF0-41E5-99F5-106039B00793}" type="presParOf" srcId="{8EB301F2-9EE4-4360-A43C-B6C9F418FB46}" destId="{6899FE50-58E9-41F5-A266-F104EC637EBD}" srcOrd="1" destOrd="0" presId="urn:microsoft.com/office/officeart/2005/8/layout/StepDownProcess"/>
    <dgm:cxn modelId="{C0B35DFC-AACF-4DD1-9E32-A7BD2D48652F}" type="presParOf" srcId="{8EB301F2-9EE4-4360-A43C-B6C9F418FB46}" destId="{419B0353-6462-4D8B-BEE4-9EC3EAE356BF}" srcOrd="2" destOrd="0" presId="urn:microsoft.com/office/officeart/2005/8/layout/StepDownProcess"/>
    <dgm:cxn modelId="{39B8D62A-1009-43BE-AA10-E0D41385C363}" type="presParOf" srcId="{E20C8595-E488-44C9-85CE-D02F8B6FD3D8}" destId="{D4BC4328-D8D6-43EB-B7E6-7C4C20D70E10}" srcOrd="1" destOrd="0" presId="urn:microsoft.com/office/officeart/2005/8/layout/StepDownProcess"/>
    <dgm:cxn modelId="{1AABD446-042D-40C8-8292-07EA4BE6FF84}" type="presParOf" srcId="{E20C8595-E488-44C9-85CE-D02F8B6FD3D8}" destId="{568BD63F-B2FD-484A-9DF9-550A74B65C03}" srcOrd="2" destOrd="0" presId="urn:microsoft.com/office/officeart/2005/8/layout/StepDownProcess"/>
    <dgm:cxn modelId="{3F06D69C-95ED-409C-A1A6-91B8C18F2786}" type="presParOf" srcId="{568BD63F-B2FD-484A-9DF9-550A74B65C03}" destId="{53D24DA1-DB30-4B0B-A88C-3F07F7625D84}" srcOrd="0" destOrd="0" presId="urn:microsoft.com/office/officeart/2005/8/layout/StepDownProcess"/>
    <dgm:cxn modelId="{A18719D1-E6DF-405B-A164-C9A4CE07D13D}" type="presParOf" srcId="{568BD63F-B2FD-484A-9DF9-550A74B65C03}" destId="{D90A893D-68B3-4904-BE32-DC081BCC5A44}" srcOrd="1" destOrd="0" presId="urn:microsoft.com/office/officeart/2005/8/layout/StepDownProcess"/>
    <dgm:cxn modelId="{A7B5EB4C-48D2-4FEB-BDCF-AEDDB54A9DF1}" type="presParOf" srcId="{568BD63F-B2FD-484A-9DF9-550A74B65C03}" destId="{9A05E111-54BD-4D23-9350-A50D29848CA5}" srcOrd="2" destOrd="0" presId="urn:microsoft.com/office/officeart/2005/8/layout/StepDownProcess"/>
    <dgm:cxn modelId="{57A0E21F-CF33-4707-A205-8DE3DCB724EA}" type="presParOf" srcId="{E20C8595-E488-44C9-85CE-D02F8B6FD3D8}" destId="{22265E7B-9EF8-47BC-ADA6-5E5ADBFF358B}" srcOrd="3" destOrd="0" presId="urn:microsoft.com/office/officeart/2005/8/layout/StepDownProcess"/>
    <dgm:cxn modelId="{0BD2A24B-949F-4614-8E4F-9861F5533835}" type="presParOf" srcId="{E20C8595-E488-44C9-85CE-D02F8B6FD3D8}" destId="{88BF5496-A7E1-4E65-A0C0-87626AF1543D}" srcOrd="4" destOrd="0" presId="urn:microsoft.com/office/officeart/2005/8/layout/StepDownProcess"/>
    <dgm:cxn modelId="{31DD2203-6B99-497B-B0D0-9EAF9AB7DC6C}" type="presParOf" srcId="{88BF5496-A7E1-4E65-A0C0-87626AF1543D}" destId="{2FD00E0E-4996-44C5-8103-43CD40869F40}" srcOrd="0" destOrd="0" presId="urn:microsoft.com/office/officeart/2005/8/layout/StepDownProcess"/>
    <dgm:cxn modelId="{5694017F-3051-4D62-AC81-3EA1F9060E58}" type="presParOf" srcId="{88BF5496-A7E1-4E65-A0C0-87626AF1543D}" destId="{445A2192-0F17-4D8A-B1C0-D18C2CDC54D5}" srcOrd="1" destOrd="0" presId="urn:microsoft.com/office/officeart/2005/8/layout/StepDownProcess"/>
    <dgm:cxn modelId="{E382334C-E2D9-4302-87FF-3D5A990D7589}" type="presParOf" srcId="{88BF5496-A7E1-4E65-A0C0-87626AF1543D}" destId="{CAB86768-701C-422B-89D3-6F61E1C2CD3A}" srcOrd="2" destOrd="0" presId="urn:microsoft.com/office/officeart/2005/8/layout/StepDownProcess"/>
    <dgm:cxn modelId="{AF2B321E-0B5D-406A-9D62-76500CE09746}" type="presParOf" srcId="{E20C8595-E488-44C9-85CE-D02F8B6FD3D8}" destId="{842C1A56-677D-4343-BC6A-E7AABB4DB0D7}" srcOrd="5" destOrd="0" presId="urn:microsoft.com/office/officeart/2005/8/layout/StepDownProcess"/>
    <dgm:cxn modelId="{3DA4C5E5-579A-4DB5-959E-2EAD84697EB9}" type="presParOf" srcId="{E20C8595-E488-44C9-85CE-D02F8B6FD3D8}" destId="{313E5251-B63F-45F6-BCEE-F7C1BC92C301}" srcOrd="6" destOrd="0" presId="urn:microsoft.com/office/officeart/2005/8/layout/StepDownProcess"/>
    <dgm:cxn modelId="{899D2699-01B0-4129-B686-0137EF49AF98}" type="presParOf" srcId="{313E5251-B63F-45F6-BCEE-F7C1BC92C301}" destId="{753C6A5C-D623-4CC7-B8FF-F3728786A22A}" srcOrd="0" destOrd="0" presId="urn:microsoft.com/office/officeart/2005/8/layout/StepDownProcess"/>
    <dgm:cxn modelId="{136D78FF-2CCE-4DC5-B9F1-1A304F8B782E}" type="presParOf" srcId="{313E5251-B63F-45F6-BCEE-F7C1BC92C301}" destId="{E0AB42DD-205E-43EF-B3F7-01EC9E8041CA}" srcOrd="1" destOrd="0" presId="urn:microsoft.com/office/officeart/2005/8/layout/StepDownProcess"/>
    <dgm:cxn modelId="{7B3AAFDB-5E66-4FDF-A0BC-B47E7AE036A7}" type="presParOf" srcId="{313E5251-B63F-45F6-BCEE-F7C1BC92C301}" destId="{1DFBCA32-D718-4900-B2F0-4A175DB27132}" srcOrd="2" destOrd="0" presId="urn:microsoft.com/office/officeart/2005/8/layout/StepDownProcess"/>
    <dgm:cxn modelId="{B9F4D3E0-C5D2-4F85-8D2B-AC9C270FC52F}" type="presParOf" srcId="{E20C8595-E488-44C9-85CE-D02F8B6FD3D8}" destId="{510D79B5-0F4B-4F28-A08C-4B391728C11F}" srcOrd="7" destOrd="0" presId="urn:microsoft.com/office/officeart/2005/8/layout/StepDownProcess"/>
    <dgm:cxn modelId="{A3C39CDE-5BAA-49C0-B6E5-1AFD6DDFB0F2}" type="presParOf" srcId="{E20C8595-E488-44C9-85CE-D02F8B6FD3D8}" destId="{5D08E656-C26E-4CB9-B675-E3E70C93DC12}" srcOrd="8" destOrd="0" presId="urn:microsoft.com/office/officeart/2005/8/layout/StepDownProcess"/>
    <dgm:cxn modelId="{EEE3A64A-81DF-4D38-AB30-1A239F2D938B}" type="presParOf" srcId="{5D08E656-C26E-4CB9-B675-E3E70C93DC12}" destId="{361B912B-7DE5-42A1-886C-A449158D76D5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CFBACF9-1BA7-4EE1-93E3-8415A0A9A41C}" type="doc">
      <dgm:prSet loTypeId="urn:microsoft.com/office/officeart/2005/8/layout/StepDownProcess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5422263A-12CD-45FD-9EA6-C70AA31841CB}">
      <dgm:prSet phldrT="[Text]"/>
      <dgm:spPr/>
      <dgm:t>
        <a:bodyPr/>
        <a:lstStyle/>
        <a:p>
          <a:r>
            <a:rPr lang="en-US" dirty="0" smtClean="0"/>
            <a:t>1b</a:t>
          </a:r>
          <a:r>
            <a:rPr lang="en-US" dirty="0"/>
            <a:t>. </a:t>
          </a:r>
          <a:r>
            <a:rPr lang="en-US" dirty="0" smtClean="0"/>
            <a:t>Desk Review</a:t>
          </a:r>
          <a:endParaRPr lang="en-US" dirty="0"/>
        </a:p>
      </dgm:t>
    </dgm:pt>
    <dgm:pt modelId="{E4C70053-90C3-4BEA-950D-A0D77D1C8D71}" type="parTrans" cxnId="{9A79369B-8D65-412F-BFDC-CFD23AF3B632}">
      <dgm:prSet/>
      <dgm:spPr/>
      <dgm:t>
        <a:bodyPr/>
        <a:lstStyle/>
        <a:p>
          <a:endParaRPr lang="en-US"/>
        </a:p>
      </dgm:t>
    </dgm:pt>
    <dgm:pt modelId="{64AA8570-B995-4C74-A24A-5AF623C616BD}" type="sibTrans" cxnId="{9A79369B-8D65-412F-BFDC-CFD23AF3B632}">
      <dgm:prSet/>
      <dgm:spPr/>
      <dgm:t>
        <a:bodyPr/>
        <a:lstStyle/>
        <a:p>
          <a:endParaRPr lang="en-US"/>
        </a:p>
      </dgm:t>
    </dgm:pt>
    <dgm:pt modelId="{04B0C84E-F230-4B8A-84CE-A4C536AD0A22}">
      <dgm:prSet phldrT="[Text]" custT="1"/>
      <dgm:spPr/>
      <dgm:t>
        <a:bodyPr/>
        <a:lstStyle/>
        <a:p>
          <a:endParaRPr lang="en-US" sz="1800" dirty="0"/>
        </a:p>
      </dgm:t>
    </dgm:pt>
    <dgm:pt modelId="{984B4250-C024-41B6-9603-BCA545719FF8}" type="parTrans" cxnId="{1462598E-8A97-4CAA-A8DD-AD333B21E223}">
      <dgm:prSet/>
      <dgm:spPr/>
      <dgm:t>
        <a:bodyPr/>
        <a:lstStyle/>
        <a:p>
          <a:endParaRPr lang="en-US"/>
        </a:p>
      </dgm:t>
    </dgm:pt>
    <dgm:pt modelId="{F7B84E7F-3DC0-40A6-9EDB-FC9497461704}" type="sibTrans" cxnId="{1462598E-8A97-4CAA-A8DD-AD333B21E223}">
      <dgm:prSet/>
      <dgm:spPr/>
      <dgm:t>
        <a:bodyPr/>
        <a:lstStyle/>
        <a:p>
          <a:endParaRPr lang="en-US"/>
        </a:p>
      </dgm:t>
    </dgm:pt>
    <dgm:pt modelId="{527CD726-B840-4CA5-8461-C47192E9E4CF}">
      <dgm:prSet phldrT="[Text]"/>
      <dgm:spPr/>
      <dgm:t>
        <a:bodyPr/>
        <a:lstStyle/>
        <a:p>
          <a:r>
            <a:rPr lang="en-US" smtClean="0"/>
            <a:t>1d</a:t>
          </a:r>
          <a:r>
            <a:rPr lang="en-US" dirty="0" smtClean="0"/>
            <a:t>. Psychologist read through</a:t>
          </a:r>
          <a:endParaRPr lang="en-US" dirty="0"/>
        </a:p>
      </dgm:t>
    </dgm:pt>
    <dgm:pt modelId="{C02AB6BE-408E-4C18-8187-1C3CA9573892}" type="parTrans" cxnId="{C90EC50A-3A80-4182-9C4F-21463C6ADB6D}">
      <dgm:prSet/>
      <dgm:spPr/>
      <dgm:t>
        <a:bodyPr/>
        <a:lstStyle/>
        <a:p>
          <a:endParaRPr lang="en-US"/>
        </a:p>
      </dgm:t>
    </dgm:pt>
    <dgm:pt modelId="{DA5AB447-B4B8-45FE-8918-6283859B6B7A}" type="sibTrans" cxnId="{C90EC50A-3A80-4182-9C4F-21463C6ADB6D}">
      <dgm:prSet/>
      <dgm:spPr/>
      <dgm:t>
        <a:bodyPr/>
        <a:lstStyle/>
        <a:p>
          <a:endParaRPr lang="en-US"/>
        </a:p>
      </dgm:t>
    </dgm:pt>
    <dgm:pt modelId="{12C89141-A0AE-424E-B055-BC5FAD4A9D8D}">
      <dgm:prSet phldrT="[Text]"/>
      <dgm:spPr/>
      <dgm:t>
        <a:bodyPr/>
        <a:lstStyle/>
        <a:p>
          <a:r>
            <a:rPr lang="en-US" dirty="0" smtClean="0"/>
            <a:t>1e. Mock sessions EASE</a:t>
          </a:r>
          <a:endParaRPr lang="en-US" dirty="0"/>
        </a:p>
      </dgm:t>
    </dgm:pt>
    <dgm:pt modelId="{BDDFB032-7CDA-48EE-A117-E7142F371735}" type="parTrans" cxnId="{A9309466-D441-4DBE-AE41-FF40B9341E46}">
      <dgm:prSet/>
      <dgm:spPr/>
      <dgm:t>
        <a:bodyPr/>
        <a:lstStyle/>
        <a:p>
          <a:endParaRPr lang="en-US"/>
        </a:p>
      </dgm:t>
    </dgm:pt>
    <dgm:pt modelId="{97733B4B-A765-4C12-B7E0-3092D69907EE}" type="sibTrans" cxnId="{A9309466-D441-4DBE-AE41-FF40B9341E46}">
      <dgm:prSet/>
      <dgm:spPr/>
      <dgm:t>
        <a:bodyPr/>
        <a:lstStyle/>
        <a:p>
          <a:endParaRPr lang="en-US"/>
        </a:p>
      </dgm:t>
    </dgm:pt>
    <dgm:pt modelId="{A91FA4AD-E2C8-4035-88FD-A79B8A00C60D}">
      <dgm:prSet phldrT="[Text]"/>
      <dgm:spPr/>
      <dgm:t>
        <a:bodyPr/>
        <a:lstStyle/>
        <a:p>
          <a:r>
            <a:rPr lang="en-US" dirty="0" smtClean="0"/>
            <a:t>1c. Cognitive interviewing</a:t>
          </a:r>
          <a:endParaRPr lang="en-US" dirty="0"/>
        </a:p>
      </dgm:t>
    </dgm:pt>
    <dgm:pt modelId="{EC306D06-A233-4ECF-B9E9-4CFBB552F056}" type="parTrans" cxnId="{CF27C776-7ABD-4946-8256-ED1DAC170F00}">
      <dgm:prSet/>
      <dgm:spPr/>
      <dgm:t>
        <a:bodyPr/>
        <a:lstStyle/>
        <a:p>
          <a:endParaRPr lang="en-US"/>
        </a:p>
      </dgm:t>
    </dgm:pt>
    <dgm:pt modelId="{643C26AC-AE67-4C87-81F9-1DB46077C8C1}" type="sibTrans" cxnId="{CF27C776-7ABD-4946-8256-ED1DAC170F00}">
      <dgm:prSet/>
      <dgm:spPr/>
      <dgm:t>
        <a:bodyPr/>
        <a:lstStyle/>
        <a:p>
          <a:endParaRPr lang="en-US"/>
        </a:p>
      </dgm:t>
    </dgm:pt>
    <dgm:pt modelId="{8BD72A17-49B4-482B-AE9D-C8D9BD0BC272}">
      <dgm:prSet phldrT="[Text]"/>
      <dgm:spPr/>
      <dgm:t>
        <a:bodyPr/>
        <a:lstStyle/>
        <a:p>
          <a:r>
            <a:rPr lang="en-US" dirty="0" smtClean="0"/>
            <a:t>1a. Rapid Qualitative Assessment </a:t>
          </a:r>
          <a:endParaRPr lang="en-US" dirty="0"/>
        </a:p>
      </dgm:t>
    </dgm:pt>
    <dgm:pt modelId="{01A7DBBA-EEC7-440C-B552-C35436DB3C5F}" type="parTrans" cxnId="{A9D0F34E-83AB-4F18-9885-C53214FF6EFB}">
      <dgm:prSet/>
      <dgm:spPr/>
      <dgm:t>
        <a:bodyPr/>
        <a:lstStyle/>
        <a:p>
          <a:endParaRPr lang="en-US"/>
        </a:p>
      </dgm:t>
    </dgm:pt>
    <dgm:pt modelId="{FBD84722-1543-47D3-A59E-35ED54704C26}" type="sibTrans" cxnId="{A9D0F34E-83AB-4F18-9885-C53214FF6EFB}">
      <dgm:prSet/>
      <dgm:spPr/>
      <dgm:t>
        <a:bodyPr/>
        <a:lstStyle/>
        <a:p>
          <a:endParaRPr lang="en-US"/>
        </a:p>
      </dgm:t>
    </dgm:pt>
    <dgm:pt modelId="{E20C8595-E488-44C9-85CE-D02F8B6FD3D8}" type="pres">
      <dgm:prSet presAssocID="{FCFBACF9-1BA7-4EE1-93E3-8415A0A9A41C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nl-NL"/>
        </a:p>
      </dgm:t>
    </dgm:pt>
    <dgm:pt modelId="{8EB301F2-9EE4-4360-A43C-B6C9F418FB46}" type="pres">
      <dgm:prSet presAssocID="{8BD72A17-49B4-482B-AE9D-C8D9BD0BC272}" presName="composite" presStyleCnt="0"/>
      <dgm:spPr/>
      <dgm:t>
        <a:bodyPr/>
        <a:lstStyle/>
        <a:p>
          <a:endParaRPr lang="nl-NL"/>
        </a:p>
      </dgm:t>
    </dgm:pt>
    <dgm:pt modelId="{8F2B35AD-74AD-4EF7-BFEC-7F88B0647F13}" type="pres">
      <dgm:prSet presAssocID="{8BD72A17-49B4-482B-AE9D-C8D9BD0BC272}" presName="bentUpArrow1" presStyleLbl="alignImgPlace1" presStyleIdx="0" presStyleCnt="4" custLinFactX="-100000" custLinFactNeighborX="-168936" custLinFactNeighborY="666"/>
      <dgm:spPr/>
      <dgm:t>
        <a:bodyPr/>
        <a:lstStyle/>
        <a:p>
          <a:endParaRPr lang="nl-NL"/>
        </a:p>
      </dgm:t>
    </dgm:pt>
    <dgm:pt modelId="{6899FE50-58E9-41F5-A266-F104EC637EBD}" type="pres">
      <dgm:prSet presAssocID="{8BD72A17-49B4-482B-AE9D-C8D9BD0BC272}" presName="ParentText" presStyleLbl="node1" presStyleIdx="0" presStyleCnt="5" custLinFactX="-81877" custLinFactNeighborX="-100000" custLinFactNeighborY="56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419B0353-6462-4D8B-BEE4-9EC3EAE356BF}" type="pres">
      <dgm:prSet presAssocID="{8BD72A17-49B4-482B-AE9D-C8D9BD0BC272}" presName="ChildText" presStyleLbl="revTx" presStyleIdx="0" presStyleCnt="4" custLinFactNeighborX="6642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D4BC4328-D8D6-43EB-B7E6-7C4C20D70E10}" type="pres">
      <dgm:prSet presAssocID="{FBD84722-1543-47D3-A59E-35ED54704C26}" presName="sibTrans" presStyleCnt="0"/>
      <dgm:spPr/>
      <dgm:t>
        <a:bodyPr/>
        <a:lstStyle/>
        <a:p>
          <a:endParaRPr lang="nl-NL"/>
        </a:p>
      </dgm:t>
    </dgm:pt>
    <dgm:pt modelId="{568BD63F-B2FD-484A-9DF9-550A74B65C03}" type="pres">
      <dgm:prSet presAssocID="{5422263A-12CD-45FD-9EA6-C70AA31841CB}" presName="composite" presStyleCnt="0"/>
      <dgm:spPr/>
      <dgm:t>
        <a:bodyPr/>
        <a:lstStyle/>
        <a:p>
          <a:endParaRPr lang="nl-NL"/>
        </a:p>
      </dgm:t>
    </dgm:pt>
    <dgm:pt modelId="{53D24DA1-DB30-4B0B-A88C-3F07F7625D84}" type="pres">
      <dgm:prSet presAssocID="{5422263A-12CD-45FD-9EA6-C70AA31841CB}" presName="bentUpArrow1" presStyleLbl="alignImgPlace1" presStyleIdx="1" presStyleCnt="4" custLinFactX="-100000" custLinFactNeighborX="-168936" custLinFactNeighborY="666"/>
      <dgm:spPr/>
      <dgm:t>
        <a:bodyPr/>
        <a:lstStyle/>
        <a:p>
          <a:endParaRPr lang="nl-NL"/>
        </a:p>
      </dgm:t>
    </dgm:pt>
    <dgm:pt modelId="{D90A893D-68B3-4904-BE32-DC081BCC5A44}" type="pres">
      <dgm:prSet presAssocID="{5422263A-12CD-45FD-9EA6-C70AA31841CB}" presName="ParentText" presStyleLbl="node1" presStyleIdx="1" presStyleCnt="5" custLinFactX="-81877" custLinFactNeighborX="-100000" custLinFactNeighborY="56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9A05E111-54BD-4D23-9350-A50D29848CA5}" type="pres">
      <dgm:prSet presAssocID="{5422263A-12CD-45FD-9EA6-C70AA31841CB}" presName="ChildText" presStyleLbl="revTx" presStyleIdx="1" presStyleCnt="4" custScaleX="281733" custLinFactX="14400" custLinFactNeighborX="100000" custLinFactNeighborY="-237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22265E7B-9EF8-47BC-ADA6-5E5ADBFF358B}" type="pres">
      <dgm:prSet presAssocID="{64AA8570-B995-4C74-A24A-5AF623C616BD}" presName="sibTrans" presStyleCnt="0"/>
      <dgm:spPr/>
      <dgm:t>
        <a:bodyPr/>
        <a:lstStyle/>
        <a:p>
          <a:endParaRPr lang="nl-NL"/>
        </a:p>
      </dgm:t>
    </dgm:pt>
    <dgm:pt modelId="{88BF5496-A7E1-4E65-A0C0-87626AF1543D}" type="pres">
      <dgm:prSet presAssocID="{527CD726-B840-4CA5-8461-C47192E9E4CF}" presName="composite" presStyleCnt="0"/>
      <dgm:spPr/>
      <dgm:t>
        <a:bodyPr/>
        <a:lstStyle/>
        <a:p>
          <a:endParaRPr lang="nl-NL"/>
        </a:p>
      </dgm:t>
    </dgm:pt>
    <dgm:pt modelId="{2FD00E0E-4996-44C5-8103-43CD40869F40}" type="pres">
      <dgm:prSet presAssocID="{527CD726-B840-4CA5-8461-C47192E9E4CF}" presName="bentUpArrow1" presStyleLbl="alignImgPlace1" presStyleIdx="2" presStyleCnt="4" custLinFactX="-100000" custLinFactNeighborX="-168936" custLinFactNeighborY="666"/>
      <dgm:spPr/>
      <dgm:t>
        <a:bodyPr/>
        <a:lstStyle/>
        <a:p>
          <a:endParaRPr lang="nl-NL"/>
        </a:p>
      </dgm:t>
    </dgm:pt>
    <dgm:pt modelId="{445A2192-0F17-4D8A-B1C0-D18C2CDC54D5}" type="pres">
      <dgm:prSet presAssocID="{527CD726-B840-4CA5-8461-C47192E9E4CF}" presName="ParentText" presStyleLbl="node1" presStyleIdx="2" presStyleCnt="5" custLinFactX="-6725" custLinFactY="7907" custLinFactNeighborX="-100000" custLinFactNeighborY="10000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CAB86768-701C-422B-89D3-6F61E1C2CD3A}" type="pres">
      <dgm:prSet presAssocID="{527CD726-B840-4CA5-8461-C47192E9E4CF}" presName="ChildText" presStyleLbl="revTx" presStyleIdx="2" presStyleCnt="4" custScaleX="274844" custLinFactX="100000" custLinFactY="23473" custLinFactNeighborX="102584" custLinFactNeighborY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842C1A56-677D-4343-BC6A-E7AABB4DB0D7}" type="pres">
      <dgm:prSet presAssocID="{DA5AB447-B4B8-45FE-8918-6283859B6B7A}" presName="sibTrans" presStyleCnt="0"/>
      <dgm:spPr/>
      <dgm:t>
        <a:bodyPr/>
        <a:lstStyle/>
        <a:p>
          <a:endParaRPr lang="nl-NL"/>
        </a:p>
      </dgm:t>
    </dgm:pt>
    <dgm:pt modelId="{313E5251-B63F-45F6-BCEE-F7C1BC92C301}" type="pres">
      <dgm:prSet presAssocID="{12C89141-A0AE-424E-B055-BC5FAD4A9D8D}" presName="composite" presStyleCnt="0"/>
      <dgm:spPr/>
      <dgm:t>
        <a:bodyPr/>
        <a:lstStyle/>
        <a:p>
          <a:endParaRPr lang="nl-NL"/>
        </a:p>
      </dgm:t>
    </dgm:pt>
    <dgm:pt modelId="{753C6A5C-D623-4CC7-B8FF-F3728786A22A}" type="pres">
      <dgm:prSet presAssocID="{12C89141-A0AE-424E-B055-BC5FAD4A9D8D}" presName="bentUpArrow1" presStyleLbl="alignImgPlace1" presStyleIdx="3" presStyleCnt="4" custLinFactX="-100000" custLinFactNeighborX="-168936" custLinFactNeighborY="666"/>
      <dgm:spPr/>
      <dgm:t>
        <a:bodyPr/>
        <a:lstStyle/>
        <a:p>
          <a:endParaRPr lang="nl-NL"/>
        </a:p>
      </dgm:t>
    </dgm:pt>
    <dgm:pt modelId="{E0AB42DD-205E-43EF-B3F7-01EC9E8041CA}" type="pres">
      <dgm:prSet presAssocID="{12C89141-A0AE-424E-B055-BC5FAD4A9D8D}" presName="ParentText" presStyleLbl="node1" presStyleIdx="3" presStyleCnt="5" custLinFactY="7907" custLinFactNeighborX="-98673" custLinFactNeighborY="10000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1DFBCA32-D718-4900-B2F0-4A175DB27132}" type="pres">
      <dgm:prSet presAssocID="{12C89141-A0AE-424E-B055-BC5FAD4A9D8D}" presName="ChildText" presStyleLbl="revTx" presStyleIdx="3" presStyleCnt="4" custAng="0" custScaleX="218162" custLinFactX="100000" custLinFactY="32028" custLinFactNeighborX="122468" custLinFactNeighborY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510D79B5-0F4B-4F28-A08C-4B391728C11F}" type="pres">
      <dgm:prSet presAssocID="{97733B4B-A765-4C12-B7E0-3092D69907EE}" presName="sibTrans" presStyleCnt="0"/>
      <dgm:spPr/>
      <dgm:t>
        <a:bodyPr/>
        <a:lstStyle/>
        <a:p>
          <a:endParaRPr lang="nl-NL"/>
        </a:p>
      </dgm:t>
    </dgm:pt>
    <dgm:pt modelId="{5D08E656-C26E-4CB9-B675-E3E70C93DC12}" type="pres">
      <dgm:prSet presAssocID="{A91FA4AD-E2C8-4035-88FD-A79B8A00C60D}" presName="composite" presStyleCnt="0"/>
      <dgm:spPr/>
      <dgm:t>
        <a:bodyPr/>
        <a:lstStyle/>
        <a:p>
          <a:endParaRPr lang="nl-NL"/>
        </a:p>
      </dgm:t>
    </dgm:pt>
    <dgm:pt modelId="{361B912B-7DE5-42A1-886C-A449158D76D5}" type="pres">
      <dgm:prSet presAssocID="{A91FA4AD-E2C8-4035-88FD-A79B8A00C60D}" presName="ParentText" presStyleLbl="node1" presStyleIdx="4" presStyleCnt="5" custLinFactX="-154995" custLinFactY="-100000" custLinFactNeighborX="-200000" custLinFactNeighborY="-12945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nl-NL"/>
        </a:p>
      </dgm:t>
    </dgm:pt>
  </dgm:ptLst>
  <dgm:cxnLst>
    <dgm:cxn modelId="{C2F8952A-D6A9-40B1-B221-B68DFCD57DB7}" type="presOf" srcId="{A91FA4AD-E2C8-4035-88FD-A79B8A00C60D}" destId="{361B912B-7DE5-42A1-886C-A449158D76D5}" srcOrd="0" destOrd="0" presId="urn:microsoft.com/office/officeart/2005/8/layout/StepDownProcess"/>
    <dgm:cxn modelId="{F9BE02FE-D63E-45C2-9B27-42E779F34F5F}" type="presOf" srcId="{527CD726-B840-4CA5-8461-C47192E9E4CF}" destId="{445A2192-0F17-4D8A-B1C0-D18C2CDC54D5}" srcOrd="0" destOrd="0" presId="urn:microsoft.com/office/officeart/2005/8/layout/StepDownProcess"/>
    <dgm:cxn modelId="{90E09C6B-2D35-4CED-B518-12555E91EABF}" type="presOf" srcId="{12C89141-A0AE-424E-B055-BC5FAD4A9D8D}" destId="{E0AB42DD-205E-43EF-B3F7-01EC9E8041CA}" srcOrd="0" destOrd="0" presId="urn:microsoft.com/office/officeart/2005/8/layout/StepDownProcess"/>
    <dgm:cxn modelId="{A9D0F34E-83AB-4F18-9885-C53214FF6EFB}" srcId="{FCFBACF9-1BA7-4EE1-93E3-8415A0A9A41C}" destId="{8BD72A17-49B4-482B-AE9D-C8D9BD0BC272}" srcOrd="0" destOrd="0" parTransId="{01A7DBBA-EEC7-440C-B552-C35436DB3C5F}" sibTransId="{FBD84722-1543-47D3-A59E-35ED54704C26}"/>
    <dgm:cxn modelId="{A9309466-D441-4DBE-AE41-FF40B9341E46}" srcId="{FCFBACF9-1BA7-4EE1-93E3-8415A0A9A41C}" destId="{12C89141-A0AE-424E-B055-BC5FAD4A9D8D}" srcOrd="3" destOrd="0" parTransId="{BDDFB032-7CDA-48EE-A117-E7142F371735}" sibTransId="{97733B4B-A765-4C12-B7E0-3092D69907EE}"/>
    <dgm:cxn modelId="{4E2EC5D4-14FF-41B0-9224-E54590509206}" type="presOf" srcId="{8BD72A17-49B4-482B-AE9D-C8D9BD0BC272}" destId="{6899FE50-58E9-41F5-A266-F104EC637EBD}" srcOrd="0" destOrd="0" presId="urn:microsoft.com/office/officeart/2005/8/layout/StepDownProcess"/>
    <dgm:cxn modelId="{1462598E-8A97-4CAA-A8DD-AD333B21E223}" srcId="{5422263A-12CD-45FD-9EA6-C70AA31841CB}" destId="{04B0C84E-F230-4B8A-84CE-A4C536AD0A22}" srcOrd="0" destOrd="0" parTransId="{984B4250-C024-41B6-9603-BCA545719FF8}" sibTransId="{F7B84E7F-3DC0-40A6-9EDB-FC9497461704}"/>
    <dgm:cxn modelId="{5C7FF48B-CDEF-4771-B9CE-21AF1BEC89A6}" type="presOf" srcId="{04B0C84E-F230-4B8A-84CE-A4C536AD0A22}" destId="{9A05E111-54BD-4D23-9350-A50D29848CA5}" srcOrd="0" destOrd="0" presId="urn:microsoft.com/office/officeart/2005/8/layout/StepDownProcess"/>
    <dgm:cxn modelId="{CF27C776-7ABD-4946-8256-ED1DAC170F00}" srcId="{FCFBACF9-1BA7-4EE1-93E3-8415A0A9A41C}" destId="{A91FA4AD-E2C8-4035-88FD-A79B8A00C60D}" srcOrd="4" destOrd="0" parTransId="{EC306D06-A233-4ECF-B9E9-4CFBB552F056}" sibTransId="{643C26AC-AE67-4C87-81F9-1DB46077C8C1}"/>
    <dgm:cxn modelId="{9A79369B-8D65-412F-BFDC-CFD23AF3B632}" srcId="{FCFBACF9-1BA7-4EE1-93E3-8415A0A9A41C}" destId="{5422263A-12CD-45FD-9EA6-C70AA31841CB}" srcOrd="1" destOrd="0" parTransId="{E4C70053-90C3-4BEA-950D-A0D77D1C8D71}" sibTransId="{64AA8570-B995-4C74-A24A-5AF623C616BD}"/>
    <dgm:cxn modelId="{7AB5A810-62F2-4869-803D-014AA034ED06}" type="presOf" srcId="{5422263A-12CD-45FD-9EA6-C70AA31841CB}" destId="{D90A893D-68B3-4904-BE32-DC081BCC5A44}" srcOrd="0" destOrd="0" presId="urn:microsoft.com/office/officeart/2005/8/layout/StepDownProcess"/>
    <dgm:cxn modelId="{4CC87CB5-C185-4264-9E21-B2FFEA97E4BE}" type="presOf" srcId="{FCFBACF9-1BA7-4EE1-93E3-8415A0A9A41C}" destId="{E20C8595-E488-44C9-85CE-D02F8B6FD3D8}" srcOrd="0" destOrd="0" presId="urn:microsoft.com/office/officeart/2005/8/layout/StepDownProcess"/>
    <dgm:cxn modelId="{C90EC50A-3A80-4182-9C4F-21463C6ADB6D}" srcId="{FCFBACF9-1BA7-4EE1-93E3-8415A0A9A41C}" destId="{527CD726-B840-4CA5-8461-C47192E9E4CF}" srcOrd="2" destOrd="0" parTransId="{C02AB6BE-408E-4C18-8187-1C3CA9573892}" sibTransId="{DA5AB447-B4B8-45FE-8918-6283859B6B7A}"/>
    <dgm:cxn modelId="{EB394142-9C3E-4006-BED0-220500C20876}" type="presParOf" srcId="{E20C8595-E488-44C9-85CE-D02F8B6FD3D8}" destId="{8EB301F2-9EE4-4360-A43C-B6C9F418FB46}" srcOrd="0" destOrd="0" presId="urn:microsoft.com/office/officeart/2005/8/layout/StepDownProcess"/>
    <dgm:cxn modelId="{A4580E12-13BD-4606-9EB8-CE0CA0E25BA5}" type="presParOf" srcId="{8EB301F2-9EE4-4360-A43C-B6C9F418FB46}" destId="{8F2B35AD-74AD-4EF7-BFEC-7F88B0647F13}" srcOrd="0" destOrd="0" presId="urn:microsoft.com/office/officeart/2005/8/layout/StepDownProcess"/>
    <dgm:cxn modelId="{729FE797-DBFB-48CC-A3AB-EB73E9A8B616}" type="presParOf" srcId="{8EB301F2-9EE4-4360-A43C-B6C9F418FB46}" destId="{6899FE50-58E9-41F5-A266-F104EC637EBD}" srcOrd="1" destOrd="0" presId="urn:microsoft.com/office/officeart/2005/8/layout/StepDownProcess"/>
    <dgm:cxn modelId="{6E2C8360-D53D-4483-905A-4D77C9FD6888}" type="presParOf" srcId="{8EB301F2-9EE4-4360-A43C-B6C9F418FB46}" destId="{419B0353-6462-4D8B-BEE4-9EC3EAE356BF}" srcOrd="2" destOrd="0" presId="urn:microsoft.com/office/officeart/2005/8/layout/StepDownProcess"/>
    <dgm:cxn modelId="{90611C66-F9DA-4C92-A105-909FB7E2A167}" type="presParOf" srcId="{E20C8595-E488-44C9-85CE-D02F8B6FD3D8}" destId="{D4BC4328-D8D6-43EB-B7E6-7C4C20D70E10}" srcOrd="1" destOrd="0" presId="urn:microsoft.com/office/officeart/2005/8/layout/StepDownProcess"/>
    <dgm:cxn modelId="{6533D3CE-8F75-489B-873D-8455C1CF0CDA}" type="presParOf" srcId="{E20C8595-E488-44C9-85CE-D02F8B6FD3D8}" destId="{568BD63F-B2FD-484A-9DF9-550A74B65C03}" srcOrd="2" destOrd="0" presId="urn:microsoft.com/office/officeart/2005/8/layout/StepDownProcess"/>
    <dgm:cxn modelId="{157EBC17-954F-488B-BE2A-D03B4290B328}" type="presParOf" srcId="{568BD63F-B2FD-484A-9DF9-550A74B65C03}" destId="{53D24DA1-DB30-4B0B-A88C-3F07F7625D84}" srcOrd="0" destOrd="0" presId="urn:microsoft.com/office/officeart/2005/8/layout/StepDownProcess"/>
    <dgm:cxn modelId="{58F907FA-496A-426D-B43E-094A136BCB0A}" type="presParOf" srcId="{568BD63F-B2FD-484A-9DF9-550A74B65C03}" destId="{D90A893D-68B3-4904-BE32-DC081BCC5A44}" srcOrd="1" destOrd="0" presId="urn:microsoft.com/office/officeart/2005/8/layout/StepDownProcess"/>
    <dgm:cxn modelId="{44CFE2DD-6525-40CB-8287-3A7102D3D92B}" type="presParOf" srcId="{568BD63F-B2FD-484A-9DF9-550A74B65C03}" destId="{9A05E111-54BD-4D23-9350-A50D29848CA5}" srcOrd="2" destOrd="0" presId="urn:microsoft.com/office/officeart/2005/8/layout/StepDownProcess"/>
    <dgm:cxn modelId="{82297511-E55D-47B1-8B5A-CE6A861B2EFA}" type="presParOf" srcId="{E20C8595-E488-44C9-85CE-D02F8B6FD3D8}" destId="{22265E7B-9EF8-47BC-ADA6-5E5ADBFF358B}" srcOrd="3" destOrd="0" presId="urn:microsoft.com/office/officeart/2005/8/layout/StepDownProcess"/>
    <dgm:cxn modelId="{DCD3593D-AD6B-498B-9360-204CB7CFFCC4}" type="presParOf" srcId="{E20C8595-E488-44C9-85CE-D02F8B6FD3D8}" destId="{88BF5496-A7E1-4E65-A0C0-87626AF1543D}" srcOrd="4" destOrd="0" presId="urn:microsoft.com/office/officeart/2005/8/layout/StepDownProcess"/>
    <dgm:cxn modelId="{98CE7A83-4397-47C2-BC7F-7AABFC065087}" type="presParOf" srcId="{88BF5496-A7E1-4E65-A0C0-87626AF1543D}" destId="{2FD00E0E-4996-44C5-8103-43CD40869F40}" srcOrd="0" destOrd="0" presId="urn:microsoft.com/office/officeart/2005/8/layout/StepDownProcess"/>
    <dgm:cxn modelId="{1360FD54-7A7D-4E41-8BE6-33F53FE5E7B4}" type="presParOf" srcId="{88BF5496-A7E1-4E65-A0C0-87626AF1543D}" destId="{445A2192-0F17-4D8A-B1C0-D18C2CDC54D5}" srcOrd="1" destOrd="0" presId="urn:microsoft.com/office/officeart/2005/8/layout/StepDownProcess"/>
    <dgm:cxn modelId="{01D2A9C5-A61E-4B02-A884-6F93A0469086}" type="presParOf" srcId="{88BF5496-A7E1-4E65-A0C0-87626AF1543D}" destId="{CAB86768-701C-422B-89D3-6F61E1C2CD3A}" srcOrd="2" destOrd="0" presId="urn:microsoft.com/office/officeart/2005/8/layout/StepDownProcess"/>
    <dgm:cxn modelId="{D51DDCEC-1CF2-4DAF-BCA3-AADF80BD6563}" type="presParOf" srcId="{E20C8595-E488-44C9-85CE-D02F8B6FD3D8}" destId="{842C1A56-677D-4343-BC6A-E7AABB4DB0D7}" srcOrd="5" destOrd="0" presId="urn:microsoft.com/office/officeart/2005/8/layout/StepDownProcess"/>
    <dgm:cxn modelId="{A3353DB2-86B7-44FC-94F3-D151BEBD4E87}" type="presParOf" srcId="{E20C8595-E488-44C9-85CE-D02F8B6FD3D8}" destId="{313E5251-B63F-45F6-BCEE-F7C1BC92C301}" srcOrd="6" destOrd="0" presId="urn:microsoft.com/office/officeart/2005/8/layout/StepDownProcess"/>
    <dgm:cxn modelId="{C17A0213-5F2C-42E6-8047-1FC43089500E}" type="presParOf" srcId="{313E5251-B63F-45F6-BCEE-F7C1BC92C301}" destId="{753C6A5C-D623-4CC7-B8FF-F3728786A22A}" srcOrd="0" destOrd="0" presId="urn:microsoft.com/office/officeart/2005/8/layout/StepDownProcess"/>
    <dgm:cxn modelId="{446D37F5-9E9F-4107-AC92-4AFC27D10926}" type="presParOf" srcId="{313E5251-B63F-45F6-BCEE-F7C1BC92C301}" destId="{E0AB42DD-205E-43EF-B3F7-01EC9E8041CA}" srcOrd="1" destOrd="0" presId="urn:microsoft.com/office/officeart/2005/8/layout/StepDownProcess"/>
    <dgm:cxn modelId="{A0C02FE1-089E-4F6D-9AD8-5CFE0F05D242}" type="presParOf" srcId="{313E5251-B63F-45F6-BCEE-F7C1BC92C301}" destId="{1DFBCA32-D718-4900-B2F0-4A175DB27132}" srcOrd="2" destOrd="0" presId="urn:microsoft.com/office/officeart/2005/8/layout/StepDownProcess"/>
    <dgm:cxn modelId="{7A32F3CA-CB36-4D83-B357-22B9F3126AC3}" type="presParOf" srcId="{E20C8595-E488-44C9-85CE-D02F8B6FD3D8}" destId="{510D79B5-0F4B-4F28-A08C-4B391728C11F}" srcOrd="7" destOrd="0" presId="urn:microsoft.com/office/officeart/2005/8/layout/StepDownProcess"/>
    <dgm:cxn modelId="{AA81D265-93FF-4864-A416-235C2472BF30}" type="presParOf" srcId="{E20C8595-E488-44C9-85CE-D02F8B6FD3D8}" destId="{5D08E656-C26E-4CB9-B675-E3E70C93DC12}" srcOrd="8" destOrd="0" presId="urn:microsoft.com/office/officeart/2005/8/layout/StepDownProcess"/>
    <dgm:cxn modelId="{0EC68EF0-C233-4634-9624-34352A01DBB8}" type="presParOf" srcId="{5D08E656-C26E-4CB9-B675-E3E70C93DC12}" destId="{361B912B-7DE5-42A1-886C-A449158D76D5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6E863A-E131-4A64-A060-01DD62EC6AED}" type="doc">
      <dgm:prSet loTypeId="urn:microsoft.com/office/officeart/2005/8/layout/chevronAccent+Icon" loCatId="process" qsTypeId="urn:microsoft.com/office/officeart/2005/8/quickstyle/simple1" qsCatId="simple" csTypeId="urn:microsoft.com/office/officeart/2005/8/colors/colorful1" csCatId="colorful" phldr="1"/>
      <dgm:spPr/>
    </dgm:pt>
    <dgm:pt modelId="{9ECA4DE4-117A-4B96-B6BD-A2BE6A85B1E7}">
      <dgm:prSet phldrT="[Text]" custT="1"/>
      <dgm:spPr/>
      <dgm:t>
        <a:bodyPr/>
        <a:lstStyle/>
        <a:p>
          <a:r>
            <a:rPr lang="en-US" sz="1800" dirty="0" smtClean="0"/>
            <a:t>Master Workshop</a:t>
          </a:r>
        </a:p>
        <a:p>
          <a:r>
            <a:rPr lang="en-US" sz="1800" dirty="0" smtClean="0"/>
            <a:t>Jan 2018</a:t>
          </a:r>
          <a:endParaRPr lang="en-US" sz="1800" dirty="0"/>
        </a:p>
      </dgm:t>
    </dgm:pt>
    <dgm:pt modelId="{827E56AB-F298-4DF8-9B2F-7A7358D9BDBD}" type="parTrans" cxnId="{B2DC4129-97AB-42B2-8B70-947FEF62579C}">
      <dgm:prSet/>
      <dgm:spPr/>
      <dgm:t>
        <a:bodyPr/>
        <a:lstStyle/>
        <a:p>
          <a:endParaRPr lang="en-US"/>
        </a:p>
      </dgm:t>
    </dgm:pt>
    <dgm:pt modelId="{77234B91-C9C2-434F-929D-7F73285D666D}" type="sibTrans" cxnId="{B2DC4129-97AB-42B2-8B70-947FEF62579C}">
      <dgm:prSet/>
      <dgm:spPr/>
      <dgm:t>
        <a:bodyPr/>
        <a:lstStyle/>
        <a:p>
          <a:endParaRPr lang="en-US"/>
        </a:p>
      </dgm:t>
    </dgm:pt>
    <dgm:pt modelId="{EB289D0F-5339-4931-B0D4-561330AAFFB1}">
      <dgm:prSet phldrT="[Text]" custT="1"/>
      <dgm:spPr/>
      <dgm:t>
        <a:bodyPr/>
        <a:lstStyle/>
        <a:p>
          <a:r>
            <a:rPr lang="en-US" sz="1800" dirty="0" smtClean="0"/>
            <a:t>Training of Trainers</a:t>
          </a:r>
        </a:p>
        <a:p>
          <a:r>
            <a:rPr lang="en-US" sz="1800" dirty="0" smtClean="0"/>
            <a:t>Feb 2018</a:t>
          </a:r>
          <a:endParaRPr lang="en-US" sz="1800" dirty="0"/>
        </a:p>
      </dgm:t>
    </dgm:pt>
    <dgm:pt modelId="{FB4F3E5F-DE26-4FA3-81D9-6FB9BEAEE079}" type="parTrans" cxnId="{C916E8F2-C93A-4BA6-B68F-5309CCDE5219}">
      <dgm:prSet/>
      <dgm:spPr/>
      <dgm:t>
        <a:bodyPr/>
        <a:lstStyle/>
        <a:p>
          <a:endParaRPr lang="en-US"/>
        </a:p>
      </dgm:t>
    </dgm:pt>
    <dgm:pt modelId="{4F5A99C3-1979-475C-A400-F8CB3F5A2272}" type="sibTrans" cxnId="{C916E8F2-C93A-4BA6-B68F-5309CCDE5219}">
      <dgm:prSet/>
      <dgm:spPr/>
      <dgm:t>
        <a:bodyPr/>
        <a:lstStyle/>
        <a:p>
          <a:endParaRPr lang="en-US"/>
        </a:p>
      </dgm:t>
    </dgm:pt>
    <dgm:pt modelId="{E324CA3E-66AC-428A-AD1C-0FAD8DDF6A3B}">
      <dgm:prSet phldrT="[Text]" custT="1"/>
      <dgm:spPr/>
      <dgm:t>
        <a:bodyPr/>
        <a:lstStyle/>
        <a:p>
          <a:r>
            <a:rPr lang="en-US" sz="1800" dirty="0" smtClean="0"/>
            <a:t>Practical Cycle</a:t>
          </a:r>
        </a:p>
        <a:p>
          <a:r>
            <a:rPr lang="en-US" sz="1800" dirty="0" smtClean="0"/>
            <a:t>April 2018</a:t>
          </a:r>
          <a:endParaRPr lang="en-US" sz="1800" dirty="0"/>
        </a:p>
      </dgm:t>
    </dgm:pt>
    <dgm:pt modelId="{87DA0F8C-2121-4ADC-9E72-455A3C6F31DC}" type="parTrans" cxnId="{2C63F268-6BD5-4B65-9FAD-B71974EC8FD7}">
      <dgm:prSet/>
      <dgm:spPr/>
      <dgm:t>
        <a:bodyPr/>
        <a:lstStyle/>
        <a:p>
          <a:endParaRPr lang="en-US"/>
        </a:p>
      </dgm:t>
    </dgm:pt>
    <dgm:pt modelId="{79848164-F25F-4BCF-95EC-1566FF101533}" type="sibTrans" cxnId="{2C63F268-6BD5-4B65-9FAD-B71974EC8FD7}">
      <dgm:prSet/>
      <dgm:spPr/>
      <dgm:t>
        <a:bodyPr/>
        <a:lstStyle/>
        <a:p>
          <a:endParaRPr lang="en-US"/>
        </a:p>
      </dgm:t>
    </dgm:pt>
    <dgm:pt modelId="{138EF430-00EC-4F32-A91A-48657259E209}">
      <dgm:prSet custT="1"/>
      <dgm:spPr/>
      <dgm:t>
        <a:bodyPr/>
        <a:lstStyle/>
        <a:p>
          <a:r>
            <a:rPr lang="en-US" sz="1800" b="0" dirty="0" smtClean="0">
              <a:solidFill>
                <a:schemeClr val="tx1"/>
              </a:solidFill>
            </a:rPr>
            <a:t>Measures finalized</a:t>
          </a:r>
          <a:r>
            <a:rPr lang="en-US" sz="1800" b="1" dirty="0" smtClean="0">
              <a:solidFill>
                <a:schemeClr val="tx1"/>
              </a:solidFill>
            </a:rPr>
            <a:t> </a:t>
          </a:r>
        </a:p>
        <a:p>
          <a:r>
            <a:rPr lang="en-US" sz="1800" b="0" dirty="0" smtClean="0">
              <a:solidFill>
                <a:schemeClr val="tx1"/>
              </a:solidFill>
            </a:rPr>
            <a:t>April 2018</a:t>
          </a:r>
          <a:endParaRPr lang="en-US" sz="1800" b="0" dirty="0">
            <a:solidFill>
              <a:schemeClr val="tx1"/>
            </a:solidFill>
          </a:endParaRPr>
        </a:p>
      </dgm:t>
    </dgm:pt>
    <dgm:pt modelId="{562BE1C1-E574-478E-8AC5-18245A163881}" type="parTrans" cxnId="{C12FD792-C676-4AA2-B381-330E0C88C2D2}">
      <dgm:prSet/>
      <dgm:spPr/>
      <dgm:t>
        <a:bodyPr/>
        <a:lstStyle/>
        <a:p>
          <a:endParaRPr lang="en-US"/>
        </a:p>
      </dgm:t>
    </dgm:pt>
    <dgm:pt modelId="{3DACBF90-2685-449C-BD99-26C41C9DB7C6}" type="sibTrans" cxnId="{C12FD792-C676-4AA2-B381-330E0C88C2D2}">
      <dgm:prSet/>
      <dgm:spPr/>
      <dgm:t>
        <a:bodyPr/>
        <a:lstStyle/>
        <a:p>
          <a:endParaRPr lang="en-US"/>
        </a:p>
      </dgm:t>
    </dgm:pt>
    <dgm:pt modelId="{5AEA7EC7-2110-4931-8F66-C0683560B5C7}" type="pres">
      <dgm:prSet presAssocID="{3C6E863A-E131-4A64-A060-01DD62EC6AED}" presName="Name0" presStyleCnt="0">
        <dgm:presLayoutVars>
          <dgm:dir/>
          <dgm:resizeHandles val="exact"/>
        </dgm:presLayoutVars>
      </dgm:prSet>
      <dgm:spPr/>
    </dgm:pt>
    <dgm:pt modelId="{938E7B3C-C334-4182-92A6-2D56B4462CDA}" type="pres">
      <dgm:prSet presAssocID="{9ECA4DE4-117A-4B96-B6BD-A2BE6A85B1E7}" presName="composite" presStyleCnt="0"/>
      <dgm:spPr/>
    </dgm:pt>
    <dgm:pt modelId="{31EE8455-2B6C-4054-9CE9-BA736F8F79F6}" type="pres">
      <dgm:prSet presAssocID="{9ECA4DE4-117A-4B96-B6BD-A2BE6A85B1E7}" presName="bgChev" presStyleLbl="node1" presStyleIdx="0" presStyleCnt="4"/>
      <dgm:spPr>
        <a:solidFill>
          <a:srgbClr val="FF0000"/>
        </a:solidFill>
      </dgm:spPr>
    </dgm:pt>
    <dgm:pt modelId="{7C759CF0-33D7-4F87-811E-90AFADB31E0A}" type="pres">
      <dgm:prSet presAssocID="{9ECA4DE4-117A-4B96-B6BD-A2BE6A85B1E7}" presName="txNode" presStyleLbl="fgAcc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EA6E796-58C2-4A38-B8BB-16E521FCF018}" type="pres">
      <dgm:prSet presAssocID="{77234B91-C9C2-434F-929D-7F73285D666D}" presName="compositeSpace" presStyleCnt="0"/>
      <dgm:spPr/>
    </dgm:pt>
    <dgm:pt modelId="{A55AA03E-8B64-4805-99F3-C6424AA9FAFD}" type="pres">
      <dgm:prSet presAssocID="{EB289D0F-5339-4931-B0D4-561330AAFFB1}" presName="composite" presStyleCnt="0"/>
      <dgm:spPr/>
    </dgm:pt>
    <dgm:pt modelId="{BF2751C0-F116-4B32-88D2-378780ED23BE}" type="pres">
      <dgm:prSet presAssocID="{EB289D0F-5339-4931-B0D4-561330AAFFB1}" presName="bgChev" presStyleLbl="node1" presStyleIdx="1" presStyleCnt="4"/>
      <dgm:spPr>
        <a:solidFill>
          <a:srgbClr val="FFC000"/>
        </a:solidFill>
      </dgm:spPr>
    </dgm:pt>
    <dgm:pt modelId="{AD9EC6BF-8EA4-43A0-A69D-158B461416EE}" type="pres">
      <dgm:prSet presAssocID="{EB289D0F-5339-4931-B0D4-561330AAFFB1}" presName="txNode" presStyleLbl="fgAcc1" presStyleIdx="1" presStyleCnt="4" custLinFactNeighborX="-740" custLinFactNeighborY="8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5B47A2-FE0E-4EDA-B6F9-5DCD32C1ADF7}" type="pres">
      <dgm:prSet presAssocID="{4F5A99C3-1979-475C-A400-F8CB3F5A2272}" presName="compositeSpace" presStyleCnt="0"/>
      <dgm:spPr/>
    </dgm:pt>
    <dgm:pt modelId="{D3DBCD37-3158-4986-B9C2-5240E82D53A8}" type="pres">
      <dgm:prSet presAssocID="{E324CA3E-66AC-428A-AD1C-0FAD8DDF6A3B}" presName="composite" presStyleCnt="0"/>
      <dgm:spPr/>
    </dgm:pt>
    <dgm:pt modelId="{DEA75C10-8081-4FB0-B548-12C3B556075C}" type="pres">
      <dgm:prSet presAssocID="{E324CA3E-66AC-428A-AD1C-0FAD8DDF6A3B}" presName="bgChev" presStyleLbl="node1" presStyleIdx="2" presStyleCnt="4"/>
      <dgm:spPr>
        <a:solidFill>
          <a:srgbClr val="92D050"/>
        </a:solidFill>
      </dgm:spPr>
    </dgm:pt>
    <dgm:pt modelId="{7782BDE2-FA2C-40E1-A86C-B8B6EF8DC0F2}" type="pres">
      <dgm:prSet presAssocID="{E324CA3E-66AC-428A-AD1C-0FAD8DDF6A3B}" presName="txNode" presStyleLbl="fgAcc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47F6E18-C19E-4FA2-A45F-3C0DBA1927A4}" type="pres">
      <dgm:prSet presAssocID="{79848164-F25F-4BCF-95EC-1566FF101533}" presName="compositeSpace" presStyleCnt="0"/>
      <dgm:spPr/>
    </dgm:pt>
    <dgm:pt modelId="{34BE43BC-825A-4164-97B6-854A566FC670}" type="pres">
      <dgm:prSet presAssocID="{138EF430-00EC-4F32-A91A-48657259E209}" presName="composite" presStyleCnt="0"/>
      <dgm:spPr/>
    </dgm:pt>
    <dgm:pt modelId="{74AE9C1C-AAFE-4AFA-9F2B-8EA6634976FD}" type="pres">
      <dgm:prSet presAssocID="{138EF430-00EC-4F32-A91A-48657259E209}" presName="bgChev" presStyleLbl="node1" presStyleIdx="3" presStyleCnt="4"/>
      <dgm:spPr/>
    </dgm:pt>
    <dgm:pt modelId="{5FE78224-C823-4F3C-A99E-2B78F2E4300D}" type="pres">
      <dgm:prSet presAssocID="{138EF430-00EC-4F32-A91A-48657259E209}" presName="txNode" presStyleLbl="fgAcc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A2E7076-DC72-4C96-9827-920BE1C19A18}" type="presOf" srcId="{E324CA3E-66AC-428A-AD1C-0FAD8DDF6A3B}" destId="{7782BDE2-FA2C-40E1-A86C-B8B6EF8DC0F2}" srcOrd="0" destOrd="0" presId="urn:microsoft.com/office/officeart/2005/8/layout/chevronAccent+Icon"/>
    <dgm:cxn modelId="{8E8E8BCE-F0CC-435F-89D4-50DDAB038A60}" type="presOf" srcId="{EB289D0F-5339-4931-B0D4-561330AAFFB1}" destId="{AD9EC6BF-8EA4-43A0-A69D-158B461416EE}" srcOrd="0" destOrd="0" presId="urn:microsoft.com/office/officeart/2005/8/layout/chevronAccent+Icon"/>
    <dgm:cxn modelId="{2C63F268-6BD5-4B65-9FAD-B71974EC8FD7}" srcId="{3C6E863A-E131-4A64-A060-01DD62EC6AED}" destId="{E324CA3E-66AC-428A-AD1C-0FAD8DDF6A3B}" srcOrd="2" destOrd="0" parTransId="{87DA0F8C-2121-4ADC-9E72-455A3C6F31DC}" sibTransId="{79848164-F25F-4BCF-95EC-1566FF101533}"/>
    <dgm:cxn modelId="{B2DC4129-97AB-42B2-8B70-947FEF62579C}" srcId="{3C6E863A-E131-4A64-A060-01DD62EC6AED}" destId="{9ECA4DE4-117A-4B96-B6BD-A2BE6A85B1E7}" srcOrd="0" destOrd="0" parTransId="{827E56AB-F298-4DF8-9B2F-7A7358D9BDBD}" sibTransId="{77234B91-C9C2-434F-929D-7F73285D666D}"/>
    <dgm:cxn modelId="{39EF83F8-FF08-4513-8289-FD5C59857964}" type="presOf" srcId="{138EF430-00EC-4F32-A91A-48657259E209}" destId="{5FE78224-C823-4F3C-A99E-2B78F2E4300D}" srcOrd="0" destOrd="0" presId="urn:microsoft.com/office/officeart/2005/8/layout/chevronAccent+Icon"/>
    <dgm:cxn modelId="{C916E8F2-C93A-4BA6-B68F-5309CCDE5219}" srcId="{3C6E863A-E131-4A64-A060-01DD62EC6AED}" destId="{EB289D0F-5339-4931-B0D4-561330AAFFB1}" srcOrd="1" destOrd="0" parTransId="{FB4F3E5F-DE26-4FA3-81D9-6FB9BEAEE079}" sibTransId="{4F5A99C3-1979-475C-A400-F8CB3F5A2272}"/>
    <dgm:cxn modelId="{225DA400-5919-40BD-8C50-7F6D09DD72CC}" type="presOf" srcId="{3C6E863A-E131-4A64-A060-01DD62EC6AED}" destId="{5AEA7EC7-2110-4931-8F66-C0683560B5C7}" srcOrd="0" destOrd="0" presId="urn:microsoft.com/office/officeart/2005/8/layout/chevronAccent+Icon"/>
    <dgm:cxn modelId="{AC5FB7BD-2C25-4521-A3C4-ACD01BB32C7D}" type="presOf" srcId="{9ECA4DE4-117A-4B96-B6BD-A2BE6A85B1E7}" destId="{7C759CF0-33D7-4F87-811E-90AFADB31E0A}" srcOrd="0" destOrd="0" presId="urn:microsoft.com/office/officeart/2005/8/layout/chevronAccent+Icon"/>
    <dgm:cxn modelId="{C12FD792-C676-4AA2-B381-330E0C88C2D2}" srcId="{3C6E863A-E131-4A64-A060-01DD62EC6AED}" destId="{138EF430-00EC-4F32-A91A-48657259E209}" srcOrd="3" destOrd="0" parTransId="{562BE1C1-E574-478E-8AC5-18245A163881}" sibTransId="{3DACBF90-2685-449C-BD99-26C41C9DB7C6}"/>
    <dgm:cxn modelId="{66C09A2E-E790-426C-A9B0-350B5591B159}" type="presParOf" srcId="{5AEA7EC7-2110-4931-8F66-C0683560B5C7}" destId="{938E7B3C-C334-4182-92A6-2D56B4462CDA}" srcOrd="0" destOrd="0" presId="urn:microsoft.com/office/officeart/2005/8/layout/chevronAccent+Icon"/>
    <dgm:cxn modelId="{1143F32B-A7C5-4488-931D-330079337447}" type="presParOf" srcId="{938E7B3C-C334-4182-92A6-2D56B4462CDA}" destId="{31EE8455-2B6C-4054-9CE9-BA736F8F79F6}" srcOrd="0" destOrd="0" presId="urn:microsoft.com/office/officeart/2005/8/layout/chevronAccent+Icon"/>
    <dgm:cxn modelId="{013C6753-287D-4F74-B582-CB56F0A233E1}" type="presParOf" srcId="{938E7B3C-C334-4182-92A6-2D56B4462CDA}" destId="{7C759CF0-33D7-4F87-811E-90AFADB31E0A}" srcOrd="1" destOrd="0" presId="urn:microsoft.com/office/officeart/2005/8/layout/chevronAccent+Icon"/>
    <dgm:cxn modelId="{E4323BD6-1940-4770-8B72-BD25D6202C19}" type="presParOf" srcId="{5AEA7EC7-2110-4931-8F66-C0683560B5C7}" destId="{1EA6E796-58C2-4A38-B8BB-16E521FCF018}" srcOrd="1" destOrd="0" presId="urn:microsoft.com/office/officeart/2005/8/layout/chevronAccent+Icon"/>
    <dgm:cxn modelId="{5564423A-E350-4EF3-9E44-DC8507954BF1}" type="presParOf" srcId="{5AEA7EC7-2110-4931-8F66-C0683560B5C7}" destId="{A55AA03E-8B64-4805-99F3-C6424AA9FAFD}" srcOrd="2" destOrd="0" presId="urn:microsoft.com/office/officeart/2005/8/layout/chevronAccent+Icon"/>
    <dgm:cxn modelId="{FA9F60C8-A8EA-4719-9E28-6C5F26489B81}" type="presParOf" srcId="{A55AA03E-8B64-4805-99F3-C6424AA9FAFD}" destId="{BF2751C0-F116-4B32-88D2-378780ED23BE}" srcOrd="0" destOrd="0" presId="urn:microsoft.com/office/officeart/2005/8/layout/chevronAccent+Icon"/>
    <dgm:cxn modelId="{218FFA99-0CEC-4782-899D-297D51545C67}" type="presParOf" srcId="{A55AA03E-8B64-4805-99F3-C6424AA9FAFD}" destId="{AD9EC6BF-8EA4-43A0-A69D-158B461416EE}" srcOrd="1" destOrd="0" presId="urn:microsoft.com/office/officeart/2005/8/layout/chevronAccent+Icon"/>
    <dgm:cxn modelId="{B999CC2F-DE65-4888-A128-545BD52BA7A4}" type="presParOf" srcId="{5AEA7EC7-2110-4931-8F66-C0683560B5C7}" destId="{EA5B47A2-FE0E-4EDA-B6F9-5DCD32C1ADF7}" srcOrd="3" destOrd="0" presId="urn:microsoft.com/office/officeart/2005/8/layout/chevronAccent+Icon"/>
    <dgm:cxn modelId="{F27EE2E1-9B41-417B-BF5D-55E084E83C5E}" type="presParOf" srcId="{5AEA7EC7-2110-4931-8F66-C0683560B5C7}" destId="{D3DBCD37-3158-4986-B9C2-5240E82D53A8}" srcOrd="4" destOrd="0" presId="urn:microsoft.com/office/officeart/2005/8/layout/chevronAccent+Icon"/>
    <dgm:cxn modelId="{0740E7EA-EFE1-4B24-83A9-B5CBA430F816}" type="presParOf" srcId="{D3DBCD37-3158-4986-B9C2-5240E82D53A8}" destId="{DEA75C10-8081-4FB0-B548-12C3B556075C}" srcOrd="0" destOrd="0" presId="urn:microsoft.com/office/officeart/2005/8/layout/chevronAccent+Icon"/>
    <dgm:cxn modelId="{56EEB03B-BE05-4332-8647-2071D9FF515D}" type="presParOf" srcId="{D3DBCD37-3158-4986-B9C2-5240E82D53A8}" destId="{7782BDE2-FA2C-40E1-A86C-B8B6EF8DC0F2}" srcOrd="1" destOrd="0" presId="urn:microsoft.com/office/officeart/2005/8/layout/chevronAccent+Icon"/>
    <dgm:cxn modelId="{E6A02FA5-E529-4D2C-B943-D9D8157BCC61}" type="presParOf" srcId="{5AEA7EC7-2110-4931-8F66-C0683560B5C7}" destId="{647F6E18-C19E-4FA2-A45F-3C0DBA1927A4}" srcOrd="5" destOrd="0" presId="urn:microsoft.com/office/officeart/2005/8/layout/chevronAccent+Icon"/>
    <dgm:cxn modelId="{9EE15723-30AB-4BEA-A7A2-69ABD130E781}" type="presParOf" srcId="{5AEA7EC7-2110-4931-8F66-C0683560B5C7}" destId="{34BE43BC-825A-4164-97B6-854A566FC670}" srcOrd="6" destOrd="0" presId="urn:microsoft.com/office/officeart/2005/8/layout/chevronAccent+Icon"/>
    <dgm:cxn modelId="{DEAF1341-26F9-4464-81FC-629D836AFAE1}" type="presParOf" srcId="{34BE43BC-825A-4164-97B6-854A566FC670}" destId="{74AE9C1C-AAFE-4AFA-9F2B-8EA6634976FD}" srcOrd="0" destOrd="0" presId="urn:microsoft.com/office/officeart/2005/8/layout/chevronAccent+Icon"/>
    <dgm:cxn modelId="{494087E5-0814-460F-8031-1220FDE37861}" type="presParOf" srcId="{34BE43BC-825A-4164-97B6-854A566FC670}" destId="{5FE78224-C823-4F3C-A99E-2B78F2E4300D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C6E863A-E131-4A64-A060-01DD62EC6AED}" type="doc">
      <dgm:prSet loTypeId="urn:microsoft.com/office/officeart/2005/8/layout/chevronAccent+Icon" loCatId="process" qsTypeId="urn:microsoft.com/office/officeart/2005/8/quickstyle/simple1" qsCatId="simple" csTypeId="urn:microsoft.com/office/officeart/2005/8/colors/colorful1" csCatId="colorful" phldr="1"/>
      <dgm:spPr/>
    </dgm:pt>
    <dgm:pt modelId="{9ECA4DE4-117A-4B96-B6BD-A2BE6A85B1E7}">
      <dgm:prSet phldrT="[Text]" custT="1"/>
      <dgm:spPr/>
      <dgm:t>
        <a:bodyPr/>
        <a:lstStyle/>
        <a:p>
          <a:r>
            <a:rPr lang="en-US" sz="1800" dirty="0" smtClean="0"/>
            <a:t>Training of Facilitators</a:t>
          </a:r>
        </a:p>
        <a:p>
          <a:r>
            <a:rPr lang="en-US" sz="1800" dirty="0" smtClean="0"/>
            <a:t>June 2018</a:t>
          </a:r>
          <a:endParaRPr lang="en-US" sz="1800" dirty="0"/>
        </a:p>
      </dgm:t>
    </dgm:pt>
    <dgm:pt modelId="{827E56AB-F298-4DF8-9B2F-7A7358D9BDBD}" type="parTrans" cxnId="{B2DC4129-97AB-42B2-8B70-947FEF62579C}">
      <dgm:prSet/>
      <dgm:spPr/>
      <dgm:t>
        <a:bodyPr/>
        <a:lstStyle/>
        <a:p>
          <a:endParaRPr lang="en-US"/>
        </a:p>
      </dgm:t>
    </dgm:pt>
    <dgm:pt modelId="{77234B91-C9C2-434F-929D-7F73285D666D}" type="sibTrans" cxnId="{B2DC4129-97AB-42B2-8B70-947FEF62579C}">
      <dgm:prSet/>
      <dgm:spPr/>
      <dgm:t>
        <a:bodyPr/>
        <a:lstStyle/>
        <a:p>
          <a:endParaRPr lang="en-US"/>
        </a:p>
      </dgm:t>
    </dgm:pt>
    <dgm:pt modelId="{EB289D0F-5339-4931-B0D4-561330AAFFB1}">
      <dgm:prSet phldrT="[Text]" custT="1"/>
      <dgm:spPr/>
      <dgm:t>
        <a:bodyPr/>
        <a:lstStyle/>
        <a:p>
          <a:r>
            <a:rPr lang="en-US" sz="1800" dirty="0" smtClean="0"/>
            <a:t>Practice Run Facilitators</a:t>
          </a:r>
        </a:p>
        <a:p>
          <a:r>
            <a:rPr lang="en-US" sz="1800" dirty="0" smtClean="0"/>
            <a:t>Jul-Aug 2018</a:t>
          </a:r>
          <a:endParaRPr lang="en-US" sz="1800" dirty="0"/>
        </a:p>
      </dgm:t>
    </dgm:pt>
    <dgm:pt modelId="{FB4F3E5F-DE26-4FA3-81D9-6FB9BEAEE079}" type="parTrans" cxnId="{C916E8F2-C93A-4BA6-B68F-5309CCDE5219}">
      <dgm:prSet/>
      <dgm:spPr/>
      <dgm:t>
        <a:bodyPr/>
        <a:lstStyle/>
        <a:p>
          <a:endParaRPr lang="en-US"/>
        </a:p>
      </dgm:t>
    </dgm:pt>
    <dgm:pt modelId="{4F5A99C3-1979-475C-A400-F8CB3F5A2272}" type="sibTrans" cxnId="{C916E8F2-C93A-4BA6-B68F-5309CCDE5219}">
      <dgm:prSet/>
      <dgm:spPr/>
      <dgm:t>
        <a:bodyPr/>
        <a:lstStyle/>
        <a:p>
          <a:endParaRPr lang="en-US"/>
        </a:p>
      </dgm:t>
    </dgm:pt>
    <dgm:pt modelId="{E324CA3E-66AC-428A-AD1C-0FAD8DDF6A3B}">
      <dgm:prSet phldrT="[Text]" custT="1"/>
      <dgm:spPr/>
      <dgm:t>
        <a:bodyPr/>
        <a:lstStyle/>
        <a:p>
          <a:r>
            <a:rPr lang="en-US" sz="1800" dirty="0" smtClean="0"/>
            <a:t>Training of RAs</a:t>
          </a:r>
        </a:p>
        <a:p>
          <a:r>
            <a:rPr lang="en-US" sz="1800" dirty="0" smtClean="0"/>
            <a:t>July 2018</a:t>
          </a:r>
          <a:endParaRPr lang="en-US" sz="1800" dirty="0"/>
        </a:p>
      </dgm:t>
    </dgm:pt>
    <dgm:pt modelId="{87DA0F8C-2121-4ADC-9E72-455A3C6F31DC}" type="parTrans" cxnId="{2C63F268-6BD5-4B65-9FAD-B71974EC8FD7}">
      <dgm:prSet/>
      <dgm:spPr/>
      <dgm:t>
        <a:bodyPr/>
        <a:lstStyle/>
        <a:p>
          <a:endParaRPr lang="en-US"/>
        </a:p>
      </dgm:t>
    </dgm:pt>
    <dgm:pt modelId="{79848164-F25F-4BCF-95EC-1566FF101533}" type="sibTrans" cxnId="{2C63F268-6BD5-4B65-9FAD-B71974EC8FD7}">
      <dgm:prSet/>
      <dgm:spPr/>
      <dgm:t>
        <a:bodyPr/>
        <a:lstStyle/>
        <a:p>
          <a:endParaRPr lang="en-US"/>
        </a:p>
      </dgm:t>
    </dgm:pt>
    <dgm:pt modelId="{138EF430-00EC-4F32-A91A-48657259E209}">
      <dgm:prSet custT="1"/>
      <dgm:spPr/>
      <dgm:t>
        <a:bodyPr/>
        <a:lstStyle/>
        <a:p>
          <a:r>
            <a:rPr lang="en-US" sz="1800" b="0" dirty="0" smtClean="0">
              <a:solidFill>
                <a:schemeClr val="tx1"/>
              </a:solidFill>
            </a:rPr>
            <a:t>Start Pilot RCT </a:t>
          </a:r>
        </a:p>
        <a:p>
          <a:r>
            <a:rPr lang="en-US" sz="1800" b="0" dirty="0" smtClean="0">
              <a:solidFill>
                <a:schemeClr val="tx1"/>
              </a:solidFill>
            </a:rPr>
            <a:t>Aug-Sep 2018</a:t>
          </a:r>
          <a:endParaRPr lang="en-US" sz="1800" b="0" dirty="0">
            <a:solidFill>
              <a:schemeClr val="tx1"/>
            </a:solidFill>
          </a:endParaRPr>
        </a:p>
      </dgm:t>
    </dgm:pt>
    <dgm:pt modelId="{562BE1C1-E574-478E-8AC5-18245A163881}" type="parTrans" cxnId="{C12FD792-C676-4AA2-B381-330E0C88C2D2}">
      <dgm:prSet/>
      <dgm:spPr/>
      <dgm:t>
        <a:bodyPr/>
        <a:lstStyle/>
        <a:p>
          <a:endParaRPr lang="en-US"/>
        </a:p>
      </dgm:t>
    </dgm:pt>
    <dgm:pt modelId="{3DACBF90-2685-449C-BD99-26C41C9DB7C6}" type="sibTrans" cxnId="{C12FD792-C676-4AA2-B381-330E0C88C2D2}">
      <dgm:prSet/>
      <dgm:spPr/>
      <dgm:t>
        <a:bodyPr/>
        <a:lstStyle/>
        <a:p>
          <a:endParaRPr lang="en-US"/>
        </a:p>
      </dgm:t>
    </dgm:pt>
    <dgm:pt modelId="{5AEA7EC7-2110-4931-8F66-C0683560B5C7}" type="pres">
      <dgm:prSet presAssocID="{3C6E863A-E131-4A64-A060-01DD62EC6AED}" presName="Name0" presStyleCnt="0">
        <dgm:presLayoutVars>
          <dgm:dir/>
          <dgm:resizeHandles val="exact"/>
        </dgm:presLayoutVars>
      </dgm:prSet>
      <dgm:spPr/>
    </dgm:pt>
    <dgm:pt modelId="{938E7B3C-C334-4182-92A6-2D56B4462CDA}" type="pres">
      <dgm:prSet presAssocID="{9ECA4DE4-117A-4B96-B6BD-A2BE6A85B1E7}" presName="composite" presStyleCnt="0"/>
      <dgm:spPr/>
    </dgm:pt>
    <dgm:pt modelId="{31EE8455-2B6C-4054-9CE9-BA736F8F79F6}" type="pres">
      <dgm:prSet presAssocID="{9ECA4DE4-117A-4B96-B6BD-A2BE6A85B1E7}" presName="bgChev" presStyleLbl="node1" presStyleIdx="0" presStyleCnt="4" custLinFactNeighborX="4030" custLinFactNeighborY="7453"/>
      <dgm:spPr>
        <a:solidFill>
          <a:srgbClr val="FF0000"/>
        </a:solidFill>
      </dgm:spPr>
    </dgm:pt>
    <dgm:pt modelId="{7C759CF0-33D7-4F87-811E-90AFADB31E0A}" type="pres">
      <dgm:prSet presAssocID="{9ECA4DE4-117A-4B96-B6BD-A2BE6A85B1E7}" presName="txNode" presStyleLbl="fgAcc1" presStyleIdx="0" presStyleCnt="4" custScaleY="1143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EA6E796-58C2-4A38-B8BB-16E521FCF018}" type="pres">
      <dgm:prSet presAssocID="{77234B91-C9C2-434F-929D-7F73285D666D}" presName="compositeSpace" presStyleCnt="0"/>
      <dgm:spPr/>
    </dgm:pt>
    <dgm:pt modelId="{A55AA03E-8B64-4805-99F3-C6424AA9FAFD}" type="pres">
      <dgm:prSet presAssocID="{EB289D0F-5339-4931-B0D4-561330AAFFB1}" presName="composite" presStyleCnt="0"/>
      <dgm:spPr/>
    </dgm:pt>
    <dgm:pt modelId="{BF2751C0-F116-4B32-88D2-378780ED23BE}" type="pres">
      <dgm:prSet presAssocID="{EB289D0F-5339-4931-B0D4-561330AAFFB1}" presName="bgChev" presStyleLbl="node1" presStyleIdx="1" presStyleCnt="4"/>
      <dgm:spPr>
        <a:solidFill>
          <a:srgbClr val="FFC000"/>
        </a:solidFill>
      </dgm:spPr>
    </dgm:pt>
    <dgm:pt modelId="{AD9EC6BF-8EA4-43A0-A69D-158B461416EE}" type="pres">
      <dgm:prSet presAssocID="{EB289D0F-5339-4931-B0D4-561330AAFFB1}" presName="txNode" presStyleLbl="fgAcc1" presStyleIdx="1" presStyleCnt="4" custLinFactNeighborX="-740" custLinFactNeighborY="8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5B47A2-FE0E-4EDA-B6F9-5DCD32C1ADF7}" type="pres">
      <dgm:prSet presAssocID="{4F5A99C3-1979-475C-A400-F8CB3F5A2272}" presName="compositeSpace" presStyleCnt="0"/>
      <dgm:spPr/>
    </dgm:pt>
    <dgm:pt modelId="{D3DBCD37-3158-4986-B9C2-5240E82D53A8}" type="pres">
      <dgm:prSet presAssocID="{E324CA3E-66AC-428A-AD1C-0FAD8DDF6A3B}" presName="composite" presStyleCnt="0"/>
      <dgm:spPr/>
    </dgm:pt>
    <dgm:pt modelId="{DEA75C10-8081-4FB0-B548-12C3B556075C}" type="pres">
      <dgm:prSet presAssocID="{E324CA3E-66AC-428A-AD1C-0FAD8DDF6A3B}" presName="bgChev" presStyleLbl="node1" presStyleIdx="2" presStyleCnt="4"/>
      <dgm:spPr>
        <a:solidFill>
          <a:srgbClr val="92D050"/>
        </a:solidFill>
      </dgm:spPr>
    </dgm:pt>
    <dgm:pt modelId="{7782BDE2-FA2C-40E1-A86C-B8B6EF8DC0F2}" type="pres">
      <dgm:prSet presAssocID="{E324CA3E-66AC-428A-AD1C-0FAD8DDF6A3B}" presName="txNode" presStyleLbl="fgAcc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47F6E18-C19E-4FA2-A45F-3C0DBA1927A4}" type="pres">
      <dgm:prSet presAssocID="{79848164-F25F-4BCF-95EC-1566FF101533}" presName="compositeSpace" presStyleCnt="0"/>
      <dgm:spPr/>
    </dgm:pt>
    <dgm:pt modelId="{34BE43BC-825A-4164-97B6-854A566FC670}" type="pres">
      <dgm:prSet presAssocID="{138EF430-00EC-4F32-A91A-48657259E209}" presName="composite" presStyleCnt="0"/>
      <dgm:spPr/>
    </dgm:pt>
    <dgm:pt modelId="{74AE9C1C-AAFE-4AFA-9F2B-8EA6634976FD}" type="pres">
      <dgm:prSet presAssocID="{138EF430-00EC-4F32-A91A-48657259E209}" presName="bgChev" presStyleLbl="node1" presStyleIdx="3" presStyleCnt="4"/>
      <dgm:spPr/>
    </dgm:pt>
    <dgm:pt modelId="{5FE78224-C823-4F3C-A99E-2B78F2E4300D}" type="pres">
      <dgm:prSet presAssocID="{138EF430-00EC-4F32-A91A-48657259E209}" presName="txNode" presStyleLbl="fgAcc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AC8D586-AFEF-4B04-8568-BD77762718C0}" type="presOf" srcId="{E324CA3E-66AC-428A-AD1C-0FAD8DDF6A3B}" destId="{7782BDE2-FA2C-40E1-A86C-B8B6EF8DC0F2}" srcOrd="0" destOrd="0" presId="urn:microsoft.com/office/officeart/2005/8/layout/chevronAccent+Icon"/>
    <dgm:cxn modelId="{A90F1E9C-FA90-4AF3-A43C-AD5F89D17AD0}" type="presOf" srcId="{3C6E863A-E131-4A64-A060-01DD62EC6AED}" destId="{5AEA7EC7-2110-4931-8F66-C0683560B5C7}" srcOrd="0" destOrd="0" presId="urn:microsoft.com/office/officeart/2005/8/layout/chevronAccent+Icon"/>
    <dgm:cxn modelId="{2C63F268-6BD5-4B65-9FAD-B71974EC8FD7}" srcId="{3C6E863A-E131-4A64-A060-01DD62EC6AED}" destId="{E324CA3E-66AC-428A-AD1C-0FAD8DDF6A3B}" srcOrd="2" destOrd="0" parTransId="{87DA0F8C-2121-4ADC-9E72-455A3C6F31DC}" sibTransId="{79848164-F25F-4BCF-95EC-1566FF101533}"/>
    <dgm:cxn modelId="{B2DC4129-97AB-42B2-8B70-947FEF62579C}" srcId="{3C6E863A-E131-4A64-A060-01DD62EC6AED}" destId="{9ECA4DE4-117A-4B96-B6BD-A2BE6A85B1E7}" srcOrd="0" destOrd="0" parTransId="{827E56AB-F298-4DF8-9B2F-7A7358D9BDBD}" sibTransId="{77234B91-C9C2-434F-929D-7F73285D666D}"/>
    <dgm:cxn modelId="{3E6BFFCC-3163-49A8-8777-E8A150C36726}" type="presOf" srcId="{9ECA4DE4-117A-4B96-B6BD-A2BE6A85B1E7}" destId="{7C759CF0-33D7-4F87-811E-90AFADB31E0A}" srcOrd="0" destOrd="0" presId="urn:microsoft.com/office/officeart/2005/8/layout/chevronAccent+Icon"/>
    <dgm:cxn modelId="{C916E8F2-C93A-4BA6-B68F-5309CCDE5219}" srcId="{3C6E863A-E131-4A64-A060-01DD62EC6AED}" destId="{EB289D0F-5339-4931-B0D4-561330AAFFB1}" srcOrd="1" destOrd="0" parTransId="{FB4F3E5F-DE26-4FA3-81D9-6FB9BEAEE079}" sibTransId="{4F5A99C3-1979-475C-A400-F8CB3F5A2272}"/>
    <dgm:cxn modelId="{54231FBC-7FF4-4B44-901E-6E4BDA8ED535}" type="presOf" srcId="{EB289D0F-5339-4931-B0D4-561330AAFFB1}" destId="{AD9EC6BF-8EA4-43A0-A69D-158B461416EE}" srcOrd="0" destOrd="0" presId="urn:microsoft.com/office/officeart/2005/8/layout/chevronAccent+Icon"/>
    <dgm:cxn modelId="{1E412425-AE1B-4490-AF35-7EB3C1F67C7F}" type="presOf" srcId="{138EF430-00EC-4F32-A91A-48657259E209}" destId="{5FE78224-C823-4F3C-A99E-2B78F2E4300D}" srcOrd="0" destOrd="0" presId="urn:microsoft.com/office/officeart/2005/8/layout/chevronAccent+Icon"/>
    <dgm:cxn modelId="{C12FD792-C676-4AA2-B381-330E0C88C2D2}" srcId="{3C6E863A-E131-4A64-A060-01DD62EC6AED}" destId="{138EF430-00EC-4F32-A91A-48657259E209}" srcOrd="3" destOrd="0" parTransId="{562BE1C1-E574-478E-8AC5-18245A163881}" sibTransId="{3DACBF90-2685-449C-BD99-26C41C9DB7C6}"/>
    <dgm:cxn modelId="{BAA16B5B-9259-462F-90CB-58E7CB79272B}" type="presParOf" srcId="{5AEA7EC7-2110-4931-8F66-C0683560B5C7}" destId="{938E7B3C-C334-4182-92A6-2D56B4462CDA}" srcOrd="0" destOrd="0" presId="urn:microsoft.com/office/officeart/2005/8/layout/chevronAccent+Icon"/>
    <dgm:cxn modelId="{669A735C-D58C-47DC-A999-11EF2646B604}" type="presParOf" srcId="{938E7B3C-C334-4182-92A6-2D56B4462CDA}" destId="{31EE8455-2B6C-4054-9CE9-BA736F8F79F6}" srcOrd="0" destOrd="0" presId="urn:microsoft.com/office/officeart/2005/8/layout/chevronAccent+Icon"/>
    <dgm:cxn modelId="{B21F9D79-6FC0-4CDD-B1F8-DB95520B68B1}" type="presParOf" srcId="{938E7B3C-C334-4182-92A6-2D56B4462CDA}" destId="{7C759CF0-33D7-4F87-811E-90AFADB31E0A}" srcOrd="1" destOrd="0" presId="urn:microsoft.com/office/officeart/2005/8/layout/chevronAccent+Icon"/>
    <dgm:cxn modelId="{1F68C087-AECB-4650-A144-C32DDEAE086B}" type="presParOf" srcId="{5AEA7EC7-2110-4931-8F66-C0683560B5C7}" destId="{1EA6E796-58C2-4A38-B8BB-16E521FCF018}" srcOrd="1" destOrd="0" presId="urn:microsoft.com/office/officeart/2005/8/layout/chevronAccent+Icon"/>
    <dgm:cxn modelId="{B80C5651-6CEA-483D-BE4E-39C18DB22146}" type="presParOf" srcId="{5AEA7EC7-2110-4931-8F66-C0683560B5C7}" destId="{A55AA03E-8B64-4805-99F3-C6424AA9FAFD}" srcOrd="2" destOrd="0" presId="urn:microsoft.com/office/officeart/2005/8/layout/chevronAccent+Icon"/>
    <dgm:cxn modelId="{C0815CBA-5886-43BB-A0D0-8B6C9C236266}" type="presParOf" srcId="{A55AA03E-8B64-4805-99F3-C6424AA9FAFD}" destId="{BF2751C0-F116-4B32-88D2-378780ED23BE}" srcOrd="0" destOrd="0" presId="urn:microsoft.com/office/officeart/2005/8/layout/chevronAccent+Icon"/>
    <dgm:cxn modelId="{D302F0C1-0EC5-4665-96D8-4214B41B7C8F}" type="presParOf" srcId="{A55AA03E-8B64-4805-99F3-C6424AA9FAFD}" destId="{AD9EC6BF-8EA4-43A0-A69D-158B461416EE}" srcOrd="1" destOrd="0" presId="urn:microsoft.com/office/officeart/2005/8/layout/chevronAccent+Icon"/>
    <dgm:cxn modelId="{0AA79A2E-39F3-4B5C-93C3-410D758FE4DC}" type="presParOf" srcId="{5AEA7EC7-2110-4931-8F66-C0683560B5C7}" destId="{EA5B47A2-FE0E-4EDA-B6F9-5DCD32C1ADF7}" srcOrd="3" destOrd="0" presId="urn:microsoft.com/office/officeart/2005/8/layout/chevronAccent+Icon"/>
    <dgm:cxn modelId="{F4D45E57-BECA-4714-A545-85CEA5C9DA06}" type="presParOf" srcId="{5AEA7EC7-2110-4931-8F66-C0683560B5C7}" destId="{D3DBCD37-3158-4986-B9C2-5240E82D53A8}" srcOrd="4" destOrd="0" presId="urn:microsoft.com/office/officeart/2005/8/layout/chevronAccent+Icon"/>
    <dgm:cxn modelId="{56F2FAD0-C4DC-4837-AF1D-DCB5F7A533EC}" type="presParOf" srcId="{D3DBCD37-3158-4986-B9C2-5240E82D53A8}" destId="{DEA75C10-8081-4FB0-B548-12C3B556075C}" srcOrd="0" destOrd="0" presId="urn:microsoft.com/office/officeart/2005/8/layout/chevronAccent+Icon"/>
    <dgm:cxn modelId="{62E85A90-3035-4CFC-8213-16A1AE08F67C}" type="presParOf" srcId="{D3DBCD37-3158-4986-B9C2-5240E82D53A8}" destId="{7782BDE2-FA2C-40E1-A86C-B8B6EF8DC0F2}" srcOrd="1" destOrd="0" presId="urn:microsoft.com/office/officeart/2005/8/layout/chevronAccent+Icon"/>
    <dgm:cxn modelId="{08AADFB8-09D9-424D-BF96-DB859F6CE39D}" type="presParOf" srcId="{5AEA7EC7-2110-4931-8F66-C0683560B5C7}" destId="{647F6E18-C19E-4FA2-A45F-3C0DBA1927A4}" srcOrd="5" destOrd="0" presId="urn:microsoft.com/office/officeart/2005/8/layout/chevronAccent+Icon"/>
    <dgm:cxn modelId="{E9D3062B-604E-4C3D-A0DE-1D56B89911C7}" type="presParOf" srcId="{5AEA7EC7-2110-4931-8F66-C0683560B5C7}" destId="{34BE43BC-825A-4164-97B6-854A566FC670}" srcOrd="6" destOrd="0" presId="urn:microsoft.com/office/officeart/2005/8/layout/chevronAccent+Icon"/>
    <dgm:cxn modelId="{9C673651-0C61-411E-BA78-E2101C07E333}" type="presParOf" srcId="{34BE43BC-825A-4164-97B6-854A566FC670}" destId="{74AE9C1C-AAFE-4AFA-9F2B-8EA6634976FD}" srcOrd="0" destOrd="0" presId="urn:microsoft.com/office/officeart/2005/8/layout/chevronAccent+Icon"/>
    <dgm:cxn modelId="{67C3E22B-1237-4FCA-83FB-45D1BF0C732A}" type="presParOf" srcId="{34BE43BC-825A-4164-97B6-854A566FC670}" destId="{5FE78224-C823-4F3C-A99E-2B78F2E4300D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B35AD-74AD-4EF7-BFEC-7F88B0647F13}">
      <dsp:nvSpPr>
        <dsp:cNvPr id="0" name=""/>
        <dsp:cNvSpPr/>
      </dsp:nvSpPr>
      <dsp:spPr>
        <a:xfrm rot="5400000">
          <a:off x="1171578" y="949999"/>
          <a:ext cx="826770" cy="94124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3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899FE50-58E9-41F5-A266-F104EC637EBD}">
      <dsp:nvSpPr>
        <dsp:cNvPr id="0" name=""/>
        <dsp:cNvSpPr/>
      </dsp:nvSpPr>
      <dsp:spPr>
        <a:xfrm>
          <a:off x="952534" y="33507"/>
          <a:ext cx="1391794" cy="974210"/>
        </a:xfrm>
        <a:prstGeom prst="roundRect">
          <a:avLst>
            <a:gd name="adj" fmla="val 1667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1a. Rapid Qualitative Assessment </a:t>
          </a:r>
          <a:endParaRPr lang="en-US" sz="1700" kern="1200" dirty="0"/>
        </a:p>
      </dsp:txBody>
      <dsp:txXfrm>
        <a:off x="1000100" y="81073"/>
        <a:ext cx="1296662" cy="879078"/>
      </dsp:txXfrm>
    </dsp:sp>
    <dsp:sp modelId="{419B0353-6462-4D8B-BEE4-9EC3EAE356BF}">
      <dsp:nvSpPr>
        <dsp:cNvPr id="0" name=""/>
        <dsp:cNvSpPr/>
      </dsp:nvSpPr>
      <dsp:spPr>
        <a:xfrm>
          <a:off x="3016731" y="126421"/>
          <a:ext cx="1012258" cy="787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3D24DA1-DB30-4B0B-A88C-3F07F7625D84}">
      <dsp:nvSpPr>
        <dsp:cNvPr id="0" name=""/>
        <dsp:cNvSpPr/>
      </dsp:nvSpPr>
      <dsp:spPr>
        <a:xfrm rot="5400000">
          <a:off x="2325523" y="2044359"/>
          <a:ext cx="826770" cy="94124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3">
            <a:tint val="50000"/>
            <a:hueOff val="0"/>
            <a:satOff val="0"/>
            <a:lumOff val="331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90A893D-68B3-4904-BE32-DC081BCC5A44}">
      <dsp:nvSpPr>
        <dsp:cNvPr id="0" name=""/>
        <dsp:cNvSpPr/>
      </dsp:nvSpPr>
      <dsp:spPr>
        <a:xfrm>
          <a:off x="2106479" y="1127868"/>
          <a:ext cx="1391794" cy="974210"/>
        </a:xfrm>
        <a:prstGeom prst="roundRect">
          <a:avLst>
            <a:gd name="adj" fmla="val 16670"/>
          </a:avLst>
        </a:prstGeom>
        <a:solidFill>
          <a:schemeClr val="accent3">
            <a:hueOff val="0"/>
            <a:satOff val="0"/>
            <a:lumOff val="-215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1b</a:t>
          </a:r>
          <a:r>
            <a:rPr lang="en-US" sz="1700" kern="1200" dirty="0"/>
            <a:t>. </a:t>
          </a:r>
          <a:r>
            <a:rPr lang="en-US" sz="1700" kern="1200" dirty="0" smtClean="0"/>
            <a:t>Desk Review</a:t>
          </a:r>
          <a:endParaRPr lang="en-US" sz="1700" kern="1200" dirty="0"/>
        </a:p>
      </dsp:txBody>
      <dsp:txXfrm>
        <a:off x="2154045" y="1175434"/>
        <a:ext cx="1296662" cy="879078"/>
      </dsp:txXfrm>
    </dsp:sp>
    <dsp:sp modelId="{9A05E111-54BD-4D23-9350-A50D29848CA5}">
      <dsp:nvSpPr>
        <dsp:cNvPr id="0" name=""/>
        <dsp:cNvSpPr/>
      </dsp:nvSpPr>
      <dsp:spPr>
        <a:xfrm>
          <a:off x="3736493" y="1202104"/>
          <a:ext cx="2851865" cy="787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D00E0E-4996-44C5-8103-43CD40869F40}">
      <dsp:nvSpPr>
        <dsp:cNvPr id="0" name=""/>
        <dsp:cNvSpPr/>
      </dsp:nvSpPr>
      <dsp:spPr>
        <a:xfrm rot="5400000">
          <a:off x="3479468" y="3138719"/>
          <a:ext cx="826770" cy="94124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3">
            <a:tint val="50000"/>
            <a:hueOff val="0"/>
            <a:satOff val="0"/>
            <a:lumOff val="663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5A2192-0F17-4D8A-B1C0-D18C2CDC54D5}">
      <dsp:nvSpPr>
        <dsp:cNvPr id="0" name=""/>
        <dsp:cNvSpPr/>
      </dsp:nvSpPr>
      <dsp:spPr>
        <a:xfrm>
          <a:off x="4306385" y="3267965"/>
          <a:ext cx="1391794" cy="974210"/>
        </a:xfrm>
        <a:prstGeom prst="roundRect">
          <a:avLst>
            <a:gd name="adj" fmla="val 16670"/>
          </a:avLst>
        </a:prstGeom>
        <a:solidFill>
          <a:schemeClr val="accent3">
            <a:hueOff val="0"/>
            <a:satOff val="0"/>
            <a:lumOff val="-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smtClean="0"/>
            <a:t>1d</a:t>
          </a:r>
          <a:r>
            <a:rPr lang="en-US" sz="1700" kern="1200" dirty="0" smtClean="0"/>
            <a:t>. Psychologist read through</a:t>
          </a:r>
          <a:endParaRPr lang="en-US" sz="1700" kern="1200" dirty="0"/>
        </a:p>
      </dsp:txBody>
      <dsp:txXfrm>
        <a:off x="4353951" y="3315531"/>
        <a:ext cx="1296662" cy="879078"/>
      </dsp:txXfrm>
    </dsp:sp>
    <dsp:sp modelId="{CAB86768-701C-422B-89D3-6F61E1C2CD3A}">
      <dsp:nvSpPr>
        <dsp:cNvPr id="0" name=""/>
        <dsp:cNvSpPr/>
      </dsp:nvSpPr>
      <dsp:spPr>
        <a:xfrm>
          <a:off x="5586877" y="3287367"/>
          <a:ext cx="2782131" cy="787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3C6A5C-D623-4CC7-B8FF-F3728786A22A}">
      <dsp:nvSpPr>
        <dsp:cNvPr id="0" name=""/>
        <dsp:cNvSpPr/>
      </dsp:nvSpPr>
      <dsp:spPr>
        <a:xfrm rot="5400000">
          <a:off x="4633413" y="4233079"/>
          <a:ext cx="826770" cy="94124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3">
            <a:tint val="50000"/>
            <a:hueOff val="0"/>
            <a:satOff val="0"/>
            <a:lumOff val="99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AB42DD-205E-43EF-B3F7-01EC9E8041CA}">
      <dsp:nvSpPr>
        <dsp:cNvPr id="0" name=""/>
        <dsp:cNvSpPr/>
      </dsp:nvSpPr>
      <dsp:spPr>
        <a:xfrm>
          <a:off x="5572398" y="4362325"/>
          <a:ext cx="1391794" cy="974210"/>
        </a:xfrm>
        <a:prstGeom prst="roundRect">
          <a:avLst>
            <a:gd name="adj" fmla="val 16670"/>
          </a:avLst>
        </a:prstGeom>
        <a:solidFill>
          <a:schemeClr val="accent3">
            <a:hueOff val="0"/>
            <a:satOff val="0"/>
            <a:lumOff val="-647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1e. Mock sessions EASE</a:t>
          </a:r>
          <a:endParaRPr lang="en-US" sz="1700" kern="1200" dirty="0"/>
        </a:p>
      </dsp:txBody>
      <dsp:txXfrm>
        <a:off x="5619964" y="4409891"/>
        <a:ext cx="1296662" cy="879078"/>
      </dsp:txXfrm>
    </dsp:sp>
    <dsp:sp modelId="{1DFBCA32-D718-4900-B2F0-4A175DB27132}">
      <dsp:nvSpPr>
        <dsp:cNvPr id="0" name=""/>
        <dsp:cNvSpPr/>
      </dsp:nvSpPr>
      <dsp:spPr>
        <a:xfrm>
          <a:off x="6160645" y="4449089"/>
          <a:ext cx="2208363" cy="787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1B912B-7DE5-42A1-886C-A449158D76D5}">
      <dsp:nvSpPr>
        <dsp:cNvPr id="0" name=""/>
        <dsp:cNvSpPr/>
      </dsp:nvSpPr>
      <dsp:spPr>
        <a:xfrm>
          <a:off x="3158868" y="2170078"/>
          <a:ext cx="1391794" cy="974210"/>
        </a:xfrm>
        <a:prstGeom prst="roundRect">
          <a:avLst>
            <a:gd name="adj" fmla="val 16670"/>
          </a:avLst>
        </a:prstGeom>
        <a:solidFill>
          <a:schemeClr val="accent3">
            <a:hueOff val="0"/>
            <a:satOff val="0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1c. Cognitive interviewing</a:t>
          </a:r>
          <a:endParaRPr lang="en-US" sz="1700" kern="1200" dirty="0"/>
        </a:p>
      </dsp:txBody>
      <dsp:txXfrm>
        <a:off x="3206434" y="2217644"/>
        <a:ext cx="1296662" cy="87907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B35AD-74AD-4EF7-BFEC-7F88B0647F13}">
      <dsp:nvSpPr>
        <dsp:cNvPr id="0" name=""/>
        <dsp:cNvSpPr/>
      </dsp:nvSpPr>
      <dsp:spPr>
        <a:xfrm rot="5400000">
          <a:off x="287813" y="959819"/>
          <a:ext cx="830503" cy="94549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3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899FE50-58E9-41F5-A266-F104EC637EBD}">
      <dsp:nvSpPr>
        <dsp:cNvPr id="0" name=""/>
        <dsp:cNvSpPr/>
      </dsp:nvSpPr>
      <dsp:spPr>
        <a:xfrm>
          <a:off x="67783" y="39188"/>
          <a:ext cx="1398078" cy="978609"/>
        </a:xfrm>
        <a:prstGeom prst="roundRect">
          <a:avLst>
            <a:gd name="adj" fmla="val 1667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1a. Rapid Qualitative Assessment </a:t>
          </a:r>
          <a:endParaRPr lang="en-US" sz="1700" kern="1200" dirty="0"/>
        </a:p>
      </dsp:txBody>
      <dsp:txXfrm>
        <a:off x="115563" y="86968"/>
        <a:ext cx="1302518" cy="883049"/>
      </dsp:txXfrm>
    </dsp:sp>
    <dsp:sp modelId="{419B0353-6462-4D8B-BEE4-9EC3EAE356BF}">
      <dsp:nvSpPr>
        <dsp:cNvPr id="0" name=""/>
        <dsp:cNvSpPr/>
      </dsp:nvSpPr>
      <dsp:spPr>
        <a:xfrm>
          <a:off x="4684082" y="126991"/>
          <a:ext cx="1016828" cy="7909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3D24DA1-DB30-4B0B-A88C-3F07F7625D84}">
      <dsp:nvSpPr>
        <dsp:cNvPr id="0" name=""/>
        <dsp:cNvSpPr/>
      </dsp:nvSpPr>
      <dsp:spPr>
        <a:xfrm rot="5400000">
          <a:off x="1446968" y="2059120"/>
          <a:ext cx="830503" cy="94549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3">
            <a:tint val="50000"/>
            <a:hueOff val="0"/>
            <a:satOff val="0"/>
            <a:lumOff val="331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90A893D-68B3-4904-BE32-DC081BCC5A44}">
      <dsp:nvSpPr>
        <dsp:cNvPr id="0" name=""/>
        <dsp:cNvSpPr/>
      </dsp:nvSpPr>
      <dsp:spPr>
        <a:xfrm>
          <a:off x="1226938" y="1138489"/>
          <a:ext cx="1398078" cy="978609"/>
        </a:xfrm>
        <a:prstGeom prst="roundRect">
          <a:avLst>
            <a:gd name="adj" fmla="val 16670"/>
          </a:avLst>
        </a:prstGeom>
        <a:solidFill>
          <a:schemeClr val="accent3">
            <a:hueOff val="0"/>
            <a:satOff val="0"/>
            <a:lumOff val="-215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1b</a:t>
          </a:r>
          <a:r>
            <a:rPr lang="en-US" sz="1700" kern="1200" dirty="0"/>
            <a:t>. </a:t>
          </a:r>
          <a:r>
            <a:rPr lang="en-US" sz="1700" kern="1200" dirty="0" smtClean="0"/>
            <a:t>Desk Review</a:t>
          </a:r>
          <a:endParaRPr lang="en-US" sz="1700" kern="1200" dirty="0"/>
        </a:p>
      </dsp:txBody>
      <dsp:txXfrm>
        <a:off x="1274718" y="1186269"/>
        <a:ext cx="1302518" cy="883049"/>
      </dsp:txXfrm>
    </dsp:sp>
    <dsp:sp modelId="{9A05E111-54BD-4D23-9350-A50D29848CA5}">
      <dsp:nvSpPr>
        <dsp:cNvPr id="0" name=""/>
        <dsp:cNvSpPr/>
      </dsp:nvSpPr>
      <dsp:spPr>
        <a:xfrm>
          <a:off x="5407095" y="1207531"/>
          <a:ext cx="2864742" cy="7909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800" kern="1200" dirty="0"/>
        </a:p>
      </dsp:txBody>
      <dsp:txXfrm>
        <a:off x="5407095" y="1207531"/>
        <a:ext cx="2864742" cy="790955"/>
      </dsp:txXfrm>
    </dsp:sp>
    <dsp:sp modelId="{2FD00E0E-4996-44C5-8103-43CD40869F40}">
      <dsp:nvSpPr>
        <dsp:cNvPr id="0" name=""/>
        <dsp:cNvSpPr/>
      </dsp:nvSpPr>
      <dsp:spPr>
        <a:xfrm rot="5400000">
          <a:off x="2606124" y="3158422"/>
          <a:ext cx="830503" cy="94549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3">
            <a:tint val="50000"/>
            <a:hueOff val="0"/>
            <a:satOff val="0"/>
            <a:lumOff val="663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5A2192-0F17-4D8A-B1C0-D18C2CDC54D5}">
      <dsp:nvSpPr>
        <dsp:cNvPr id="0" name=""/>
        <dsp:cNvSpPr/>
      </dsp:nvSpPr>
      <dsp:spPr>
        <a:xfrm>
          <a:off x="3436777" y="3288249"/>
          <a:ext cx="1398078" cy="978609"/>
        </a:xfrm>
        <a:prstGeom prst="roundRect">
          <a:avLst>
            <a:gd name="adj" fmla="val 16670"/>
          </a:avLst>
        </a:prstGeom>
        <a:solidFill>
          <a:schemeClr val="accent3">
            <a:hueOff val="0"/>
            <a:satOff val="0"/>
            <a:lumOff val="-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smtClean="0"/>
            <a:t>1d</a:t>
          </a:r>
          <a:r>
            <a:rPr lang="en-US" sz="1700" kern="1200" dirty="0" smtClean="0"/>
            <a:t>. Psychologist read through</a:t>
          </a:r>
          <a:endParaRPr lang="en-US" sz="1700" kern="1200" dirty="0"/>
        </a:p>
      </dsp:txBody>
      <dsp:txXfrm>
        <a:off x="3484557" y="3336029"/>
        <a:ext cx="1302518" cy="883049"/>
      </dsp:txXfrm>
    </dsp:sp>
    <dsp:sp modelId="{CAB86768-701C-422B-89D3-6F61E1C2CD3A}">
      <dsp:nvSpPr>
        <dsp:cNvPr id="0" name=""/>
        <dsp:cNvSpPr/>
      </dsp:nvSpPr>
      <dsp:spPr>
        <a:xfrm>
          <a:off x="7497955" y="3302210"/>
          <a:ext cx="2794693" cy="7909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3C6A5C-D623-4CC7-B8FF-F3728786A22A}">
      <dsp:nvSpPr>
        <dsp:cNvPr id="0" name=""/>
        <dsp:cNvSpPr/>
      </dsp:nvSpPr>
      <dsp:spPr>
        <a:xfrm rot="5400000">
          <a:off x="3765279" y="4257723"/>
          <a:ext cx="830503" cy="94549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3">
            <a:tint val="50000"/>
            <a:hueOff val="0"/>
            <a:satOff val="0"/>
            <a:lumOff val="99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AB42DD-205E-43EF-B3F7-01EC9E8041CA}">
      <dsp:nvSpPr>
        <dsp:cNvPr id="0" name=""/>
        <dsp:cNvSpPr/>
      </dsp:nvSpPr>
      <dsp:spPr>
        <a:xfrm>
          <a:off x="4708506" y="4387551"/>
          <a:ext cx="1398078" cy="978609"/>
        </a:xfrm>
        <a:prstGeom prst="roundRect">
          <a:avLst>
            <a:gd name="adj" fmla="val 16670"/>
          </a:avLst>
        </a:prstGeom>
        <a:solidFill>
          <a:schemeClr val="accent3">
            <a:hueOff val="0"/>
            <a:satOff val="0"/>
            <a:lumOff val="-647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1e. Mock sessions EASE</a:t>
          </a:r>
          <a:endParaRPr lang="en-US" sz="1700" kern="1200" dirty="0"/>
        </a:p>
      </dsp:txBody>
      <dsp:txXfrm>
        <a:off x="4756286" y="4435331"/>
        <a:ext cx="1302518" cy="883049"/>
      </dsp:txXfrm>
    </dsp:sp>
    <dsp:sp modelId="{1DFBCA32-D718-4900-B2F0-4A175DB27132}">
      <dsp:nvSpPr>
        <dsp:cNvPr id="0" name=""/>
        <dsp:cNvSpPr/>
      </dsp:nvSpPr>
      <dsp:spPr>
        <a:xfrm>
          <a:off x="9147476" y="4469178"/>
          <a:ext cx="2218334" cy="7909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1B912B-7DE5-42A1-886C-A449158D76D5}">
      <dsp:nvSpPr>
        <dsp:cNvPr id="0" name=""/>
        <dsp:cNvSpPr/>
      </dsp:nvSpPr>
      <dsp:spPr>
        <a:xfrm>
          <a:off x="2284079" y="2185405"/>
          <a:ext cx="1398078" cy="978609"/>
        </a:xfrm>
        <a:prstGeom prst="roundRect">
          <a:avLst>
            <a:gd name="adj" fmla="val 16670"/>
          </a:avLst>
        </a:prstGeom>
        <a:solidFill>
          <a:schemeClr val="accent3">
            <a:hueOff val="0"/>
            <a:satOff val="0"/>
            <a:lumOff val="-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1c. Cognitive interviewing</a:t>
          </a:r>
          <a:endParaRPr lang="en-US" sz="1700" kern="1200" dirty="0"/>
        </a:p>
      </dsp:txBody>
      <dsp:txXfrm>
        <a:off x="2331859" y="2233185"/>
        <a:ext cx="1302518" cy="88304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EE8455-2B6C-4054-9CE9-BA736F8F79F6}">
      <dsp:nvSpPr>
        <dsp:cNvPr id="0" name=""/>
        <dsp:cNvSpPr/>
      </dsp:nvSpPr>
      <dsp:spPr>
        <a:xfrm>
          <a:off x="4682" y="544478"/>
          <a:ext cx="2203943" cy="850722"/>
        </a:xfrm>
        <a:prstGeom prst="chevron">
          <a:avLst>
            <a:gd name="adj" fmla="val 40000"/>
          </a:avLst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759CF0-33D7-4F87-811E-90AFADB31E0A}">
      <dsp:nvSpPr>
        <dsp:cNvPr id="0" name=""/>
        <dsp:cNvSpPr/>
      </dsp:nvSpPr>
      <dsp:spPr>
        <a:xfrm>
          <a:off x="592400" y="757158"/>
          <a:ext cx="1861107" cy="8507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Master Workshop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Jan 2018</a:t>
          </a:r>
          <a:endParaRPr lang="en-US" sz="1800" kern="1200" dirty="0"/>
        </a:p>
      </dsp:txBody>
      <dsp:txXfrm>
        <a:off x="617317" y="782075"/>
        <a:ext cx="1811273" cy="800888"/>
      </dsp:txXfrm>
    </dsp:sp>
    <dsp:sp modelId="{BF2751C0-F116-4B32-88D2-378780ED23BE}">
      <dsp:nvSpPr>
        <dsp:cNvPr id="0" name=""/>
        <dsp:cNvSpPr/>
      </dsp:nvSpPr>
      <dsp:spPr>
        <a:xfrm>
          <a:off x="2522075" y="544478"/>
          <a:ext cx="2203943" cy="850722"/>
        </a:xfrm>
        <a:prstGeom prst="chevron">
          <a:avLst>
            <a:gd name="adj" fmla="val 40000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9EC6BF-8EA4-43A0-A69D-158B461416EE}">
      <dsp:nvSpPr>
        <dsp:cNvPr id="0" name=""/>
        <dsp:cNvSpPr/>
      </dsp:nvSpPr>
      <dsp:spPr>
        <a:xfrm>
          <a:off x="3096021" y="757898"/>
          <a:ext cx="1861107" cy="8507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Training of Trainers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Feb 2018</a:t>
          </a:r>
          <a:endParaRPr lang="en-US" sz="1800" kern="1200" dirty="0"/>
        </a:p>
      </dsp:txBody>
      <dsp:txXfrm>
        <a:off x="3120938" y="782815"/>
        <a:ext cx="1811273" cy="800888"/>
      </dsp:txXfrm>
    </dsp:sp>
    <dsp:sp modelId="{DEA75C10-8081-4FB0-B548-12C3B556075C}">
      <dsp:nvSpPr>
        <dsp:cNvPr id="0" name=""/>
        <dsp:cNvSpPr/>
      </dsp:nvSpPr>
      <dsp:spPr>
        <a:xfrm>
          <a:off x="5039469" y="544478"/>
          <a:ext cx="2203943" cy="850722"/>
        </a:xfrm>
        <a:prstGeom prst="chevron">
          <a:avLst>
            <a:gd name="adj" fmla="val 40000"/>
          </a:avLst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782BDE2-FA2C-40E1-A86C-B8B6EF8DC0F2}">
      <dsp:nvSpPr>
        <dsp:cNvPr id="0" name=""/>
        <dsp:cNvSpPr/>
      </dsp:nvSpPr>
      <dsp:spPr>
        <a:xfrm>
          <a:off x="5627187" y="757158"/>
          <a:ext cx="1861107" cy="8507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ractical Cycle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April 2018</a:t>
          </a:r>
          <a:endParaRPr lang="en-US" sz="1800" kern="1200" dirty="0"/>
        </a:p>
      </dsp:txBody>
      <dsp:txXfrm>
        <a:off x="5652104" y="782075"/>
        <a:ext cx="1811273" cy="800888"/>
      </dsp:txXfrm>
    </dsp:sp>
    <dsp:sp modelId="{74AE9C1C-AAFE-4AFA-9F2B-8EA6634976FD}">
      <dsp:nvSpPr>
        <dsp:cNvPr id="0" name=""/>
        <dsp:cNvSpPr/>
      </dsp:nvSpPr>
      <dsp:spPr>
        <a:xfrm>
          <a:off x="7556862" y="544478"/>
          <a:ext cx="2203943" cy="850722"/>
        </a:xfrm>
        <a:prstGeom prst="chevron">
          <a:avLst>
            <a:gd name="adj" fmla="val 4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E78224-C823-4F3C-A99E-2B78F2E4300D}">
      <dsp:nvSpPr>
        <dsp:cNvPr id="0" name=""/>
        <dsp:cNvSpPr/>
      </dsp:nvSpPr>
      <dsp:spPr>
        <a:xfrm>
          <a:off x="8144580" y="757158"/>
          <a:ext cx="1861107" cy="8507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 dirty="0" smtClean="0">
              <a:solidFill>
                <a:schemeClr val="tx1"/>
              </a:solidFill>
            </a:rPr>
            <a:t>Measures finalized</a:t>
          </a:r>
          <a:r>
            <a:rPr lang="en-US" sz="1800" b="1" kern="1200" dirty="0" smtClean="0">
              <a:solidFill>
                <a:schemeClr val="tx1"/>
              </a:solidFill>
            </a:rPr>
            <a:t> 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 dirty="0" smtClean="0">
              <a:solidFill>
                <a:schemeClr val="tx1"/>
              </a:solidFill>
            </a:rPr>
            <a:t>April 2018</a:t>
          </a:r>
          <a:endParaRPr lang="en-US" sz="1800" b="0" kern="1200" dirty="0">
            <a:solidFill>
              <a:schemeClr val="tx1"/>
            </a:solidFill>
          </a:endParaRPr>
        </a:p>
      </dsp:txBody>
      <dsp:txXfrm>
        <a:off x="8169497" y="782075"/>
        <a:ext cx="1811273" cy="80088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EE8455-2B6C-4054-9CE9-BA736F8F79F6}">
      <dsp:nvSpPr>
        <dsp:cNvPr id="0" name=""/>
        <dsp:cNvSpPr/>
      </dsp:nvSpPr>
      <dsp:spPr>
        <a:xfrm>
          <a:off x="93501" y="577435"/>
          <a:ext cx="2203943" cy="850722"/>
        </a:xfrm>
        <a:prstGeom prst="chevron">
          <a:avLst>
            <a:gd name="adj" fmla="val 40000"/>
          </a:avLst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759CF0-33D7-4F87-811E-90AFADB31E0A}">
      <dsp:nvSpPr>
        <dsp:cNvPr id="0" name=""/>
        <dsp:cNvSpPr/>
      </dsp:nvSpPr>
      <dsp:spPr>
        <a:xfrm>
          <a:off x="592400" y="665816"/>
          <a:ext cx="1861107" cy="97251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Training of Facilitators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June 2018</a:t>
          </a:r>
          <a:endParaRPr lang="en-US" sz="1800" kern="1200" dirty="0"/>
        </a:p>
      </dsp:txBody>
      <dsp:txXfrm>
        <a:off x="620884" y="694300"/>
        <a:ext cx="1804139" cy="915543"/>
      </dsp:txXfrm>
    </dsp:sp>
    <dsp:sp modelId="{BF2751C0-F116-4B32-88D2-378780ED23BE}">
      <dsp:nvSpPr>
        <dsp:cNvPr id="0" name=""/>
        <dsp:cNvSpPr/>
      </dsp:nvSpPr>
      <dsp:spPr>
        <a:xfrm>
          <a:off x="2522075" y="544478"/>
          <a:ext cx="2203943" cy="850722"/>
        </a:xfrm>
        <a:prstGeom prst="chevron">
          <a:avLst>
            <a:gd name="adj" fmla="val 40000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9EC6BF-8EA4-43A0-A69D-158B461416EE}">
      <dsp:nvSpPr>
        <dsp:cNvPr id="0" name=""/>
        <dsp:cNvSpPr/>
      </dsp:nvSpPr>
      <dsp:spPr>
        <a:xfrm>
          <a:off x="3096021" y="757898"/>
          <a:ext cx="1861107" cy="8507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ractice Run Facilitators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Jul-Aug 2018</a:t>
          </a:r>
          <a:endParaRPr lang="en-US" sz="1800" kern="1200" dirty="0"/>
        </a:p>
      </dsp:txBody>
      <dsp:txXfrm>
        <a:off x="3120938" y="782815"/>
        <a:ext cx="1811273" cy="800888"/>
      </dsp:txXfrm>
    </dsp:sp>
    <dsp:sp modelId="{DEA75C10-8081-4FB0-B548-12C3B556075C}">
      <dsp:nvSpPr>
        <dsp:cNvPr id="0" name=""/>
        <dsp:cNvSpPr/>
      </dsp:nvSpPr>
      <dsp:spPr>
        <a:xfrm>
          <a:off x="5039469" y="544478"/>
          <a:ext cx="2203943" cy="850722"/>
        </a:xfrm>
        <a:prstGeom prst="chevron">
          <a:avLst>
            <a:gd name="adj" fmla="val 40000"/>
          </a:avLst>
        </a:prstGeom>
        <a:solidFill>
          <a:srgbClr val="92D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782BDE2-FA2C-40E1-A86C-B8B6EF8DC0F2}">
      <dsp:nvSpPr>
        <dsp:cNvPr id="0" name=""/>
        <dsp:cNvSpPr/>
      </dsp:nvSpPr>
      <dsp:spPr>
        <a:xfrm>
          <a:off x="5627187" y="757158"/>
          <a:ext cx="1861107" cy="8507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Training of RAs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July 2018</a:t>
          </a:r>
          <a:endParaRPr lang="en-US" sz="1800" kern="1200" dirty="0"/>
        </a:p>
      </dsp:txBody>
      <dsp:txXfrm>
        <a:off x="5652104" y="782075"/>
        <a:ext cx="1811273" cy="800888"/>
      </dsp:txXfrm>
    </dsp:sp>
    <dsp:sp modelId="{74AE9C1C-AAFE-4AFA-9F2B-8EA6634976FD}">
      <dsp:nvSpPr>
        <dsp:cNvPr id="0" name=""/>
        <dsp:cNvSpPr/>
      </dsp:nvSpPr>
      <dsp:spPr>
        <a:xfrm>
          <a:off x="7556862" y="544478"/>
          <a:ext cx="2203943" cy="850722"/>
        </a:xfrm>
        <a:prstGeom prst="chevron">
          <a:avLst>
            <a:gd name="adj" fmla="val 4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E78224-C823-4F3C-A99E-2B78F2E4300D}">
      <dsp:nvSpPr>
        <dsp:cNvPr id="0" name=""/>
        <dsp:cNvSpPr/>
      </dsp:nvSpPr>
      <dsp:spPr>
        <a:xfrm>
          <a:off x="8144580" y="757158"/>
          <a:ext cx="1861107" cy="85072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 dirty="0" smtClean="0">
              <a:solidFill>
                <a:schemeClr val="tx1"/>
              </a:solidFill>
            </a:rPr>
            <a:t>Start Pilot RCT 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0" kern="1200" dirty="0" smtClean="0">
              <a:solidFill>
                <a:schemeClr val="tx1"/>
              </a:solidFill>
            </a:rPr>
            <a:t>Aug-Sep 2018</a:t>
          </a:r>
          <a:endParaRPr lang="en-US" sz="1800" b="0" kern="1200" dirty="0">
            <a:solidFill>
              <a:schemeClr val="tx1"/>
            </a:solidFill>
          </a:endParaRPr>
        </a:p>
      </dsp:txBody>
      <dsp:txXfrm>
        <a:off x="8169497" y="782075"/>
        <a:ext cx="1811273" cy="8008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Chevron Accent Process"/>
  <dgm:desc val="Use to show sequential steps in a task, process, or workflow, or to emphasize movement or direction. Works best with minimal Level 1 and Level 2 text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Chevron Accent Process"/>
  <dgm:desc val="Use to show sequential steps in a task, process, or workflow, or to emphasize movement or direction. Works best with minimal Level 1 and Level 2 text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AAE607-DE64-41BD-A20A-E2F17F58B30C}" type="datetimeFigureOut">
              <a:rPr lang="en-GB" smtClean="0"/>
              <a:t>13/02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245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6038" y="944245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28357B-029F-402D-81CE-D47D10518E5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83940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2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8" y="0"/>
            <a:ext cx="2950475" cy="498772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28434B9-F58E-4A68-A088-4CF8B545A559}" type="datetimeFigureOut">
              <a:rPr lang="en-US" smtClean="0"/>
              <a:t>2/13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79" y="4784069"/>
            <a:ext cx="5447030" cy="391424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1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8" y="9442154"/>
            <a:ext cx="2950475" cy="498771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49F1942-876E-4EEB-96E4-D6DD6B732D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5798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61062" cy="33543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9F1942-876E-4EEB-96E4-D6DD6B732DE5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0160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9F1942-876E-4EEB-96E4-D6DD6B732DE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9976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1200" dirty="0" smtClean="0"/>
              <a:t>Sample size based on empirical saturation- max 12 per group</a:t>
            </a:r>
          </a:p>
          <a:p>
            <a:pPr marL="0" indent="0">
              <a:buNone/>
            </a:pPr>
            <a:r>
              <a:rPr lang="en-GB" sz="1200" dirty="0" smtClean="0"/>
              <a:t>Purposeful sampling will be conducted to ensure a suitable sample to address the qualitative research questions, with attention to sex, age, nationality, and other demographics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9F1942-876E-4EEB-96E4-D6DD6B732DE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9976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1- developed by Who </a:t>
            </a:r>
            <a:r>
              <a:rPr lang="en-US" sz="1200" dirty="0" smtClean="0"/>
              <a:t>with input from many exper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9F1942-876E-4EEB-96E4-D6DD6B732DE5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1454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9F1942-876E-4EEB-96E4-D6DD6B732DE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2202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9F1942-876E-4EEB-96E4-D6DD6B732DE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4646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RQA/Desk: </a:t>
            </a:r>
          </a:p>
          <a:p>
            <a:pPr marL="171450" indent="-171450">
              <a:buFontTx/>
              <a:buChar char="-"/>
            </a:pPr>
            <a:r>
              <a:rPr lang="en-GB" sz="1200" dirty="0" smtClean="0"/>
              <a:t>Outputs</a:t>
            </a:r>
          </a:p>
          <a:p>
            <a:pPr marL="628650" lvl="1" indent="-171450">
              <a:buFontTx/>
              <a:buChar char="-"/>
            </a:pPr>
            <a:r>
              <a:rPr lang="en-GB" sz="1200" dirty="0" smtClean="0"/>
              <a:t>List of Free listing problems</a:t>
            </a:r>
          </a:p>
          <a:p>
            <a:pPr marL="628650" lvl="1" indent="-171450">
              <a:buFontTx/>
              <a:buChar char="-"/>
            </a:pPr>
            <a:r>
              <a:rPr lang="en-GB" sz="1200" dirty="0" smtClean="0"/>
              <a:t>List of Free listing activities, to be used for general functioning instrument development</a:t>
            </a:r>
          </a:p>
          <a:p>
            <a:pPr marL="628650" lvl="1" indent="-171450">
              <a:buFontTx/>
              <a:buChar char="-"/>
            </a:pPr>
            <a:r>
              <a:rPr lang="en-GB" sz="1200" dirty="0" smtClean="0"/>
              <a:t>Dissertation MSC students on RQA findings, incl. desk review </a:t>
            </a:r>
          </a:p>
          <a:p>
            <a:pPr marL="628650" lvl="1" indent="-171450">
              <a:buFontTx/>
              <a:buChar char="-"/>
            </a:pPr>
            <a:r>
              <a:rPr lang="en-GB" sz="1200" dirty="0" smtClean="0"/>
              <a:t>Internal report RQA findings </a:t>
            </a:r>
          </a:p>
          <a:p>
            <a:pPr marL="171450" indent="-171450">
              <a:buFontTx/>
              <a:buChar char="-"/>
            </a:pPr>
            <a:r>
              <a:rPr lang="en-US" dirty="0" smtClean="0"/>
              <a:t>Brief findings:</a:t>
            </a:r>
            <a:r>
              <a:rPr lang="en-US" baseline="0" dirty="0" smtClean="0"/>
              <a:t> </a:t>
            </a:r>
          </a:p>
          <a:p>
            <a:pPr marL="628650" lvl="1" indent="-171450">
              <a:buFontTx/>
              <a:buChar char="-"/>
            </a:pPr>
            <a:r>
              <a:rPr lang="en-US" sz="3200" b="0" dirty="0" smtClean="0"/>
              <a:t>Main problems</a:t>
            </a:r>
          </a:p>
          <a:p>
            <a:pPr marL="1085850" lvl="2" indent="-171450">
              <a:buFontTx/>
              <a:buChar char="-"/>
            </a:pPr>
            <a:r>
              <a:rPr lang="en-US" i="1" dirty="0" smtClean="0"/>
              <a:t>Emotional Abuse, bullying and physical violence </a:t>
            </a:r>
          </a:p>
          <a:p>
            <a:pPr marL="1085850" lvl="2" indent="-171450">
              <a:buFontTx/>
              <a:buChar char="-"/>
            </a:pPr>
            <a:r>
              <a:rPr lang="en-US" i="1" dirty="0" smtClean="0"/>
              <a:t>Substance use</a:t>
            </a:r>
          </a:p>
          <a:p>
            <a:pPr marL="1085850" lvl="2" indent="-171450">
              <a:buFontTx/>
              <a:buChar char="-"/>
            </a:pPr>
            <a:r>
              <a:rPr lang="en-US" i="1" dirty="0" smtClean="0"/>
              <a:t>Poverty</a:t>
            </a:r>
          </a:p>
          <a:p>
            <a:pPr marL="628650" lvl="1" indent="-171450">
              <a:buFontTx/>
              <a:buChar char="-"/>
            </a:pPr>
            <a:r>
              <a:rPr lang="en-GB" altLang="en-US" sz="3200" b="0" dirty="0" smtClean="0"/>
              <a:t>Positive Coping mechanisms</a:t>
            </a:r>
          </a:p>
          <a:p>
            <a:pPr marL="1085850" lvl="2" indent="-171450">
              <a:buFontTx/>
              <a:buChar char="-"/>
            </a:pPr>
            <a:r>
              <a:rPr lang="en-GB" altLang="en-US" i="1" dirty="0" smtClean="0"/>
              <a:t>Talking with parents (especially mother), </a:t>
            </a:r>
          </a:p>
          <a:p>
            <a:pPr marL="1085850" lvl="2" indent="-171450">
              <a:buFontTx/>
              <a:buChar char="-"/>
            </a:pPr>
            <a:r>
              <a:rPr lang="en-GB" altLang="en-US" i="1" dirty="0" smtClean="0"/>
              <a:t>Seeking assistance, </a:t>
            </a:r>
          </a:p>
          <a:p>
            <a:pPr marL="1085850" lvl="2" indent="-171450">
              <a:buFontTx/>
              <a:buChar char="-"/>
            </a:pPr>
            <a:r>
              <a:rPr lang="en-GB" altLang="en-US" i="1" dirty="0" smtClean="0"/>
              <a:t>Playing/doing activities, </a:t>
            </a:r>
          </a:p>
          <a:p>
            <a:pPr marL="1085850" lvl="2" indent="-171450">
              <a:buFontTx/>
              <a:buChar char="-"/>
            </a:pPr>
            <a:r>
              <a:rPr lang="en-GB" altLang="en-US" i="1" dirty="0" smtClean="0"/>
              <a:t>Friendships etc.</a:t>
            </a:r>
          </a:p>
          <a:p>
            <a:pPr marL="628650" lvl="1" indent="-171450">
              <a:buFontTx/>
              <a:buChar char="-"/>
            </a:pPr>
            <a:r>
              <a:rPr lang="nl-NL" altLang="en-US" i="1" dirty="0" smtClean="0"/>
              <a:t>Etc. </a:t>
            </a:r>
            <a:endParaRPr lang="en-GB" altLang="en-US" i="1" dirty="0" smtClean="0"/>
          </a:p>
          <a:p>
            <a:pPr marL="171450" indent="-171450">
              <a:buFontTx/>
              <a:buChar char="-"/>
            </a:pPr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9F1942-876E-4EEB-96E4-D6DD6B732DE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0147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9F1942-876E-4EEB-96E4-D6DD6B732DE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8620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egregation of</a:t>
            </a:r>
            <a:r>
              <a:rPr lang="en-US" baseline="0" dirty="0" smtClean="0"/>
              <a:t> groups still under discus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9F1942-876E-4EEB-96E4-D6DD6B732DE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7268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9F1942-876E-4EEB-96E4-D6DD6B732DE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9976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9F1942-876E-4EEB-96E4-D6DD6B732DE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728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4" Type="http://schemas.openxmlformats.org/officeDocument/2006/relationships/image" Target="../media/image2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9700" y="6356366"/>
            <a:ext cx="584200" cy="365125"/>
          </a:xfrm>
        </p:spPr>
        <p:txBody>
          <a:bodyPr/>
          <a:lstStyle/>
          <a:p>
            <a:fld id="{AEE12407-35E7-4E87-8757-FD495B64908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6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-58531"/>
            <a:ext cx="12192000" cy="360203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62956"/>
            <a:ext cx="12192000" cy="47950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6"/>
            <a:ext cx="9144000" cy="1671637"/>
          </a:xfrm>
        </p:spPr>
        <p:txBody>
          <a:bodyPr anchor="b">
            <a:normAutofit/>
          </a:bodyPr>
          <a:lstStyle>
            <a:lvl1pPr algn="ctr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5799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rgbClr val="FF0000"/>
                </a:solidFill>
                <a:latin typeface="Chiller" panose="04020404031007020602" pitchFamily="8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grpSp>
        <p:nvGrpSpPr>
          <p:cNvPr id="9" name="Group 1234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10775961" y="5711841"/>
            <a:ext cx="900113" cy="827087"/>
            <a:chOff x="5907" y="1132"/>
            <a:chExt cx="2151" cy="1976"/>
          </a:xfrm>
        </p:grpSpPr>
        <p:sp>
          <p:nvSpPr>
            <p:cNvPr id="10" name="Freeform 1235"/>
            <p:cNvSpPr>
              <a:spLocks/>
            </p:cNvSpPr>
            <p:nvPr/>
          </p:nvSpPr>
          <p:spPr bwMode="auto">
            <a:xfrm>
              <a:off x="5966" y="2117"/>
              <a:ext cx="2028" cy="0"/>
            </a:xfrm>
            <a:custGeom>
              <a:avLst/>
              <a:gdLst>
                <a:gd name="T0" fmla="*/ 0 w 2028"/>
                <a:gd name="T1" fmla="*/ 2028 w 2028"/>
                <a:gd name="T2" fmla="*/ 0 w 202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28">
                  <a:moveTo>
                    <a:pt x="0" y="0"/>
                  </a:moveTo>
                  <a:lnTo>
                    <a:pt x="202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Line 1236"/>
            <p:cNvSpPr>
              <a:spLocks noChangeShapeType="1"/>
            </p:cNvSpPr>
            <p:nvPr/>
          </p:nvSpPr>
          <p:spPr bwMode="auto">
            <a:xfrm>
              <a:off x="5966" y="2117"/>
              <a:ext cx="202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Rectangle 1237"/>
            <p:cNvSpPr>
              <a:spLocks noChangeArrowheads="1"/>
            </p:cNvSpPr>
            <p:nvPr/>
          </p:nvSpPr>
          <p:spPr bwMode="auto">
            <a:xfrm>
              <a:off x="5968" y="1194"/>
              <a:ext cx="2030" cy="1853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Freeform 1238"/>
            <p:cNvSpPr>
              <a:spLocks noEditPoints="1"/>
            </p:cNvSpPr>
            <p:nvPr/>
          </p:nvSpPr>
          <p:spPr bwMode="auto">
            <a:xfrm>
              <a:off x="5907" y="1132"/>
              <a:ext cx="2151" cy="1976"/>
            </a:xfrm>
            <a:custGeom>
              <a:avLst/>
              <a:gdLst>
                <a:gd name="T0" fmla="*/ 0 w 2151"/>
                <a:gd name="T1" fmla="*/ 1976 h 1976"/>
                <a:gd name="T2" fmla="*/ 2151 w 2151"/>
                <a:gd name="T3" fmla="*/ 1976 h 1976"/>
                <a:gd name="T4" fmla="*/ 2151 w 2151"/>
                <a:gd name="T5" fmla="*/ 0 h 1976"/>
                <a:gd name="T6" fmla="*/ 0 w 2151"/>
                <a:gd name="T7" fmla="*/ 0 h 1976"/>
                <a:gd name="T8" fmla="*/ 0 w 2151"/>
                <a:gd name="T9" fmla="*/ 1976 h 1976"/>
                <a:gd name="T10" fmla="*/ 123 w 2151"/>
                <a:gd name="T11" fmla="*/ 1854 h 1976"/>
                <a:gd name="T12" fmla="*/ 123 w 2151"/>
                <a:gd name="T13" fmla="*/ 1854 h 1976"/>
                <a:gd name="T14" fmla="*/ 123 w 2151"/>
                <a:gd name="T15" fmla="*/ 1046 h 1976"/>
                <a:gd name="T16" fmla="*/ 2030 w 2151"/>
                <a:gd name="T17" fmla="*/ 1046 h 1976"/>
                <a:gd name="T18" fmla="*/ 2030 w 2151"/>
                <a:gd name="T19" fmla="*/ 1046 h 1976"/>
                <a:gd name="T20" fmla="*/ 2030 w 2151"/>
                <a:gd name="T21" fmla="*/ 1854 h 1976"/>
                <a:gd name="T22" fmla="*/ 2030 w 2151"/>
                <a:gd name="T23" fmla="*/ 1854 h 1976"/>
                <a:gd name="T24" fmla="*/ 123 w 2151"/>
                <a:gd name="T25" fmla="*/ 1854 h 1976"/>
                <a:gd name="T26" fmla="*/ 123 w 2151"/>
                <a:gd name="T27" fmla="*/ 1854 h 1976"/>
                <a:gd name="T28" fmla="*/ 2030 w 2151"/>
                <a:gd name="T29" fmla="*/ 123 h 1976"/>
                <a:gd name="T30" fmla="*/ 2030 w 2151"/>
                <a:gd name="T31" fmla="*/ 123 h 1976"/>
                <a:gd name="T32" fmla="*/ 2030 w 2151"/>
                <a:gd name="T33" fmla="*/ 924 h 1976"/>
                <a:gd name="T34" fmla="*/ 123 w 2151"/>
                <a:gd name="T35" fmla="*/ 924 h 1976"/>
                <a:gd name="T36" fmla="*/ 123 w 2151"/>
                <a:gd name="T37" fmla="*/ 924 h 1976"/>
                <a:gd name="T38" fmla="*/ 123 w 2151"/>
                <a:gd name="T39" fmla="*/ 123 h 1976"/>
                <a:gd name="T40" fmla="*/ 123 w 2151"/>
                <a:gd name="T41" fmla="*/ 123 h 1976"/>
                <a:gd name="T42" fmla="*/ 2030 w 2151"/>
                <a:gd name="T43" fmla="*/ 123 h 1976"/>
                <a:gd name="T44" fmla="*/ 2030 w 2151"/>
                <a:gd name="T45" fmla="*/ 123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51" h="1976">
                  <a:moveTo>
                    <a:pt x="0" y="1976"/>
                  </a:moveTo>
                  <a:lnTo>
                    <a:pt x="2151" y="1976"/>
                  </a:lnTo>
                  <a:lnTo>
                    <a:pt x="2151" y="0"/>
                  </a:lnTo>
                  <a:lnTo>
                    <a:pt x="0" y="0"/>
                  </a:lnTo>
                  <a:lnTo>
                    <a:pt x="0" y="1976"/>
                  </a:lnTo>
                  <a:close/>
                  <a:moveTo>
                    <a:pt x="123" y="1854"/>
                  </a:moveTo>
                  <a:lnTo>
                    <a:pt x="123" y="1854"/>
                  </a:lnTo>
                  <a:lnTo>
                    <a:pt x="123" y="1046"/>
                  </a:lnTo>
                  <a:lnTo>
                    <a:pt x="2030" y="1046"/>
                  </a:lnTo>
                  <a:lnTo>
                    <a:pt x="2030" y="1046"/>
                  </a:lnTo>
                  <a:lnTo>
                    <a:pt x="2030" y="1854"/>
                  </a:lnTo>
                  <a:lnTo>
                    <a:pt x="2030" y="1854"/>
                  </a:lnTo>
                  <a:lnTo>
                    <a:pt x="123" y="1854"/>
                  </a:lnTo>
                  <a:lnTo>
                    <a:pt x="123" y="1854"/>
                  </a:lnTo>
                  <a:close/>
                  <a:moveTo>
                    <a:pt x="2030" y="123"/>
                  </a:moveTo>
                  <a:lnTo>
                    <a:pt x="2030" y="123"/>
                  </a:lnTo>
                  <a:lnTo>
                    <a:pt x="2030" y="924"/>
                  </a:lnTo>
                  <a:lnTo>
                    <a:pt x="123" y="924"/>
                  </a:lnTo>
                  <a:lnTo>
                    <a:pt x="123" y="924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2030" y="123"/>
                  </a:lnTo>
                  <a:lnTo>
                    <a:pt x="2030" y="123"/>
                  </a:lnTo>
                  <a:close/>
                </a:path>
              </a:pathLst>
            </a:custGeom>
            <a:solidFill>
              <a:srgbClr val="EF3E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1239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64 h 587"/>
                <a:gd name="T34" fmla="*/ 953 w 1552"/>
                <a:gd name="T35" fmla="*/ 227 h 587"/>
                <a:gd name="T36" fmla="*/ 960 w 1552"/>
                <a:gd name="T37" fmla="*/ 419 h 587"/>
                <a:gd name="T38" fmla="*/ 968 w 1552"/>
                <a:gd name="T39" fmla="*/ 519 h 587"/>
                <a:gd name="T40" fmla="*/ 1034 w 1552"/>
                <a:gd name="T41" fmla="*/ 540 h 587"/>
                <a:gd name="T42" fmla="*/ 1039 w 1552"/>
                <a:gd name="T43" fmla="*/ 458 h 587"/>
                <a:gd name="T44" fmla="*/ 1039 w 1552"/>
                <a:gd name="T45" fmla="*/ 261 h 587"/>
                <a:gd name="T46" fmla="*/ 994 w 1552"/>
                <a:gd name="T47" fmla="*/ 69 h 587"/>
                <a:gd name="T48" fmla="*/ 936 w 1552"/>
                <a:gd name="T49" fmla="*/ 39 h 587"/>
                <a:gd name="T50" fmla="*/ 830 w 1552"/>
                <a:gd name="T51" fmla="*/ 196 h 587"/>
                <a:gd name="T52" fmla="*/ 786 w 1552"/>
                <a:gd name="T53" fmla="*/ 190 h 587"/>
                <a:gd name="T54" fmla="*/ 145 w 1552"/>
                <a:gd name="T55" fmla="*/ 250 h 587"/>
                <a:gd name="T56" fmla="*/ 15 w 1552"/>
                <a:gd name="T57" fmla="*/ 327 h 587"/>
                <a:gd name="T58" fmla="*/ 2 w 1552"/>
                <a:gd name="T59" fmla="*/ 471 h 587"/>
                <a:gd name="T60" fmla="*/ 32 w 1552"/>
                <a:gd name="T61" fmla="*/ 570 h 587"/>
                <a:gd name="T62" fmla="*/ 197 w 1552"/>
                <a:gd name="T63" fmla="*/ 579 h 587"/>
                <a:gd name="T64" fmla="*/ 244 w 1552"/>
                <a:gd name="T65" fmla="*/ 530 h 587"/>
                <a:gd name="T66" fmla="*/ 128 w 1552"/>
                <a:gd name="T67" fmla="*/ 542 h 587"/>
                <a:gd name="T68" fmla="*/ 76 w 1552"/>
                <a:gd name="T69" fmla="*/ 485 h 587"/>
                <a:gd name="T70" fmla="*/ 83 w 1552"/>
                <a:gd name="T71" fmla="*/ 333 h 587"/>
                <a:gd name="T72" fmla="*/ 156 w 1552"/>
                <a:gd name="T73" fmla="*/ 291 h 587"/>
                <a:gd name="T74" fmla="*/ 211 w 1552"/>
                <a:gd name="T75" fmla="*/ 276 h 587"/>
                <a:gd name="T76" fmla="*/ 773 w 1552"/>
                <a:gd name="T77" fmla="*/ 304 h 587"/>
                <a:gd name="T78" fmla="*/ 725 w 1552"/>
                <a:gd name="T79" fmla="*/ 509 h 587"/>
                <a:gd name="T80" fmla="*/ 776 w 1552"/>
                <a:gd name="T81" fmla="*/ 579 h 587"/>
                <a:gd name="T82" fmla="*/ 809 w 1552"/>
                <a:gd name="T83" fmla="*/ 542 h 587"/>
                <a:gd name="T84" fmla="*/ 806 w 1552"/>
                <a:gd name="T85" fmla="*/ 472 h 587"/>
                <a:gd name="T86" fmla="*/ 827 w 1552"/>
                <a:gd name="T87" fmla="*/ 297 h 587"/>
                <a:gd name="T88" fmla="*/ 1480 w 1552"/>
                <a:gd name="T89" fmla="*/ 37 h 587"/>
                <a:gd name="T90" fmla="*/ 1483 w 1552"/>
                <a:gd name="T91" fmla="*/ 320 h 587"/>
                <a:gd name="T92" fmla="*/ 1416 w 1552"/>
                <a:gd name="T93" fmla="*/ 310 h 587"/>
                <a:gd name="T94" fmla="*/ 1361 w 1552"/>
                <a:gd name="T95" fmla="*/ 287 h 587"/>
                <a:gd name="T96" fmla="*/ 1216 w 1552"/>
                <a:gd name="T97" fmla="*/ 334 h 587"/>
                <a:gd name="T98" fmla="*/ 1183 w 1552"/>
                <a:gd name="T99" fmla="*/ 473 h 587"/>
                <a:gd name="T100" fmla="*/ 1227 w 1552"/>
                <a:gd name="T101" fmla="*/ 540 h 587"/>
                <a:gd name="T102" fmla="*/ 1392 w 1552"/>
                <a:gd name="T103" fmla="*/ 579 h 587"/>
                <a:gd name="T104" fmla="*/ 1455 w 1552"/>
                <a:gd name="T105" fmla="*/ 540 h 587"/>
                <a:gd name="T106" fmla="*/ 1525 w 1552"/>
                <a:gd name="T107" fmla="*/ 577 h 587"/>
                <a:gd name="T108" fmla="*/ 1536 w 1552"/>
                <a:gd name="T109" fmla="*/ 506 h 587"/>
                <a:gd name="T110" fmla="*/ 1540 w 1552"/>
                <a:gd name="T111" fmla="*/ 236 h 587"/>
                <a:gd name="T112" fmla="*/ 1510 w 1552"/>
                <a:gd name="T113" fmla="*/ 39 h 587"/>
                <a:gd name="T114" fmla="*/ 1412 w 1552"/>
                <a:gd name="T115" fmla="*/ 402 h 587"/>
                <a:gd name="T116" fmla="*/ 1382 w 1552"/>
                <a:gd name="T117" fmla="*/ 530 h 587"/>
                <a:gd name="T118" fmla="*/ 1274 w 1552"/>
                <a:gd name="T119" fmla="*/ 490 h 587"/>
                <a:gd name="T120" fmla="*/ 1268 w 1552"/>
                <a:gd name="T121" fmla="*/ 377 h 587"/>
                <a:gd name="T122" fmla="*/ 1377 w 1552"/>
                <a:gd name="T123" fmla="*/ 337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noFill/>
            <a:ln w="0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1240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1241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1242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  <a:gd name="T42" fmla="*/ 0 w 57"/>
                <a:gd name="T43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1243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79 h 587"/>
                <a:gd name="T34" fmla="*/ 954 w 1552"/>
                <a:gd name="T35" fmla="*/ 298 h 587"/>
                <a:gd name="T36" fmla="*/ 958 w 1552"/>
                <a:gd name="T37" fmla="*/ 429 h 587"/>
                <a:gd name="T38" fmla="*/ 968 w 1552"/>
                <a:gd name="T39" fmla="*/ 519 h 587"/>
                <a:gd name="T40" fmla="*/ 1039 w 1552"/>
                <a:gd name="T41" fmla="*/ 537 h 587"/>
                <a:gd name="T42" fmla="*/ 1038 w 1552"/>
                <a:gd name="T43" fmla="*/ 445 h 587"/>
                <a:gd name="T44" fmla="*/ 1037 w 1552"/>
                <a:gd name="T45" fmla="*/ 249 h 587"/>
                <a:gd name="T46" fmla="*/ 994 w 1552"/>
                <a:gd name="T47" fmla="*/ 48 h 587"/>
                <a:gd name="T48" fmla="*/ 936 w 1552"/>
                <a:gd name="T49" fmla="*/ 39 h 587"/>
                <a:gd name="T50" fmla="*/ 833 w 1552"/>
                <a:gd name="T51" fmla="*/ 192 h 587"/>
                <a:gd name="T52" fmla="*/ 782 w 1552"/>
                <a:gd name="T53" fmla="*/ 196 h 587"/>
                <a:gd name="T54" fmla="*/ 133 w 1552"/>
                <a:gd name="T55" fmla="*/ 253 h 587"/>
                <a:gd name="T56" fmla="*/ 9 w 1552"/>
                <a:gd name="T57" fmla="*/ 335 h 587"/>
                <a:gd name="T58" fmla="*/ 5 w 1552"/>
                <a:gd name="T59" fmla="*/ 482 h 587"/>
                <a:gd name="T60" fmla="*/ 42 w 1552"/>
                <a:gd name="T61" fmla="*/ 574 h 587"/>
                <a:gd name="T62" fmla="*/ 211 w 1552"/>
                <a:gd name="T63" fmla="*/ 574 h 587"/>
                <a:gd name="T64" fmla="*/ 244 w 1552"/>
                <a:gd name="T65" fmla="*/ 530 h 587"/>
                <a:gd name="T66" fmla="*/ 118 w 1552"/>
                <a:gd name="T67" fmla="*/ 539 h 587"/>
                <a:gd name="T68" fmla="*/ 76 w 1552"/>
                <a:gd name="T69" fmla="*/ 485 h 587"/>
                <a:gd name="T70" fmla="*/ 89 w 1552"/>
                <a:gd name="T71" fmla="*/ 324 h 587"/>
                <a:gd name="T72" fmla="*/ 166 w 1552"/>
                <a:gd name="T73" fmla="*/ 286 h 587"/>
                <a:gd name="T74" fmla="*/ 213 w 1552"/>
                <a:gd name="T75" fmla="*/ 274 h 587"/>
                <a:gd name="T76" fmla="*/ 768 w 1552"/>
                <a:gd name="T77" fmla="*/ 314 h 587"/>
                <a:gd name="T78" fmla="*/ 728 w 1552"/>
                <a:gd name="T79" fmla="*/ 529 h 587"/>
                <a:gd name="T80" fmla="*/ 783 w 1552"/>
                <a:gd name="T81" fmla="*/ 577 h 587"/>
                <a:gd name="T82" fmla="*/ 806 w 1552"/>
                <a:gd name="T83" fmla="*/ 533 h 587"/>
                <a:gd name="T84" fmla="*/ 815 w 1552"/>
                <a:gd name="T85" fmla="*/ 451 h 587"/>
                <a:gd name="T86" fmla="*/ 825 w 1552"/>
                <a:gd name="T87" fmla="*/ 293 h 587"/>
                <a:gd name="T88" fmla="*/ 1476 w 1552"/>
                <a:gd name="T89" fmla="*/ 42 h 587"/>
                <a:gd name="T90" fmla="*/ 1482 w 1552"/>
                <a:gd name="T91" fmla="*/ 355 h 587"/>
                <a:gd name="T92" fmla="*/ 1416 w 1552"/>
                <a:gd name="T93" fmla="*/ 305 h 587"/>
                <a:gd name="T94" fmla="*/ 1352 w 1552"/>
                <a:gd name="T95" fmla="*/ 293 h 587"/>
                <a:gd name="T96" fmla="*/ 1204 w 1552"/>
                <a:gd name="T97" fmla="*/ 341 h 587"/>
                <a:gd name="T98" fmla="*/ 1187 w 1552"/>
                <a:gd name="T99" fmla="*/ 483 h 587"/>
                <a:gd name="T100" fmla="*/ 1237 w 1552"/>
                <a:gd name="T101" fmla="*/ 540 h 587"/>
                <a:gd name="T102" fmla="*/ 1399 w 1552"/>
                <a:gd name="T103" fmla="*/ 576 h 587"/>
                <a:gd name="T104" fmla="*/ 1461 w 1552"/>
                <a:gd name="T105" fmla="*/ 542 h 587"/>
                <a:gd name="T106" fmla="*/ 1536 w 1552"/>
                <a:gd name="T107" fmla="*/ 573 h 587"/>
                <a:gd name="T108" fmla="*/ 1533 w 1552"/>
                <a:gd name="T109" fmla="*/ 496 h 587"/>
                <a:gd name="T110" fmla="*/ 1537 w 1552"/>
                <a:gd name="T111" fmla="*/ 196 h 587"/>
                <a:gd name="T112" fmla="*/ 1503 w 1552"/>
                <a:gd name="T113" fmla="*/ 37 h 587"/>
                <a:gd name="T114" fmla="*/ 1416 w 1552"/>
                <a:gd name="T115" fmla="*/ 408 h 587"/>
                <a:gd name="T116" fmla="*/ 1369 w 1552"/>
                <a:gd name="T117" fmla="*/ 535 h 587"/>
                <a:gd name="T118" fmla="*/ 1274 w 1552"/>
                <a:gd name="T119" fmla="*/ 490 h 587"/>
                <a:gd name="T120" fmla="*/ 1276 w 1552"/>
                <a:gd name="T121" fmla="*/ 365 h 587"/>
                <a:gd name="T122" fmla="*/ 1385 w 1552"/>
                <a:gd name="T123" fmla="*/ 34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1244"/>
            <p:cNvSpPr>
              <a:spLocks/>
            </p:cNvSpPr>
            <p:nvPr/>
          </p:nvSpPr>
          <p:spPr bwMode="auto">
            <a:xfrm>
              <a:off x="6526" y="2285"/>
              <a:ext cx="299" cy="549"/>
            </a:xfrm>
            <a:custGeom>
              <a:avLst/>
              <a:gdLst>
                <a:gd name="T0" fmla="*/ 97 w 299"/>
                <a:gd name="T1" fmla="*/ 84 h 549"/>
                <a:gd name="T2" fmla="*/ 114 w 299"/>
                <a:gd name="T3" fmla="*/ 197 h 549"/>
                <a:gd name="T4" fmla="*/ 125 w 299"/>
                <a:gd name="T5" fmla="*/ 241 h 549"/>
                <a:gd name="T6" fmla="*/ 118 w 299"/>
                <a:gd name="T7" fmla="*/ 280 h 549"/>
                <a:gd name="T8" fmla="*/ 122 w 299"/>
                <a:gd name="T9" fmla="*/ 304 h 549"/>
                <a:gd name="T10" fmla="*/ 196 w 299"/>
                <a:gd name="T11" fmla="*/ 301 h 549"/>
                <a:gd name="T12" fmla="*/ 243 w 299"/>
                <a:gd name="T13" fmla="*/ 310 h 549"/>
                <a:gd name="T14" fmla="*/ 272 w 299"/>
                <a:gd name="T15" fmla="*/ 325 h 549"/>
                <a:gd name="T16" fmla="*/ 292 w 299"/>
                <a:gd name="T17" fmla="*/ 355 h 549"/>
                <a:gd name="T18" fmla="*/ 297 w 299"/>
                <a:gd name="T19" fmla="*/ 421 h 549"/>
                <a:gd name="T20" fmla="*/ 296 w 299"/>
                <a:gd name="T21" fmla="*/ 489 h 549"/>
                <a:gd name="T22" fmla="*/ 286 w 299"/>
                <a:gd name="T23" fmla="*/ 519 h 549"/>
                <a:gd name="T24" fmla="*/ 276 w 299"/>
                <a:gd name="T25" fmla="*/ 535 h 549"/>
                <a:gd name="T26" fmla="*/ 258 w 299"/>
                <a:gd name="T27" fmla="*/ 546 h 549"/>
                <a:gd name="T28" fmla="*/ 236 w 299"/>
                <a:gd name="T29" fmla="*/ 547 h 549"/>
                <a:gd name="T30" fmla="*/ 223 w 299"/>
                <a:gd name="T31" fmla="*/ 540 h 549"/>
                <a:gd name="T32" fmla="*/ 218 w 299"/>
                <a:gd name="T33" fmla="*/ 523 h 549"/>
                <a:gd name="T34" fmla="*/ 225 w 299"/>
                <a:gd name="T35" fmla="*/ 493 h 549"/>
                <a:gd name="T36" fmla="*/ 232 w 299"/>
                <a:gd name="T37" fmla="*/ 446 h 549"/>
                <a:gd name="T38" fmla="*/ 229 w 299"/>
                <a:gd name="T39" fmla="*/ 398 h 549"/>
                <a:gd name="T40" fmla="*/ 216 w 299"/>
                <a:gd name="T41" fmla="*/ 372 h 549"/>
                <a:gd name="T42" fmla="*/ 198 w 299"/>
                <a:gd name="T43" fmla="*/ 352 h 549"/>
                <a:gd name="T44" fmla="*/ 159 w 299"/>
                <a:gd name="T45" fmla="*/ 340 h 549"/>
                <a:gd name="T46" fmla="*/ 118 w 299"/>
                <a:gd name="T47" fmla="*/ 341 h 549"/>
                <a:gd name="T48" fmla="*/ 108 w 299"/>
                <a:gd name="T49" fmla="*/ 355 h 549"/>
                <a:gd name="T50" fmla="*/ 97 w 299"/>
                <a:gd name="T51" fmla="*/ 388 h 549"/>
                <a:gd name="T52" fmla="*/ 94 w 299"/>
                <a:gd name="T53" fmla="*/ 445 h 549"/>
                <a:gd name="T54" fmla="*/ 94 w 299"/>
                <a:gd name="T55" fmla="*/ 492 h 549"/>
                <a:gd name="T56" fmla="*/ 90 w 299"/>
                <a:gd name="T57" fmla="*/ 519 h 549"/>
                <a:gd name="T58" fmla="*/ 77 w 299"/>
                <a:gd name="T59" fmla="*/ 542 h 549"/>
                <a:gd name="T60" fmla="*/ 61 w 299"/>
                <a:gd name="T61" fmla="*/ 549 h 549"/>
                <a:gd name="T62" fmla="*/ 38 w 299"/>
                <a:gd name="T63" fmla="*/ 544 h 549"/>
                <a:gd name="T64" fmla="*/ 23 w 299"/>
                <a:gd name="T65" fmla="*/ 532 h 549"/>
                <a:gd name="T66" fmla="*/ 19 w 299"/>
                <a:gd name="T67" fmla="*/ 503 h 549"/>
                <a:gd name="T68" fmla="*/ 26 w 299"/>
                <a:gd name="T69" fmla="*/ 436 h 549"/>
                <a:gd name="T70" fmla="*/ 21 w 299"/>
                <a:gd name="T71" fmla="*/ 395 h 549"/>
                <a:gd name="T72" fmla="*/ 7 w 299"/>
                <a:gd name="T73" fmla="*/ 370 h 549"/>
                <a:gd name="T74" fmla="*/ 0 w 299"/>
                <a:gd name="T75" fmla="*/ 358 h 549"/>
                <a:gd name="T76" fmla="*/ 16 w 299"/>
                <a:gd name="T77" fmla="*/ 344 h 549"/>
                <a:gd name="T78" fmla="*/ 37 w 299"/>
                <a:gd name="T79" fmla="*/ 331 h 549"/>
                <a:gd name="T80" fmla="*/ 43 w 299"/>
                <a:gd name="T81" fmla="*/ 320 h 549"/>
                <a:gd name="T82" fmla="*/ 51 w 299"/>
                <a:gd name="T83" fmla="*/ 305 h 549"/>
                <a:gd name="T84" fmla="*/ 67 w 299"/>
                <a:gd name="T85" fmla="*/ 276 h 549"/>
                <a:gd name="T86" fmla="*/ 71 w 299"/>
                <a:gd name="T87" fmla="*/ 241 h 549"/>
                <a:gd name="T88" fmla="*/ 65 w 299"/>
                <a:gd name="T89" fmla="*/ 224 h 549"/>
                <a:gd name="T90" fmla="*/ 57 w 299"/>
                <a:gd name="T91" fmla="*/ 190 h 549"/>
                <a:gd name="T92" fmla="*/ 57 w 299"/>
                <a:gd name="T93" fmla="*/ 146 h 549"/>
                <a:gd name="T94" fmla="*/ 50 w 299"/>
                <a:gd name="T95" fmla="*/ 121 h 549"/>
                <a:gd name="T96" fmla="*/ 37 w 299"/>
                <a:gd name="T97" fmla="*/ 74 h 549"/>
                <a:gd name="T98" fmla="*/ 33 w 299"/>
                <a:gd name="T99" fmla="*/ 32 h 549"/>
                <a:gd name="T100" fmla="*/ 41 w 299"/>
                <a:gd name="T101" fmla="*/ 11 h 549"/>
                <a:gd name="T102" fmla="*/ 54 w 299"/>
                <a:gd name="T103" fmla="*/ 0 h 549"/>
                <a:gd name="T104" fmla="*/ 77 w 299"/>
                <a:gd name="T105" fmla="*/ 15 h 549"/>
                <a:gd name="T106" fmla="*/ 87 w 299"/>
                <a:gd name="T107" fmla="*/ 44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9" h="549">
                  <a:moveTo>
                    <a:pt x="91" y="62"/>
                  </a:moveTo>
                  <a:lnTo>
                    <a:pt x="91" y="62"/>
                  </a:lnTo>
                  <a:lnTo>
                    <a:pt x="97" y="84"/>
                  </a:lnTo>
                  <a:lnTo>
                    <a:pt x="102" y="105"/>
                  </a:lnTo>
                  <a:lnTo>
                    <a:pt x="108" y="152"/>
                  </a:lnTo>
                  <a:lnTo>
                    <a:pt x="114" y="197"/>
                  </a:lnTo>
                  <a:lnTo>
                    <a:pt x="118" y="219"/>
                  </a:lnTo>
                  <a:lnTo>
                    <a:pt x="125" y="241"/>
                  </a:lnTo>
                  <a:lnTo>
                    <a:pt x="125" y="241"/>
                  </a:lnTo>
                  <a:lnTo>
                    <a:pt x="121" y="256"/>
                  </a:lnTo>
                  <a:lnTo>
                    <a:pt x="118" y="273"/>
                  </a:lnTo>
                  <a:lnTo>
                    <a:pt x="118" y="280"/>
                  </a:lnTo>
                  <a:lnTo>
                    <a:pt x="118" y="288"/>
                  </a:lnTo>
                  <a:lnTo>
                    <a:pt x="120" y="296"/>
                  </a:lnTo>
                  <a:lnTo>
                    <a:pt x="122" y="304"/>
                  </a:lnTo>
                  <a:lnTo>
                    <a:pt x="122" y="304"/>
                  </a:lnTo>
                  <a:lnTo>
                    <a:pt x="171" y="301"/>
                  </a:lnTo>
                  <a:lnTo>
                    <a:pt x="196" y="301"/>
                  </a:lnTo>
                  <a:lnTo>
                    <a:pt x="221" y="304"/>
                  </a:lnTo>
                  <a:lnTo>
                    <a:pt x="232" y="305"/>
                  </a:lnTo>
                  <a:lnTo>
                    <a:pt x="243" y="310"/>
                  </a:lnTo>
                  <a:lnTo>
                    <a:pt x="253" y="314"/>
                  </a:lnTo>
                  <a:lnTo>
                    <a:pt x="263" y="318"/>
                  </a:lnTo>
                  <a:lnTo>
                    <a:pt x="272" y="325"/>
                  </a:lnTo>
                  <a:lnTo>
                    <a:pt x="279" y="334"/>
                  </a:lnTo>
                  <a:lnTo>
                    <a:pt x="286" y="344"/>
                  </a:lnTo>
                  <a:lnTo>
                    <a:pt x="292" y="355"/>
                  </a:lnTo>
                  <a:lnTo>
                    <a:pt x="292" y="355"/>
                  </a:lnTo>
                  <a:lnTo>
                    <a:pt x="296" y="398"/>
                  </a:lnTo>
                  <a:lnTo>
                    <a:pt x="297" y="421"/>
                  </a:lnTo>
                  <a:lnTo>
                    <a:pt x="299" y="445"/>
                  </a:lnTo>
                  <a:lnTo>
                    <a:pt x="299" y="468"/>
                  </a:lnTo>
                  <a:lnTo>
                    <a:pt x="296" y="489"/>
                  </a:lnTo>
                  <a:lnTo>
                    <a:pt x="293" y="499"/>
                  </a:lnTo>
                  <a:lnTo>
                    <a:pt x="290" y="510"/>
                  </a:lnTo>
                  <a:lnTo>
                    <a:pt x="286" y="519"/>
                  </a:lnTo>
                  <a:lnTo>
                    <a:pt x="280" y="529"/>
                  </a:lnTo>
                  <a:lnTo>
                    <a:pt x="280" y="529"/>
                  </a:lnTo>
                  <a:lnTo>
                    <a:pt x="276" y="535"/>
                  </a:lnTo>
                  <a:lnTo>
                    <a:pt x="270" y="539"/>
                  </a:lnTo>
                  <a:lnTo>
                    <a:pt x="263" y="543"/>
                  </a:lnTo>
                  <a:lnTo>
                    <a:pt x="258" y="546"/>
                  </a:lnTo>
                  <a:lnTo>
                    <a:pt x="250" y="547"/>
                  </a:lnTo>
                  <a:lnTo>
                    <a:pt x="243" y="547"/>
                  </a:lnTo>
                  <a:lnTo>
                    <a:pt x="236" y="547"/>
                  </a:lnTo>
                  <a:lnTo>
                    <a:pt x="229" y="546"/>
                  </a:lnTo>
                  <a:lnTo>
                    <a:pt x="229" y="546"/>
                  </a:lnTo>
                  <a:lnTo>
                    <a:pt x="223" y="540"/>
                  </a:lnTo>
                  <a:lnTo>
                    <a:pt x="221" y="536"/>
                  </a:lnTo>
                  <a:lnTo>
                    <a:pt x="219" y="530"/>
                  </a:lnTo>
                  <a:lnTo>
                    <a:pt x="218" y="523"/>
                  </a:lnTo>
                  <a:lnTo>
                    <a:pt x="219" y="512"/>
                  </a:lnTo>
                  <a:lnTo>
                    <a:pt x="221" y="499"/>
                  </a:lnTo>
                  <a:lnTo>
                    <a:pt x="225" y="493"/>
                  </a:lnTo>
                  <a:lnTo>
                    <a:pt x="225" y="493"/>
                  </a:lnTo>
                  <a:lnTo>
                    <a:pt x="229" y="463"/>
                  </a:lnTo>
                  <a:lnTo>
                    <a:pt x="232" y="446"/>
                  </a:lnTo>
                  <a:lnTo>
                    <a:pt x="232" y="431"/>
                  </a:lnTo>
                  <a:lnTo>
                    <a:pt x="232" y="414"/>
                  </a:lnTo>
                  <a:lnTo>
                    <a:pt x="229" y="398"/>
                  </a:lnTo>
                  <a:lnTo>
                    <a:pt x="223" y="385"/>
                  </a:lnTo>
                  <a:lnTo>
                    <a:pt x="221" y="378"/>
                  </a:lnTo>
                  <a:lnTo>
                    <a:pt x="216" y="372"/>
                  </a:lnTo>
                  <a:lnTo>
                    <a:pt x="216" y="372"/>
                  </a:lnTo>
                  <a:lnTo>
                    <a:pt x="208" y="361"/>
                  </a:lnTo>
                  <a:lnTo>
                    <a:pt x="198" y="352"/>
                  </a:lnTo>
                  <a:lnTo>
                    <a:pt x="186" y="347"/>
                  </a:lnTo>
                  <a:lnTo>
                    <a:pt x="174" y="342"/>
                  </a:lnTo>
                  <a:lnTo>
                    <a:pt x="159" y="340"/>
                  </a:lnTo>
                  <a:lnTo>
                    <a:pt x="147" y="338"/>
                  </a:lnTo>
                  <a:lnTo>
                    <a:pt x="132" y="340"/>
                  </a:lnTo>
                  <a:lnTo>
                    <a:pt x="118" y="341"/>
                  </a:lnTo>
                  <a:lnTo>
                    <a:pt x="118" y="341"/>
                  </a:lnTo>
                  <a:lnTo>
                    <a:pt x="112" y="348"/>
                  </a:lnTo>
                  <a:lnTo>
                    <a:pt x="108" y="355"/>
                  </a:lnTo>
                  <a:lnTo>
                    <a:pt x="104" y="362"/>
                  </a:lnTo>
                  <a:lnTo>
                    <a:pt x="101" y="371"/>
                  </a:lnTo>
                  <a:lnTo>
                    <a:pt x="97" y="388"/>
                  </a:lnTo>
                  <a:lnTo>
                    <a:pt x="94" y="405"/>
                  </a:lnTo>
                  <a:lnTo>
                    <a:pt x="94" y="425"/>
                  </a:lnTo>
                  <a:lnTo>
                    <a:pt x="94" y="445"/>
                  </a:lnTo>
                  <a:lnTo>
                    <a:pt x="94" y="483"/>
                  </a:lnTo>
                  <a:lnTo>
                    <a:pt x="94" y="483"/>
                  </a:lnTo>
                  <a:lnTo>
                    <a:pt x="94" y="492"/>
                  </a:lnTo>
                  <a:lnTo>
                    <a:pt x="94" y="500"/>
                  </a:lnTo>
                  <a:lnTo>
                    <a:pt x="93" y="510"/>
                  </a:lnTo>
                  <a:lnTo>
                    <a:pt x="90" y="519"/>
                  </a:lnTo>
                  <a:lnTo>
                    <a:pt x="87" y="527"/>
                  </a:lnTo>
                  <a:lnTo>
                    <a:pt x="83" y="535"/>
                  </a:lnTo>
                  <a:lnTo>
                    <a:pt x="77" y="542"/>
                  </a:lnTo>
                  <a:lnTo>
                    <a:pt x="70" y="547"/>
                  </a:lnTo>
                  <a:lnTo>
                    <a:pt x="70" y="547"/>
                  </a:lnTo>
                  <a:lnTo>
                    <a:pt x="61" y="549"/>
                  </a:lnTo>
                  <a:lnTo>
                    <a:pt x="53" y="547"/>
                  </a:lnTo>
                  <a:lnTo>
                    <a:pt x="46" y="547"/>
                  </a:lnTo>
                  <a:lnTo>
                    <a:pt x="38" y="544"/>
                  </a:lnTo>
                  <a:lnTo>
                    <a:pt x="33" y="542"/>
                  </a:lnTo>
                  <a:lnTo>
                    <a:pt x="27" y="537"/>
                  </a:lnTo>
                  <a:lnTo>
                    <a:pt x="23" y="532"/>
                  </a:lnTo>
                  <a:lnTo>
                    <a:pt x="19" y="525"/>
                  </a:lnTo>
                  <a:lnTo>
                    <a:pt x="19" y="525"/>
                  </a:lnTo>
                  <a:lnTo>
                    <a:pt x="19" y="503"/>
                  </a:lnTo>
                  <a:lnTo>
                    <a:pt x="20" y="482"/>
                  </a:lnTo>
                  <a:lnTo>
                    <a:pt x="23" y="459"/>
                  </a:lnTo>
                  <a:lnTo>
                    <a:pt x="26" y="436"/>
                  </a:lnTo>
                  <a:lnTo>
                    <a:pt x="26" y="415"/>
                  </a:lnTo>
                  <a:lnTo>
                    <a:pt x="24" y="405"/>
                  </a:lnTo>
                  <a:lnTo>
                    <a:pt x="21" y="395"/>
                  </a:lnTo>
                  <a:lnTo>
                    <a:pt x="19" y="387"/>
                  </a:lnTo>
                  <a:lnTo>
                    <a:pt x="14" y="377"/>
                  </a:lnTo>
                  <a:lnTo>
                    <a:pt x="7" y="370"/>
                  </a:lnTo>
                  <a:lnTo>
                    <a:pt x="0" y="362"/>
                  </a:lnTo>
                  <a:lnTo>
                    <a:pt x="0" y="362"/>
                  </a:lnTo>
                  <a:lnTo>
                    <a:pt x="0" y="358"/>
                  </a:lnTo>
                  <a:lnTo>
                    <a:pt x="3" y="354"/>
                  </a:lnTo>
                  <a:lnTo>
                    <a:pt x="7" y="348"/>
                  </a:lnTo>
                  <a:lnTo>
                    <a:pt x="16" y="344"/>
                  </a:lnTo>
                  <a:lnTo>
                    <a:pt x="23" y="340"/>
                  </a:lnTo>
                  <a:lnTo>
                    <a:pt x="31" y="337"/>
                  </a:lnTo>
                  <a:lnTo>
                    <a:pt x="37" y="331"/>
                  </a:lnTo>
                  <a:lnTo>
                    <a:pt x="40" y="328"/>
                  </a:lnTo>
                  <a:lnTo>
                    <a:pt x="41" y="324"/>
                  </a:lnTo>
                  <a:lnTo>
                    <a:pt x="43" y="320"/>
                  </a:lnTo>
                  <a:lnTo>
                    <a:pt x="43" y="314"/>
                  </a:lnTo>
                  <a:lnTo>
                    <a:pt x="43" y="314"/>
                  </a:lnTo>
                  <a:lnTo>
                    <a:pt x="51" y="305"/>
                  </a:lnTo>
                  <a:lnTo>
                    <a:pt x="58" y="296"/>
                  </a:lnTo>
                  <a:lnTo>
                    <a:pt x="64" y="286"/>
                  </a:lnTo>
                  <a:lnTo>
                    <a:pt x="67" y="276"/>
                  </a:lnTo>
                  <a:lnTo>
                    <a:pt x="70" y="264"/>
                  </a:lnTo>
                  <a:lnTo>
                    <a:pt x="71" y="253"/>
                  </a:lnTo>
                  <a:lnTo>
                    <a:pt x="71" y="241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5" y="224"/>
                  </a:lnTo>
                  <a:lnTo>
                    <a:pt x="63" y="219"/>
                  </a:lnTo>
                  <a:lnTo>
                    <a:pt x="58" y="205"/>
                  </a:lnTo>
                  <a:lnTo>
                    <a:pt x="57" y="190"/>
                  </a:lnTo>
                  <a:lnTo>
                    <a:pt x="57" y="176"/>
                  </a:lnTo>
                  <a:lnTo>
                    <a:pt x="58" y="160"/>
                  </a:lnTo>
                  <a:lnTo>
                    <a:pt x="57" y="146"/>
                  </a:lnTo>
                  <a:lnTo>
                    <a:pt x="56" y="133"/>
                  </a:lnTo>
                  <a:lnTo>
                    <a:pt x="53" y="126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41" y="91"/>
                  </a:lnTo>
                  <a:lnTo>
                    <a:pt x="37" y="74"/>
                  </a:lnTo>
                  <a:lnTo>
                    <a:pt x="33" y="57"/>
                  </a:lnTo>
                  <a:lnTo>
                    <a:pt x="33" y="41"/>
                  </a:lnTo>
                  <a:lnTo>
                    <a:pt x="33" y="32"/>
                  </a:lnTo>
                  <a:lnTo>
                    <a:pt x="36" y="25"/>
                  </a:lnTo>
                  <a:lnTo>
                    <a:pt x="37" y="18"/>
                  </a:lnTo>
                  <a:lnTo>
                    <a:pt x="41" y="11"/>
                  </a:lnTo>
                  <a:lnTo>
                    <a:pt x="47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3"/>
                  </a:lnTo>
                  <a:lnTo>
                    <a:pt x="71" y="8"/>
                  </a:lnTo>
                  <a:lnTo>
                    <a:pt x="77" y="15"/>
                  </a:lnTo>
                  <a:lnTo>
                    <a:pt x="81" y="24"/>
                  </a:lnTo>
                  <a:lnTo>
                    <a:pt x="84" y="34"/>
                  </a:lnTo>
                  <a:lnTo>
                    <a:pt x="87" y="44"/>
                  </a:lnTo>
                  <a:lnTo>
                    <a:pt x="91" y="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1245"/>
            <p:cNvSpPr>
              <a:spLocks/>
            </p:cNvSpPr>
            <p:nvPr/>
          </p:nvSpPr>
          <p:spPr bwMode="auto">
            <a:xfrm>
              <a:off x="7126" y="2317"/>
              <a:ext cx="131" cy="511"/>
            </a:xfrm>
            <a:custGeom>
              <a:avLst/>
              <a:gdLst>
                <a:gd name="T0" fmla="*/ 15 w 131"/>
                <a:gd name="T1" fmla="*/ 7 h 511"/>
                <a:gd name="T2" fmla="*/ 3 w 131"/>
                <a:gd name="T3" fmla="*/ 17 h 511"/>
                <a:gd name="T4" fmla="*/ 0 w 131"/>
                <a:gd name="T5" fmla="*/ 32 h 511"/>
                <a:gd name="T6" fmla="*/ 2 w 131"/>
                <a:gd name="T7" fmla="*/ 63 h 511"/>
                <a:gd name="T8" fmla="*/ 10 w 131"/>
                <a:gd name="T9" fmla="*/ 77 h 511"/>
                <a:gd name="T10" fmla="*/ 22 w 131"/>
                <a:gd name="T11" fmla="*/ 110 h 511"/>
                <a:gd name="T12" fmla="*/ 27 w 131"/>
                <a:gd name="T13" fmla="*/ 143 h 511"/>
                <a:gd name="T14" fmla="*/ 32 w 131"/>
                <a:gd name="T15" fmla="*/ 195 h 511"/>
                <a:gd name="T16" fmla="*/ 36 w 131"/>
                <a:gd name="T17" fmla="*/ 301 h 511"/>
                <a:gd name="T18" fmla="*/ 39 w 131"/>
                <a:gd name="T19" fmla="*/ 335 h 511"/>
                <a:gd name="T20" fmla="*/ 46 w 131"/>
                <a:gd name="T21" fmla="*/ 352 h 511"/>
                <a:gd name="T22" fmla="*/ 43 w 131"/>
                <a:gd name="T23" fmla="*/ 369 h 511"/>
                <a:gd name="T24" fmla="*/ 39 w 131"/>
                <a:gd name="T25" fmla="*/ 387 h 511"/>
                <a:gd name="T26" fmla="*/ 39 w 131"/>
                <a:gd name="T27" fmla="*/ 407 h 511"/>
                <a:gd name="T28" fmla="*/ 43 w 131"/>
                <a:gd name="T29" fmla="*/ 416 h 511"/>
                <a:gd name="T30" fmla="*/ 46 w 131"/>
                <a:gd name="T31" fmla="*/ 436 h 511"/>
                <a:gd name="T32" fmla="*/ 46 w 131"/>
                <a:gd name="T33" fmla="*/ 467 h 511"/>
                <a:gd name="T34" fmla="*/ 47 w 131"/>
                <a:gd name="T35" fmla="*/ 487 h 511"/>
                <a:gd name="T36" fmla="*/ 53 w 131"/>
                <a:gd name="T37" fmla="*/ 494 h 511"/>
                <a:gd name="T38" fmla="*/ 66 w 131"/>
                <a:gd name="T39" fmla="*/ 505 h 511"/>
                <a:gd name="T40" fmla="*/ 83 w 131"/>
                <a:gd name="T41" fmla="*/ 511 h 511"/>
                <a:gd name="T42" fmla="*/ 103 w 131"/>
                <a:gd name="T43" fmla="*/ 511 h 511"/>
                <a:gd name="T44" fmla="*/ 113 w 131"/>
                <a:gd name="T45" fmla="*/ 508 h 511"/>
                <a:gd name="T46" fmla="*/ 124 w 131"/>
                <a:gd name="T47" fmla="*/ 501 h 511"/>
                <a:gd name="T48" fmla="*/ 130 w 131"/>
                <a:gd name="T49" fmla="*/ 491 h 511"/>
                <a:gd name="T50" fmla="*/ 131 w 131"/>
                <a:gd name="T51" fmla="*/ 480 h 511"/>
                <a:gd name="T52" fmla="*/ 126 w 131"/>
                <a:gd name="T53" fmla="*/ 453 h 511"/>
                <a:gd name="T54" fmla="*/ 118 w 131"/>
                <a:gd name="T55" fmla="*/ 426 h 511"/>
                <a:gd name="T56" fmla="*/ 117 w 131"/>
                <a:gd name="T57" fmla="*/ 413 h 511"/>
                <a:gd name="T58" fmla="*/ 116 w 131"/>
                <a:gd name="T59" fmla="*/ 384 h 511"/>
                <a:gd name="T60" fmla="*/ 121 w 131"/>
                <a:gd name="T61" fmla="*/ 299 h 511"/>
                <a:gd name="T62" fmla="*/ 123 w 131"/>
                <a:gd name="T63" fmla="*/ 256 h 511"/>
                <a:gd name="T64" fmla="*/ 118 w 131"/>
                <a:gd name="T65" fmla="*/ 229 h 511"/>
                <a:gd name="T66" fmla="*/ 110 w 131"/>
                <a:gd name="T67" fmla="*/ 204 h 511"/>
                <a:gd name="T68" fmla="*/ 104 w 131"/>
                <a:gd name="T69" fmla="*/ 191 h 511"/>
                <a:gd name="T70" fmla="*/ 97 w 131"/>
                <a:gd name="T71" fmla="*/ 145 h 511"/>
                <a:gd name="T72" fmla="*/ 80 w 131"/>
                <a:gd name="T73" fmla="*/ 81 h 511"/>
                <a:gd name="T74" fmla="*/ 73 w 131"/>
                <a:gd name="T75" fmla="*/ 37 h 511"/>
                <a:gd name="T76" fmla="*/ 73 w 131"/>
                <a:gd name="T77" fmla="*/ 16 h 511"/>
                <a:gd name="T78" fmla="*/ 62 w 131"/>
                <a:gd name="T79" fmla="*/ 3 h 511"/>
                <a:gd name="T80" fmla="*/ 47 w 131"/>
                <a:gd name="T81" fmla="*/ 0 h 511"/>
                <a:gd name="T82" fmla="*/ 30 w 131"/>
                <a:gd name="T83" fmla="*/ 2 h 511"/>
                <a:gd name="T84" fmla="*/ 15 w 131"/>
                <a:gd name="T85" fmla="*/ 7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" h="511">
                  <a:moveTo>
                    <a:pt x="15" y="7"/>
                  </a:moveTo>
                  <a:lnTo>
                    <a:pt x="15" y="7"/>
                  </a:lnTo>
                  <a:lnTo>
                    <a:pt x="9" y="12"/>
                  </a:lnTo>
                  <a:lnTo>
                    <a:pt x="3" y="17"/>
                  </a:lnTo>
                  <a:lnTo>
                    <a:pt x="2" y="23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10" y="77"/>
                  </a:lnTo>
                  <a:lnTo>
                    <a:pt x="16" y="93"/>
                  </a:lnTo>
                  <a:lnTo>
                    <a:pt x="22" y="110"/>
                  </a:lnTo>
                  <a:lnTo>
                    <a:pt x="25" y="126"/>
                  </a:lnTo>
                  <a:lnTo>
                    <a:pt x="27" y="143"/>
                  </a:lnTo>
                  <a:lnTo>
                    <a:pt x="30" y="160"/>
                  </a:lnTo>
                  <a:lnTo>
                    <a:pt x="32" y="195"/>
                  </a:lnTo>
                  <a:lnTo>
                    <a:pt x="33" y="266"/>
                  </a:lnTo>
                  <a:lnTo>
                    <a:pt x="36" y="301"/>
                  </a:lnTo>
                  <a:lnTo>
                    <a:pt x="39" y="335"/>
                  </a:lnTo>
                  <a:lnTo>
                    <a:pt x="39" y="335"/>
                  </a:lnTo>
                  <a:lnTo>
                    <a:pt x="44" y="343"/>
                  </a:lnTo>
                  <a:lnTo>
                    <a:pt x="46" y="352"/>
                  </a:lnTo>
                  <a:lnTo>
                    <a:pt x="46" y="360"/>
                  </a:lnTo>
                  <a:lnTo>
                    <a:pt x="43" y="369"/>
                  </a:lnTo>
                  <a:lnTo>
                    <a:pt x="40" y="377"/>
                  </a:lnTo>
                  <a:lnTo>
                    <a:pt x="39" y="387"/>
                  </a:lnTo>
                  <a:lnTo>
                    <a:pt x="37" y="39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43" y="416"/>
                  </a:lnTo>
                  <a:lnTo>
                    <a:pt x="44" y="426"/>
                  </a:lnTo>
                  <a:lnTo>
                    <a:pt x="46" y="436"/>
                  </a:lnTo>
                  <a:lnTo>
                    <a:pt x="46" y="446"/>
                  </a:lnTo>
                  <a:lnTo>
                    <a:pt x="46" y="467"/>
                  </a:lnTo>
                  <a:lnTo>
                    <a:pt x="46" y="477"/>
                  </a:lnTo>
                  <a:lnTo>
                    <a:pt x="47" y="487"/>
                  </a:lnTo>
                  <a:lnTo>
                    <a:pt x="47" y="487"/>
                  </a:lnTo>
                  <a:lnTo>
                    <a:pt x="53" y="494"/>
                  </a:lnTo>
                  <a:lnTo>
                    <a:pt x="59" y="501"/>
                  </a:lnTo>
                  <a:lnTo>
                    <a:pt x="66" y="505"/>
                  </a:lnTo>
                  <a:lnTo>
                    <a:pt x="74" y="510"/>
                  </a:lnTo>
                  <a:lnTo>
                    <a:pt x="83" y="511"/>
                  </a:lnTo>
                  <a:lnTo>
                    <a:pt x="93" y="511"/>
                  </a:lnTo>
                  <a:lnTo>
                    <a:pt x="103" y="511"/>
                  </a:lnTo>
                  <a:lnTo>
                    <a:pt x="113" y="508"/>
                  </a:lnTo>
                  <a:lnTo>
                    <a:pt x="113" y="508"/>
                  </a:lnTo>
                  <a:lnTo>
                    <a:pt x="118" y="505"/>
                  </a:lnTo>
                  <a:lnTo>
                    <a:pt x="124" y="501"/>
                  </a:lnTo>
                  <a:lnTo>
                    <a:pt x="127" y="497"/>
                  </a:lnTo>
                  <a:lnTo>
                    <a:pt x="130" y="491"/>
                  </a:lnTo>
                  <a:lnTo>
                    <a:pt x="131" y="485"/>
                  </a:lnTo>
                  <a:lnTo>
                    <a:pt x="131" y="480"/>
                  </a:lnTo>
                  <a:lnTo>
                    <a:pt x="130" y="467"/>
                  </a:lnTo>
                  <a:lnTo>
                    <a:pt x="126" y="453"/>
                  </a:lnTo>
                  <a:lnTo>
                    <a:pt x="123" y="439"/>
                  </a:lnTo>
                  <a:lnTo>
                    <a:pt x="118" y="426"/>
                  </a:lnTo>
                  <a:lnTo>
                    <a:pt x="117" y="413"/>
                  </a:lnTo>
                  <a:lnTo>
                    <a:pt x="117" y="413"/>
                  </a:lnTo>
                  <a:lnTo>
                    <a:pt x="116" y="399"/>
                  </a:lnTo>
                  <a:lnTo>
                    <a:pt x="116" y="384"/>
                  </a:lnTo>
                  <a:lnTo>
                    <a:pt x="117" y="356"/>
                  </a:lnTo>
                  <a:lnTo>
                    <a:pt x="121" y="299"/>
                  </a:lnTo>
                  <a:lnTo>
                    <a:pt x="123" y="271"/>
                  </a:lnTo>
                  <a:lnTo>
                    <a:pt x="123" y="256"/>
                  </a:lnTo>
                  <a:lnTo>
                    <a:pt x="121" y="244"/>
                  </a:lnTo>
                  <a:lnTo>
                    <a:pt x="118" y="229"/>
                  </a:lnTo>
                  <a:lnTo>
                    <a:pt x="116" y="217"/>
                  </a:lnTo>
                  <a:lnTo>
                    <a:pt x="110" y="204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1" y="168"/>
                  </a:lnTo>
                  <a:lnTo>
                    <a:pt x="97" y="145"/>
                  </a:lnTo>
                  <a:lnTo>
                    <a:pt x="86" y="103"/>
                  </a:lnTo>
                  <a:lnTo>
                    <a:pt x="80" y="81"/>
                  </a:lnTo>
                  <a:lnTo>
                    <a:pt x="76" y="60"/>
                  </a:lnTo>
                  <a:lnTo>
                    <a:pt x="73" y="37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67" y="9"/>
                  </a:lnTo>
                  <a:lnTo>
                    <a:pt x="62" y="3"/>
                  </a:lnTo>
                  <a:lnTo>
                    <a:pt x="54" y="2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0" y="2"/>
                  </a:lnTo>
                  <a:lnTo>
                    <a:pt x="22" y="5"/>
                  </a:lnTo>
                  <a:lnTo>
                    <a:pt x="15" y="7"/>
                  </a:lnTo>
                  <a:lnTo>
                    <a:pt x="15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1246"/>
            <p:cNvSpPr>
              <a:spLocks/>
            </p:cNvSpPr>
            <p:nvPr/>
          </p:nvSpPr>
          <p:spPr bwMode="auto">
            <a:xfrm>
              <a:off x="6983" y="2462"/>
              <a:ext cx="57" cy="35"/>
            </a:xfrm>
            <a:custGeom>
              <a:avLst/>
              <a:gdLst>
                <a:gd name="T0" fmla="*/ 0 w 57"/>
                <a:gd name="T1" fmla="*/ 28 h 35"/>
                <a:gd name="T2" fmla="*/ 0 w 57"/>
                <a:gd name="T3" fmla="*/ 28 h 35"/>
                <a:gd name="T4" fmla="*/ 10 w 57"/>
                <a:gd name="T5" fmla="*/ 30 h 35"/>
                <a:gd name="T6" fmla="*/ 18 w 57"/>
                <a:gd name="T7" fmla="*/ 33 h 35"/>
                <a:gd name="T8" fmla="*/ 28 w 57"/>
                <a:gd name="T9" fmla="*/ 35 h 35"/>
                <a:gd name="T10" fmla="*/ 38 w 57"/>
                <a:gd name="T11" fmla="*/ 32 h 35"/>
                <a:gd name="T12" fmla="*/ 38 w 57"/>
                <a:gd name="T13" fmla="*/ 32 h 35"/>
                <a:gd name="T14" fmla="*/ 45 w 57"/>
                <a:gd name="T15" fmla="*/ 28 h 35"/>
                <a:gd name="T16" fmla="*/ 52 w 57"/>
                <a:gd name="T17" fmla="*/ 19 h 35"/>
                <a:gd name="T18" fmla="*/ 55 w 57"/>
                <a:gd name="T19" fmla="*/ 15 h 35"/>
                <a:gd name="T20" fmla="*/ 57 w 57"/>
                <a:gd name="T21" fmla="*/ 10 h 35"/>
                <a:gd name="T22" fmla="*/ 55 w 57"/>
                <a:gd name="T23" fmla="*/ 5 h 35"/>
                <a:gd name="T24" fmla="*/ 54 w 57"/>
                <a:gd name="T25" fmla="*/ 0 h 35"/>
                <a:gd name="T26" fmla="*/ 54 w 57"/>
                <a:gd name="T27" fmla="*/ 0 h 35"/>
                <a:gd name="T28" fmla="*/ 37 w 57"/>
                <a:gd name="T29" fmla="*/ 2 h 35"/>
                <a:gd name="T30" fmla="*/ 30 w 57"/>
                <a:gd name="T31" fmla="*/ 3 h 35"/>
                <a:gd name="T32" fmla="*/ 21 w 57"/>
                <a:gd name="T33" fmla="*/ 6 h 35"/>
                <a:gd name="T34" fmla="*/ 14 w 57"/>
                <a:gd name="T35" fmla="*/ 9 h 35"/>
                <a:gd name="T36" fmla="*/ 8 w 57"/>
                <a:gd name="T37" fmla="*/ 13 h 35"/>
                <a:gd name="T38" fmla="*/ 4 w 57"/>
                <a:gd name="T39" fmla="*/ 19 h 35"/>
                <a:gd name="T40" fmla="*/ 0 w 57"/>
                <a:gd name="T41" fmla="*/ 28 h 35"/>
                <a:gd name="T42" fmla="*/ 0 w 57"/>
                <a:gd name="T43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5">
                  <a:moveTo>
                    <a:pt x="0" y="28"/>
                  </a:moveTo>
                  <a:lnTo>
                    <a:pt x="0" y="28"/>
                  </a:lnTo>
                  <a:lnTo>
                    <a:pt x="10" y="30"/>
                  </a:lnTo>
                  <a:lnTo>
                    <a:pt x="18" y="33"/>
                  </a:lnTo>
                  <a:lnTo>
                    <a:pt x="28" y="35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5" y="28"/>
                  </a:lnTo>
                  <a:lnTo>
                    <a:pt x="52" y="19"/>
                  </a:lnTo>
                  <a:lnTo>
                    <a:pt x="55" y="15"/>
                  </a:lnTo>
                  <a:lnTo>
                    <a:pt x="57" y="10"/>
                  </a:lnTo>
                  <a:lnTo>
                    <a:pt x="55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8" y="13"/>
                  </a:lnTo>
                  <a:lnTo>
                    <a:pt x="4" y="19"/>
                  </a:lnTo>
                  <a:lnTo>
                    <a:pt x="0" y="28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1247"/>
            <p:cNvSpPr>
              <a:spLocks/>
            </p:cNvSpPr>
            <p:nvPr/>
          </p:nvSpPr>
          <p:spPr bwMode="auto">
            <a:xfrm>
              <a:off x="6205" y="2532"/>
              <a:ext cx="251" cy="340"/>
            </a:xfrm>
            <a:custGeom>
              <a:avLst/>
              <a:gdLst>
                <a:gd name="T0" fmla="*/ 207 w 251"/>
                <a:gd name="T1" fmla="*/ 6 h 340"/>
                <a:gd name="T2" fmla="*/ 180 w 251"/>
                <a:gd name="T3" fmla="*/ 2 h 340"/>
                <a:gd name="T4" fmla="*/ 156 w 251"/>
                <a:gd name="T5" fmla="*/ 2 h 340"/>
                <a:gd name="T6" fmla="*/ 133 w 251"/>
                <a:gd name="T7" fmla="*/ 6 h 340"/>
                <a:gd name="T8" fmla="*/ 110 w 251"/>
                <a:gd name="T9" fmla="*/ 16 h 340"/>
                <a:gd name="T10" fmla="*/ 69 w 251"/>
                <a:gd name="T11" fmla="*/ 39 h 340"/>
                <a:gd name="T12" fmla="*/ 28 w 251"/>
                <a:gd name="T13" fmla="*/ 64 h 340"/>
                <a:gd name="T14" fmla="*/ 21 w 251"/>
                <a:gd name="T15" fmla="*/ 73 h 340"/>
                <a:gd name="T16" fmla="*/ 9 w 251"/>
                <a:gd name="T17" fmla="*/ 88 h 340"/>
                <a:gd name="T18" fmla="*/ 4 w 251"/>
                <a:gd name="T19" fmla="*/ 107 h 340"/>
                <a:gd name="T20" fmla="*/ 0 w 251"/>
                <a:gd name="T21" fmla="*/ 137 h 340"/>
                <a:gd name="T22" fmla="*/ 1 w 251"/>
                <a:gd name="T23" fmla="*/ 181 h 340"/>
                <a:gd name="T24" fmla="*/ 2 w 251"/>
                <a:gd name="T25" fmla="*/ 224 h 340"/>
                <a:gd name="T26" fmla="*/ 5 w 251"/>
                <a:gd name="T27" fmla="*/ 235 h 340"/>
                <a:gd name="T28" fmla="*/ 7 w 251"/>
                <a:gd name="T29" fmla="*/ 273 h 340"/>
                <a:gd name="T30" fmla="*/ 11 w 251"/>
                <a:gd name="T31" fmla="*/ 296 h 340"/>
                <a:gd name="T32" fmla="*/ 19 w 251"/>
                <a:gd name="T33" fmla="*/ 312 h 340"/>
                <a:gd name="T34" fmla="*/ 24 w 251"/>
                <a:gd name="T35" fmla="*/ 317 h 340"/>
                <a:gd name="T36" fmla="*/ 42 w 251"/>
                <a:gd name="T37" fmla="*/ 327 h 340"/>
                <a:gd name="T38" fmla="*/ 62 w 251"/>
                <a:gd name="T39" fmla="*/ 334 h 340"/>
                <a:gd name="T40" fmla="*/ 106 w 251"/>
                <a:gd name="T41" fmla="*/ 340 h 340"/>
                <a:gd name="T42" fmla="*/ 153 w 251"/>
                <a:gd name="T43" fmla="*/ 339 h 340"/>
                <a:gd name="T44" fmla="*/ 197 w 251"/>
                <a:gd name="T45" fmla="*/ 332 h 340"/>
                <a:gd name="T46" fmla="*/ 211 w 251"/>
                <a:gd name="T47" fmla="*/ 327 h 340"/>
                <a:gd name="T48" fmla="*/ 237 w 251"/>
                <a:gd name="T49" fmla="*/ 313 h 340"/>
                <a:gd name="T50" fmla="*/ 248 w 251"/>
                <a:gd name="T51" fmla="*/ 305 h 340"/>
                <a:gd name="T52" fmla="*/ 251 w 251"/>
                <a:gd name="T53" fmla="*/ 293 h 340"/>
                <a:gd name="T54" fmla="*/ 247 w 251"/>
                <a:gd name="T55" fmla="*/ 285 h 340"/>
                <a:gd name="T56" fmla="*/ 244 w 251"/>
                <a:gd name="T57" fmla="*/ 283 h 340"/>
                <a:gd name="T58" fmla="*/ 207 w 251"/>
                <a:gd name="T59" fmla="*/ 285 h 340"/>
                <a:gd name="T60" fmla="*/ 173 w 251"/>
                <a:gd name="T61" fmla="*/ 293 h 340"/>
                <a:gd name="T62" fmla="*/ 162 w 251"/>
                <a:gd name="T63" fmla="*/ 296 h 340"/>
                <a:gd name="T64" fmla="*/ 139 w 251"/>
                <a:gd name="T65" fmla="*/ 296 h 340"/>
                <a:gd name="T66" fmla="*/ 118 w 251"/>
                <a:gd name="T67" fmla="*/ 292 h 340"/>
                <a:gd name="T68" fmla="*/ 98 w 251"/>
                <a:gd name="T69" fmla="*/ 283 h 340"/>
                <a:gd name="T70" fmla="*/ 88 w 251"/>
                <a:gd name="T71" fmla="*/ 278 h 340"/>
                <a:gd name="T72" fmla="*/ 78 w 251"/>
                <a:gd name="T73" fmla="*/ 259 h 340"/>
                <a:gd name="T74" fmla="*/ 75 w 251"/>
                <a:gd name="T75" fmla="*/ 243 h 340"/>
                <a:gd name="T76" fmla="*/ 76 w 251"/>
                <a:gd name="T77" fmla="*/ 238 h 340"/>
                <a:gd name="T78" fmla="*/ 75 w 251"/>
                <a:gd name="T79" fmla="*/ 194 h 340"/>
                <a:gd name="T80" fmla="*/ 72 w 251"/>
                <a:gd name="T81" fmla="*/ 148 h 340"/>
                <a:gd name="T82" fmla="*/ 74 w 251"/>
                <a:gd name="T83" fmla="*/ 115 h 340"/>
                <a:gd name="T84" fmla="*/ 79 w 251"/>
                <a:gd name="T85" fmla="*/ 95 h 340"/>
                <a:gd name="T86" fmla="*/ 89 w 251"/>
                <a:gd name="T87" fmla="*/ 77 h 340"/>
                <a:gd name="T88" fmla="*/ 96 w 251"/>
                <a:gd name="T89" fmla="*/ 68 h 340"/>
                <a:gd name="T90" fmla="*/ 103 w 251"/>
                <a:gd name="T91" fmla="*/ 60 h 340"/>
                <a:gd name="T92" fmla="*/ 123 w 251"/>
                <a:gd name="T93" fmla="*/ 51 h 340"/>
                <a:gd name="T94" fmla="*/ 145 w 251"/>
                <a:gd name="T95" fmla="*/ 47 h 340"/>
                <a:gd name="T96" fmla="*/ 166 w 251"/>
                <a:gd name="T97" fmla="*/ 39 h 340"/>
                <a:gd name="T98" fmla="*/ 173 w 251"/>
                <a:gd name="T99" fmla="*/ 31 h 340"/>
                <a:gd name="T100" fmla="*/ 179 w 251"/>
                <a:gd name="T101" fmla="*/ 29 h 340"/>
                <a:gd name="T102" fmla="*/ 199 w 251"/>
                <a:gd name="T103" fmla="*/ 31 h 340"/>
                <a:gd name="T104" fmla="*/ 209 w 251"/>
                <a:gd name="T105" fmla="*/ 30 h 340"/>
                <a:gd name="T106" fmla="*/ 213 w 251"/>
                <a:gd name="T107" fmla="*/ 27 h 340"/>
                <a:gd name="T108" fmla="*/ 207 w 251"/>
                <a:gd name="T109" fmla="*/ 6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1" h="340">
                  <a:moveTo>
                    <a:pt x="207" y="6"/>
                  </a:moveTo>
                  <a:lnTo>
                    <a:pt x="207" y="6"/>
                  </a:lnTo>
                  <a:lnTo>
                    <a:pt x="193" y="3"/>
                  </a:lnTo>
                  <a:lnTo>
                    <a:pt x="180" y="2"/>
                  </a:lnTo>
                  <a:lnTo>
                    <a:pt x="167" y="0"/>
                  </a:lnTo>
                  <a:lnTo>
                    <a:pt x="156" y="2"/>
                  </a:lnTo>
                  <a:lnTo>
                    <a:pt x="145" y="3"/>
                  </a:lnTo>
                  <a:lnTo>
                    <a:pt x="133" y="6"/>
                  </a:lnTo>
                  <a:lnTo>
                    <a:pt x="122" y="10"/>
                  </a:lnTo>
                  <a:lnTo>
                    <a:pt x="110" y="16"/>
                  </a:lnTo>
                  <a:lnTo>
                    <a:pt x="89" y="26"/>
                  </a:lnTo>
                  <a:lnTo>
                    <a:pt x="69" y="39"/>
                  </a:lnTo>
                  <a:lnTo>
                    <a:pt x="49" y="5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1" y="73"/>
                  </a:lnTo>
                  <a:lnTo>
                    <a:pt x="15" y="80"/>
                  </a:lnTo>
                  <a:lnTo>
                    <a:pt x="9" y="88"/>
                  </a:lnTo>
                  <a:lnTo>
                    <a:pt x="7" y="98"/>
                  </a:lnTo>
                  <a:lnTo>
                    <a:pt x="4" y="107"/>
                  </a:lnTo>
                  <a:lnTo>
                    <a:pt x="1" y="117"/>
                  </a:lnTo>
                  <a:lnTo>
                    <a:pt x="0" y="137"/>
                  </a:lnTo>
                  <a:lnTo>
                    <a:pt x="1" y="158"/>
                  </a:lnTo>
                  <a:lnTo>
                    <a:pt x="1" y="181"/>
                  </a:lnTo>
                  <a:lnTo>
                    <a:pt x="2" y="202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5" y="235"/>
                  </a:lnTo>
                  <a:lnTo>
                    <a:pt x="7" y="248"/>
                  </a:lnTo>
                  <a:lnTo>
                    <a:pt x="7" y="273"/>
                  </a:lnTo>
                  <a:lnTo>
                    <a:pt x="8" y="285"/>
                  </a:lnTo>
                  <a:lnTo>
                    <a:pt x="11" y="296"/>
                  </a:lnTo>
                  <a:lnTo>
                    <a:pt x="15" y="307"/>
                  </a:lnTo>
                  <a:lnTo>
                    <a:pt x="19" y="312"/>
                  </a:lnTo>
                  <a:lnTo>
                    <a:pt x="24" y="317"/>
                  </a:lnTo>
                  <a:lnTo>
                    <a:pt x="24" y="317"/>
                  </a:lnTo>
                  <a:lnTo>
                    <a:pt x="32" y="323"/>
                  </a:lnTo>
                  <a:lnTo>
                    <a:pt x="42" y="327"/>
                  </a:lnTo>
                  <a:lnTo>
                    <a:pt x="51" y="332"/>
                  </a:lnTo>
                  <a:lnTo>
                    <a:pt x="62" y="334"/>
                  </a:lnTo>
                  <a:lnTo>
                    <a:pt x="83" y="339"/>
                  </a:lnTo>
                  <a:lnTo>
                    <a:pt x="106" y="340"/>
                  </a:lnTo>
                  <a:lnTo>
                    <a:pt x="130" y="340"/>
                  </a:lnTo>
                  <a:lnTo>
                    <a:pt x="153" y="339"/>
                  </a:lnTo>
                  <a:lnTo>
                    <a:pt x="176" y="336"/>
                  </a:lnTo>
                  <a:lnTo>
                    <a:pt x="197" y="332"/>
                  </a:lnTo>
                  <a:lnTo>
                    <a:pt x="197" y="332"/>
                  </a:lnTo>
                  <a:lnTo>
                    <a:pt x="211" y="327"/>
                  </a:lnTo>
                  <a:lnTo>
                    <a:pt x="224" y="320"/>
                  </a:lnTo>
                  <a:lnTo>
                    <a:pt x="237" y="313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51" y="299"/>
                  </a:lnTo>
                  <a:lnTo>
                    <a:pt x="251" y="293"/>
                  </a:lnTo>
                  <a:lnTo>
                    <a:pt x="250" y="288"/>
                  </a:lnTo>
                  <a:lnTo>
                    <a:pt x="247" y="285"/>
                  </a:lnTo>
                  <a:lnTo>
                    <a:pt x="244" y="283"/>
                  </a:lnTo>
                  <a:lnTo>
                    <a:pt x="244" y="283"/>
                  </a:lnTo>
                  <a:lnTo>
                    <a:pt x="226" y="283"/>
                  </a:lnTo>
                  <a:lnTo>
                    <a:pt x="207" y="285"/>
                  </a:lnTo>
                  <a:lnTo>
                    <a:pt x="190" y="288"/>
                  </a:lnTo>
                  <a:lnTo>
                    <a:pt x="173" y="293"/>
                  </a:lnTo>
                  <a:lnTo>
                    <a:pt x="173" y="293"/>
                  </a:lnTo>
                  <a:lnTo>
                    <a:pt x="162" y="296"/>
                  </a:lnTo>
                  <a:lnTo>
                    <a:pt x="150" y="296"/>
                  </a:lnTo>
                  <a:lnTo>
                    <a:pt x="139" y="296"/>
                  </a:lnTo>
                  <a:lnTo>
                    <a:pt x="128" y="295"/>
                  </a:lnTo>
                  <a:lnTo>
                    <a:pt x="118" y="292"/>
                  </a:lnTo>
                  <a:lnTo>
                    <a:pt x="108" y="288"/>
                  </a:lnTo>
                  <a:lnTo>
                    <a:pt x="98" y="283"/>
                  </a:lnTo>
                  <a:lnTo>
                    <a:pt x="88" y="278"/>
                  </a:lnTo>
                  <a:lnTo>
                    <a:pt x="88" y="278"/>
                  </a:lnTo>
                  <a:lnTo>
                    <a:pt x="82" y="269"/>
                  </a:lnTo>
                  <a:lnTo>
                    <a:pt x="78" y="259"/>
                  </a:lnTo>
                  <a:lnTo>
                    <a:pt x="75" y="249"/>
                  </a:lnTo>
                  <a:lnTo>
                    <a:pt x="75" y="243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6" y="216"/>
                  </a:lnTo>
                  <a:lnTo>
                    <a:pt x="75" y="194"/>
                  </a:lnTo>
                  <a:lnTo>
                    <a:pt x="74" y="171"/>
                  </a:lnTo>
                  <a:lnTo>
                    <a:pt x="72" y="148"/>
                  </a:lnTo>
                  <a:lnTo>
                    <a:pt x="74" y="125"/>
                  </a:lnTo>
                  <a:lnTo>
                    <a:pt x="74" y="115"/>
                  </a:lnTo>
                  <a:lnTo>
                    <a:pt x="76" y="105"/>
                  </a:lnTo>
                  <a:lnTo>
                    <a:pt x="79" y="95"/>
                  </a:lnTo>
                  <a:lnTo>
                    <a:pt x="83" y="86"/>
                  </a:lnTo>
                  <a:lnTo>
                    <a:pt x="89" y="77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101" y="64"/>
                  </a:lnTo>
                  <a:lnTo>
                    <a:pt x="103" y="60"/>
                  </a:lnTo>
                  <a:lnTo>
                    <a:pt x="113" y="54"/>
                  </a:lnTo>
                  <a:lnTo>
                    <a:pt x="123" y="51"/>
                  </a:lnTo>
                  <a:lnTo>
                    <a:pt x="135" y="49"/>
                  </a:lnTo>
                  <a:lnTo>
                    <a:pt x="145" y="47"/>
                  </a:lnTo>
                  <a:lnTo>
                    <a:pt x="156" y="44"/>
                  </a:lnTo>
                  <a:lnTo>
                    <a:pt x="166" y="39"/>
                  </a:lnTo>
                  <a:lnTo>
                    <a:pt x="170" y="36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9" y="29"/>
                  </a:lnTo>
                  <a:lnTo>
                    <a:pt x="186" y="29"/>
                  </a:lnTo>
                  <a:lnTo>
                    <a:pt x="199" y="31"/>
                  </a:lnTo>
                  <a:lnTo>
                    <a:pt x="204" y="31"/>
                  </a:lnTo>
                  <a:lnTo>
                    <a:pt x="209" y="30"/>
                  </a:lnTo>
                  <a:lnTo>
                    <a:pt x="211" y="29"/>
                  </a:lnTo>
                  <a:lnTo>
                    <a:pt x="213" y="27"/>
                  </a:lnTo>
                  <a:lnTo>
                    <a:pt x="213" y="19"/>
                  </a:lnTo>
                  <a:lnTo>
                    <a:pt x="207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1248"/>
            <p:cNvSpPr>
              <a:spLocks/>
            </p:cNvSpPr>
            <p:nvPr/>
          </p:nvSpPr>
          <p:spPr bwMode="auto">
            <a:xfrm>
              <a:off x="6930" y="2569"/>
              <a:ext cx="110" cy="295"/>
            </a:xfrm>
            <a:custGeom>
              <a:avLst/>
              <a:gdLst>
                <a:gd name="T0" fmla="*/ 73 w 110"/>
                <a:gd name="T1" fmla="*/ 0 h 295"/>
                <a:gd name="T2" fmla="*/ 73 w 110"/>
                <a:gd name="T3" fmla="*/ 0 h 295"/>
                <a:gd name="T4" fmla="*/ 67 w 110"/>
                <a:gd name="T5" fmla="*/ 2 h 295"/>
                <a:gd name="T6" fmla="*/ 61 w 110"/>
                <a:gd name="T7" fmla="*/ 4 h 295"/>
                <a:gd name="T8" fmla="*/ 57 w 110"/>
                <a:gd name="T9" fmla="*/ 7 h 295"/>
                <a:gd name="T10" fmla="*/ 54 w 110"/>
                <a:gd name="T11" fmla="*/ 12 h 295"/>
                <a:gd name="T12" fmla="*/ 48 w 110"/>
                <a:gd name="T13" fmla="*/ 20 h 295"/>
                <a:gd name="T14" fmla="*/ 43 w 110"/>
                <a:gd name="T15" fmla="*/ 30 h 295"/>
                <a:gd name="T16" fmla="*/ 43 w 110"/>
                <a:gd name="T17" fmla="*/ 30 h 295"/>
                <a:gd name="T18" fmla="*/ 44 w 110"/>
                <a:gd name="T19" fmla="*/ 57 h 295"/>
                <a:gd name="T20" fmla="*/ 41 w 110"/>
                <a:gd name="T21" fmla="*/ 83 h 295"/>
                <a:gd name="T22" fmla="*/ 37 w 110"/>
                <a:gd name="T23" fmla="*/ 108 h 295"/>
                <a:gd name="T24" fmla="*/ 33 w 110"/>
                <a:gd name="T25" fmla="*/ 132 h 295"/>
                <a:gd name="T26" fmla="*/ 26 w 110"/>
                <a:gd name="T27" fmla="*/ 157 h 295"/>
                <a:gd name="T28" fmla="*/ 17 w 110"/>
                <a:gd name="T29" fmla="*/ 181 h 295"/>
                <a:gd name="T30" fmla="*/ 0 w 110"/>
                <a:gd name="T31" fmla="*/ 225 h 295"/>
                <a:gd name="T32" fmla="*/ 0 w 110"/>
                <a:gd name="T33" fmla="*/ 225 h 295"/>
                <a:gd name="T34" fmla="*/ 3 w 110"/>
                <a:gd name="T35" fmla="*/ 245 h 295"/>
                <a:gd name="T36" fmla="*/ 7 w 110"/>
                <a:gd name="T37" fmla="*/ 265 h 295"/>
                <a:gd name="T38" fmla="*/ 11 w 110"/>
                <a:gd name="T39" fmla="*/ 273 h 295"/>
                <a:gd name="T40" fmla="*/ 16 w 110"/>
                <a:gd name="T41" fmla="*/ 280 h 295"/>
                <a:gd name="T42" fmla="*/ 21 w 110"/>
                <a:gd name="T43" fmla="*/ 288 h 295"/>
                <a:gd name="T44" fmla="*/ 28 w 110"/>
                <a:gd name="T45" fmla="*/ 292 h 295"/>
                <a:gd name="T46" fmla="*/ 28 w 110"/>
                <a:gd name="T47" fmla="*/ 292 h 295"/>
                <a:gd name="T48" fmla="*/ 36 w 110"/>
                <a:gd name="T49" fmla="*/ 295 h 295"/>
                <a:gd name="T50" fmla="*/ 44 w 110"/>
                <a:gd name="T51" fmla="*/ 295 h 295"/>
                <a:gd name="T52" fmla="*/ 51 w 110"/>
                <a:gd name="T53" fmla="*/ 295 h 295"/>
                <a:gd name="T54" fmla="*/ 58 w 110"/>
                <a:gd name="T55" fmla="*/ 293 h 295"/>
                <a:gd name="T56" fmla="*/ 65 w 110"/>
                <a:gd name="T57" fmla="*/ 290 h 295"/>
                <a:gd name="T58" fmla="*/ 71 w 110"/>
                <a:gd name="T59" fmla="*/ 286 h 295"/>
                <a:gd name="T60" fmla="*/ 77 w 110"/>
                <a:gd name="T61" fmla="*/ 282 h 295"/>
                <a:gd name="T62" fmla="*/ 81 w 110"/>
                <a:gd name="T63" fmla="*/ 276 h 295"/>
                <a:gd name="T64" fmla="*/ 81 w 110"/>
                <a:gd name="T65" fmla="*/ 276 h 295"/>
                <a:gd name="T66" fmla="*/ 83 w 110"/>
                <a:gd name="T67" fmla="*/ 270 h 295"/>
                <a:gd name="T68" fmla="*/ 84 w 110"/>
                <a:gd name="T69" fmla="*/ 266 h 295"/>
                <a:gd name="T70" fmla="*/ 84 w 110"/>
                <a:gd name="T71" fmla="*/ 262 h 295"/>
                <a:gd name="T72" fmla="*/ 84 w 110"/>
                <a:gd name="T73" fmla="*/ 258 h 295"/>
                <a:gd name="T74" fmla="*/ 81 w 110"/>
                <a:gd name="T75" fmla="*/ 249 h 295"/>
                <a:gd name="T76" fmla="*/ 77 w 110"/>
                <a:gd name="T77" fmla="*/ 242 h 295"/>
                <a:gd name="T78" fmla="*/ 71 w 110"/>
                <a:gd name="T79" fmla="*/ 235 h 295"/>
                <a:gd name="T80" fmla="*/ 68 w 110"/>
                <a:gd name="T81" fmla="*/ 226 h 295"/>
                <a:gd name="T82" fmla="*/ 67 w 110"/>
                <a:gd name="T83" fmla="*/ 222 h 295"/>
                <a:gd name="T84" fmla="*/ 67 w 110"/>
                <a:gd name="T85" fmla="*/ 218 h 295"/>
                <a:gd name="T86" fmla="*/ 68 w 110"/>
                <a:gd name="T87" fmla="*/ 214 h 295"/>
                <a:gd name="T88" fmla="*/ 70 w 110"/>
                <a:gd name="T89" fmla="*/ 209 h 295"/>
                <a:gd name="T90" fmla="*/ 70 w 110"/>
                <a:gd name="T91" fmla="*/ 209 h 295"/>
                <a:gd name="T92" fmla="*/ 81 w 110"/>
                <a:gd name="T93" fmla="*/ 188 h 295"/>
                <a:gd name="T94" fmla="*/ 90 w 110"/>
                <a:gd name="T95" fmla="*/ 167 h 295"/>
                <a:gd name="T96" fmla="*/ 98 w 110"/>
                <a:gd name="T97" fmla="*/ 145 h 295"/>
                <a:gd name="T98" fmla="*/ 102 w 110"/>
                <a:gd name="T99" fmla="*/ 122 h 295"/>
                <a:gd name="T100" fmla="*/ 107 w 110"/>
                <a:gd name="T101" fmla="*/ 98 h 295"/>
                <a:gd name="T102" fmla="*/ 110 w 110"/>
                <a:gd name="T103" fmla="*/ 74 h 295"/>
                <a:gd name="T104" fmla="*/ 110 w 110"/>
                <a:gd name="T105" fmla="*/ 50 h 295"/>
                <a:gd name="T106" fmla="*/ 108 w 110"/>
                <a:gd name="T107" fmla="*/ 24 h 295"/>
                <a:gd name="T108" fmla="*/ 108 w 110"/>
                <a:gd name="T109" fmla="*/ 24 h 295"/>
                <a:gd name="T110" fmla="*/ 105 w 110"/>
                <a:gd name="T111" fmla="*/ 17 h 295"/>
                <a:gd name="T112" fmla="*/ 102 w 110"/>
                <a:gd name="T113" fmla="*/ 13 h 295"/>
                <a:gd name="T114" fmla="*/ 100 w 110"/>
                <a:gd name="T115" fmla="*/ 9 h 295"/>
                <a:gd name="T116" fmla="*/ 95 w 110"/>
                <a:gd name="T117" fmla="*/ 6 h 295"/>
                <a:gd name="T118" fmla="*/ 90 w 110"/>
                <a:gd name="T119" fmla="*/ 3 h 295"/>
                <a:gd name="T120" fmla="*/ 84 w 110"/>
                <a:gd name="T121" fmla="*/ 2 h 295"/>
                <a:gd name="T122" fmla="*/ 73 w 110"/>
                <a:gd name="T123" fmla="*/ 0 h 295"/>
                <a:gd name="T124" fmla="*/ 73 w 110"/>
                <a:gd name="T125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0" h="295">
                  <a:moveTo>
                    <a:pt x="73" y="0"/>
                  </a:moveTo>
                  <a:lnTo>
                    <a:pt x="73" y="0"/>
                  </a:lnTo>
                  <a:lnTo>
                    <a:pt x="67" y="2"/>
                  </a:lnTo>
                  <a:lnTo>
                    <a:pt x="61" y="4"/>
                  </a:lnTo>
                  <a:lnTo>
                    <a:pt x="57" y="7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4" y="57"/>
                  </a:lnTo>
                  <a:lnTo>
                    <a:pt x="41" y="83"/>
                  </a:lnTo>
                  <a:lnTo>
                    <a:pt x="37" y="108"/>
                  </a:lnTo>
                  <a:lnTo>
                    <a:pt x="33" y="132"/>
                  </a:lnTo>
                  <a:lnTo>
                    <a:pt x="26" y="157"/>
                  </a:lnTo>
                  <a:lnTo>
                    <a:pt x="17" y="181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3" y="245"/>
                  </a:lnTo>
                  <a:lnTo>
                    <a:pt x="7" y="265"/>
                  </a:lnTo>
                  <a:lnTo>
                    <a:pt x="11" y="273"/>
                  </a:lnTo>
                  <a:lnTo>
                    <a:pt x="16" y="280"/>
                  </a:lnTo>
                  <a:lnTo>
                    <a:pt x="21" y="288"/>
                  </a:lnTo>
                  <a:lnTo>
                    <a:pt x="28" y="292"/>
                  </a:lnTo>
                  <a:lnTo>
                    <a:pt x="28" y="292"/>
                  </a:lnTo>
                  <a:lnTo>
                    <a:pt x="36" y="295"/>
                  </a:lnTo>
                  <a:lnTo>
                    <a:pt x="44" y="295"/>
                  </a:lnTo>
                  <a:lnTo>
                    <a:pt x="51" y="295"/>
                  </a:lnTo>
                  <a:lnTo>
                    <a:pt x="58" y="293"/>
                  </a:lnTo>
                  <a:lnTo>
                    <a:pt x="65" y="290"/>
                  </a:lnTo>
                  <a:lnTo>
                    <a:pt x="71" y="286"/>
                  </a:lnTo>
                  <a:lnTo>
                    <a:pt x="77" y="282"/>
                  </a:lnTo>
                  <a:lnTo>
                    <a:pt x="81" y="276"/>
                  </a:lnTo>
                  <a:lnTo>
                    <a:pt x="81" y="276"/>
                  </a:lnTo>
                  <a:lnTo>
                    <a:pt x="83" y="270"/>
                  </a:lnTo>
                  <a:lnTo>
                    <a:pt x="84" y="266"/>
                  </a:lnTo>
                  <a:lnTo>
                    <a:pt x="84" y="262"/>
                  </a:lnTo>
                  <a:lnTo>
                    <a:pt x="84" y="258"/>
                  </a:lnTo>
                  <a:lnTo>
                    <a:pt x="81" y="249"/>
                  </a:lnTo>
                  <a:lnTo>
                    <a:pt x="77" y="242"/>
                  </a:lnTo>
                  <a:lnTo>
                    <a:pt x="71" y="235"/>
                  </a:lnTo>
                  <a:lnTo>
                    <a:pt x="68" y="226"/>
                  </a:lnTo>
                  <a:lnTo>
                    <a:pt x="67" y="222"/>
                  </a:lnTo>
                  <a:lnTo>
                    <a:pt x="67" y="218"/>
                  </a:lnTo>
                  <a:lnTo>
                    <a:pt x="68" y="214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81" y="188"/>
                  </a:lnTo>
                  <a:lnTo>
                    <a:pt x="90" y="167"/>
                  </a:lnTo>
                  <a:lnTo>
                    <a:pt x="98" y="145"/>
                  </a:lnTo>
                  <a:lnTo>
                    <a:pt x="102" y="122"/>
                  </a:lnTo>
                  <a:lnTo>
                    <a:pt x="107" y="98"/>
                  </a:lnTo>
                  <a:lnTo>
                    <a:pt x="110" y="74"/>
                  </a:lnTo>
                  <a:lnTo>
                    <a:pt x="110" y="50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5" y="17"/>
                  </a:lnTo>
                  <a:lnTo>
                    <a:pt x="102" y="13"/>
                  </a:lnTo>
                  <a:lnTo>
                    <a:pt x="100" y="9"/>
                  </a:lnTo>
                  <a:lnTo>
                    <a:pt x="95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3" y="0"/>
                  </a:lnTo>
                  <a:lnTo>
                    <a:pt x="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1249"/>
            <p:cNvSpPr>
              <a:spLocks/>
            </p:cNvSpPr>
            <p:nvPr/>
          </p:nvSpPr>
          <p:spPr bwMode="auto">
            <a:xfrm>
              <a:off x="7382" y="2317"/>
              <a:ext cx="375" cy="548"/>
            </a:xfrm>
            <a:custGeom>
              <a:avLst/>
              <a:gdLst>
                <a:gd name="T0" fmla="*/ 306 w 375"/>
                <a:gd name="T1" fmla="*/ 3 h 548"/>
                <a:gd name="T2" fmla="*/ 296 w 375"/>
                <a:gd name="T3" fmla="*/ 17 h 548"/>
                <a:gd name="T4" fmla="*/ 292 w 375"/>
                <a:gd name="T5" fmla="*/ 63 h 548"/>
                <a:gd name="T6" fmla="*/ 303 w 375"/>
                <a:gd name="T7" fmla="*/ 214 h 548"/>
                <a:gd name="T8" fmla="*/ 305 w 375"/>
                <a:gd name="T9" fmla="*/ 323 h 548"/>
                <a:gd name="T10" fmla="*/ 295 w 375"/>
                <a:gd name="T11" fmla="*/ 329 h 548"/>
                <a:gd name="T12" fmla="*/ 284 w 375"/>
                <a:gd name="T13" fmla="*/ 325 h 548"/>
                <a:gd name="T14" fmla="*/ 239 w 375"/>
                <a:gd name="T15" fmla="*/ 278 h 548"/>
                <a:gd name="T16" fmla="*/ 235 w 375"/>
                <a:gd name="T17" fmla="*/ 268 h 548"/>
                <a:gd name="T18" fmla="*/ 215 w 375"/>
                <a:gd name="T19" fmla="*/ 258 h 548"/>
                <a:gd name="T20" fmla="*/ 184 w 375"/>
                <a:gd name="T21" fmla="*/ 255 h 548"/>
                <a:gd name="T22" fmla="*/ 167 w 375"/>
                <a:gd name="T23" fmla="*/ 264 h 548"/>
                <a:gd name="T24" fmla="*/ 130 w 375"/>
                <a:gd name="T25" fmla="*/ 268 h 548"/>
                <a:gd name="T26" fmla="*/ 87 w 375"/>
                <a:gd name="T27" fmla="*/ 279 h 548"/>
                <a:gd name="T28" fmla="*/ 27 w 375"/>
                <a:gd name="T29" fmla="*/ 309 h 548"/>
                <a:gd name="T30" fmla="*/ 8 w 375"/>
                <a:gd name="T31" fmla="*/ 363 h 548"/>
                <a:gd name="T32" fmla="*/ 0 w 375"/>
                <a:gd name="T33" fmla="*/ 409 h 548"/>
                <a:gd name="T34" fmla="*/ 6 w 375"/>
                <a:gd name="T35" fmla="*/ 441 h 548"/>
                <a:gd name="T36" fmla="*/ 25 w 375"/>
                <a:gd name="T37" fmla="*/ 480 h 548"/>
                <a:gd name="T38" fmla="*/ 29 w 375"/>
                <a:gd name="T39" fmla="*/ 495 h 548"/>
                <a:gd name="T40" fmla="*/ 40 w 375"/>
                <a:gd name="T41" fmla="*/ 505 h 548"/>
                <a:gd name="T42" fmla="*/ 60 w 375"/>
                <a:gd name="T43" fmla="*/ 508 h 548"/>
                <a:gd name="T44" fmla="*/ 133 w 375"/>
                <a:gd name="T45" fmla="*/ 541 h 548"/>
                <a:gd name="T46" fmla="*/ 192 w 375"/>
                <a:gd name="T47" fmla="*/ 548 h 548"/>
                <a:gd name="T48" fmla="*/ 222 w 375"/>
                <a:gd name="T49" fmla="*/ 544 h 548"/>
                <a:gd name="T50" fmla="*/ 241 w 375"/>
                <a:gd name="T51" fmla="*/ 532 h 548"/>
                <a:gd name="T52" fmla="*/ 261 w 375"/>
                <a:gd name="T53" fmla="*/ 508 h 548"/>
                <a:gd name="T54" fmla="*/ 278 w 375"/>
                <a:gd name="T55" fmla="*/ 508 h 548"/>
                <a:gd name="T56" fmla="*/ 301 w 375"/>
                <a:gd name="T57" fmla="*/ 522 h 548"/>
                <a:gd name="T58" fmla="*/ 325 w 375"/>
                <a:gd name="T59" fmla="*/ 544 h 548"/>
                <a:gd name="T60" fmla="*/ 336 w 375"/>
                <a:gd name="T61" fmla="*/ 547 h 548"/>
                <a:gd name="T62" fmla="*/ 363 w 375"/>
                <a:gd name="T63" fmla="*/ 538 h 548"/>
                <a:gd name="T64" fmla="*/ 375 w 375"/>
                <a:gd name="T65" fmla="*/ 525 h 548"/>
                <a:gd name="T66" fmla="*/ 370 w 375"/>
                <a:gd name="T67" fmla="*/ 504 h 548"/>
                <a:gd name="T68" fmla="*/ 356 w 375"/>
                <a:gd name="T69" fmla="*/ 464 h 548"/>
                <a:gd name="T70" fmla="*/ 355 w 375"/>
                <a:gd name="T71" fmla="*/ 443 h 548"/>
                <a:gd name="T72" fmla="*/ 365 w 375"/>
                <a:gd name="T73" fmla="*/ 325 h 548"/>
                <a:gd name="T74" fmla="*/ 363 w 375"/>
                <a:gd name="T75" fmla="*/ 204 h 548"/>
                <a:gd name="T76" fmla="*/ 356 w 375"/>
                <a:gd name="T77" fmla="*/ 126 h 548"/>
                <a:gd name="T78" fmla="*/ 345 w 375"/>
                <a:gd name="T79" fmla="*/ 42 h 548"/>
                <a:gd name="T80" fmla="*/ 336 w 375"/>
                <a:gd name="T81" fmla="*/ 10 h 548"/>
                <a:gd name="T82" fmla="*/ 318 w 375"/>
                <a:gd name="T83" fmla="*/ 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548">
                  <a:moveTo>
                    <a:pt x="311" y="0"/>
                  </a:moveTo>
                  <a:lnTo>
                    <a:pt x="311" y="0"/>
                  </a:lnTo>
                  <a:lnTo>
                    <a:pt x="306" y="3"/>
                  </a:lnTo>
                  <a:lnTo>
                    <a:pt x="303" y="5"/>
                  </a:lnTo>
                  <a:lnTo>
                    <a:pt x="299" y="10"/>
                  </a:lnTo>
                  <a:lnTo>
                    <a:pt x="296" y="17"/>
                  </a:lnTo>
                  <a:lnTo>
                    <a:pt x="292" y="23"/>
                  </a:lnTo>
                  <a:lnTo>
                    <a:pt x="292" y="23"/>
                  </a:lnTo>
                  <a:lnTo>
                    <a:pt x="292" y="63"/>
                  </a:lnTo>
                  <a:lnTo>
                    <a:pt x="293" y="101"/>
                  </a:lnTo>
                  <a:lnTo>
                    <a:pt x="301" y="177"/>
                  </a:lnTo>
                  <a:lnTo>
                    <a:pt x="303" y="214"/>
                  </a:lnTo>
                  <a:lnTo>
                    <a:pt x="306" y="251"/>
                  </a:lnTo>
                  <a:lnTo>
                    <a:pt x="306" y="288"/>
                  </a:lnTo>
                  <a:lnTo>
                    <a:pt x="305" y="323"/>
                  </a:lnTo>
                  <a:lnTo>
                    <a:pt x="305" y="323"/>
                  </a:lnTo>
                  <a:lnTo>
                    <a:pt x="299" y="329"/>
                  </a:lnTo>
                  <a:lnTo>
                    <a:pt x="295" y="329"/>
                  </a:lnTo>
                  <a:lnTo>
                    <a:pt x="292" y="330"/>
                  </a:lnTo>
                  <a:lnTo>
                    <a:pt x="292" y="330"/>
                  </a:lnTo>
                  <a:lnTo>
                    <a:pt x="284" y="325"/>
                  </a:lnTo>
                  <a:lnTo>
                    <a:pt x="276" y="320"/>
                  </a:lnTo>
                  <a:lnTo>
                    <a:pt x="264" y="308"/>
                  </a:lnTo>
                  <a:lnTo>
                    <a:pt x="239" y="278"/>
                  </a:lnTo>
                  <a:lnTo>
                    <a:pt x="239" y="273"/>
                  </a:lnTo>
                  <a:lnTo>
                    <a:pt x="239" y="273"/>
                  </a:lnTo>
                  <a:lnTo>
                    <a:pt x="235" y="268"/>
                  </a:lnTo>
                  <a:lnTo>
                    <a:pt x="228" y="264"/>
                  </a:lnTo>
                  <a:lnTo>
                    <a:pt x="222" y="261"/>
                  </a:lnTo>
                  <a:lnTo>
                    <a:pt x="215" y="258"/>
                  </a:lnTo>
                  <a:lnTo>
                    <a:pt x="208" y="255"/>
                  </a:lnTo>
                  <a:lnTo>
                    <a:pt x="200" y="255"/>
                  </a:lnTo>
                  <a:lnTo>
                    <a:pt x="184" y="255"/>
                  </a:lnTo>
                  <a:lnTo>
                    <a:pt x="184" y="255"/>
                  </a:lnTo>
                  <a:lnTo>
                    <a:pt x="175" y="261"/>
                  </a:lnTo>
                  <a:lnTo>
                    <a:pt x="167" y="264"/>
                  </a:lnTo>
                  <a:lnTo>
                    <a:pt x="158" y="266"/>
                  </a:lnTo>
                  <a:lnTo>
                    <a:pt x="150" y="266"/>
                  </a:lnTo>
                  <a:lnTo>
                    <a:pt x="13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87" y="279"/>
                  </a:lnTo>
                  <a:lnTo>
                    <a:pt x="63" y="291"/>
                  </a:lnTo>
                  <a:lnTo>
                    <a:pt x="39" y="302"/>
                  </a:lnTo>
                  <a:lnTo>
                    <a:pt x="27" y="309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8" y="363"/>
                  </a:lnTo>
                  <a:lnTo>
                    <a:pt x="3" y="386"/>
                  </a:lnTo>
                  <a:lnTo>
                    <a:pt x="0" y="409"/>
                  </a:lnTo>
                  <a:lnTo>
                    <a:pt x="0" y="409"/>
                  </a:lnTo>
                  <a:lnTo>
                    <a:pt x="0" y="421"/>
                  </a:lnTo>
                  <a:lnTo>
                    <a:pt x="2" y="431"/>
                  </a:lnTo>
                  <a:lnTo>
                    <a:pt x="6" y="441"/>
                  </a:lnTo>
                  <a:lnTo>
                    <a:pt x="10" y="451"/>
                  </a:lnTo>
                  <a:lnTo>
                    <a:pt x="20" y="470"/>
                  </a:lnTo>
                  <a:lnTo>
                    <a:pt x="25" y="480"/>
                  </a:lnTo>
                  <a:lnTo>
                    <a:pt x="27" y="490"/>
                  </a:lnTo>
                  <a:lnTo>
                    <a:pt x="27" y="490"/>
                  </a:lnTo>
                  <a:lnTo>
                    <a:pt x="29" y="495"/>
                  </a:lnTo>
                  <a:lnTo>
                    <a:pt x="32" y="500"/>
                  </a:lnTo>
                  <a:lnTo>
                    <a:pt x="36" y="503"/>
                  </a:lnTo>
                  <a:lnTo>
                    <a:pt x="40" y="505"/>
                  </a:lnTo>
                  <a:lnTo>
                    <a:pt x="50" y="508"/>
                  </a:lnTo>
                  <a:lnTo>
                    <a:pt x="60" y="508"/>
                  </a:lnTo>
                  <a:lnTo>
                    <a:pt x="60" y="508"/>
                  </a:lnTo>
                  <a:lnTo>
                    <a:pt x="96" y="527"/>
                  </a:lnTo>
                  <a:lnTo>
                    <a:pt x="114" y="534"/>
                  </a:lnTo>
                  <a:lnTo>
                    <a:pt x="133" y="541"/>
                  </a:lnTo>
                  <a:lnTo>
                    <a:pt x="151" y="545"/>
                  </a:lnTo>
                  <a:lnTo>
                    <a:pt x="171" y="548"/>
                  </a:lnTo>
                  <a:lnTo>
                    <a:pt x="192" y="548"/>
                  </a:lnTo>
                  <a:lnTo>
                    <a:pt x="215" y="547"/>
                  </a:lnTo>
                  <a:lnTo>
                    <a:pt x="215" y="547"/>
                  </a:lnTo>
                  <a:lnTo>
                    <a:pt x="222" y="544"/>
                  </a:lnTo>
                  <a:lnTo>
                    <a:pt x="229" y="541"/>
                  </a:lnTo>
                  <a:lnTo>
                    <a:pt x="235" y="537"/>
                  </a:lnTo>
                  <a:lnTo>
                    <a:pt x="241" y="532"/>
                  </a:lnTo>
                  <a:lnTo>
                    <a:pt x="249" y="521"/>
                  </a:lnTo>
                  <a:lnTo>
                    <a:pt x="261" y="508"/>
                  </a:lnTo>
                  <a:lnTo>
                    <a:pt x="261" y="508"/>
                  </a:lnTo>
                  <a:lnTo>
                    <a:pt x="266" y="507"/>
                  </a:lnTo>
                  <a:lnTo>
                    <a:pt x="274" y="507"/>
                  </a:lnTo>
                  <a:lnTo>
                    <a:pt x="278" y="508"/>
                  </a:lnTo>
                  <a:lnTo>
                    <a:pt x="284" y="510"/>
                  </a:lnTo>
                  <a:lnTo>
                    <a:pt x="292" y="515"/>
                  </a:lnTo>
                  <a:lnTo>
                    <a:pt x="301" y="522"/>
                  </a:lnTo>
                  <a:lnTo>
                    <a:pt x="308" y="531"/>
                  </a:lnTo>
                  <a:lnTo>
                    <a:pt x="316" y="538"/>
                  </a:lnTo>
                  <a:lnTo>
                    <a:pt x="325" y="544"/>
                  </a:lnTo>
                  <a:lnTo>
                    <a:pt x="330" y="545"/>
                  </a:lnTo>
                  <a:lnTo>
                    <a:pt x="336" y="547"/>
                  </a:lnTo>
                  <a:lnTo>
                    <a:pt x="336" y="547"/>
                  </a:lnTo>
                  <a:lnTo>
                    <a:pt x="348" y="545"/>
                  </a:lnTo>
                  <a:lnTo>
                    <a:pt x="359" y="541"/>
                  </a:lnTo>
                  <a:lnTo>
                    <a:pt x="363" y="538"/>
                  </a:lnTo>
                  <a:lnTo>
                    <a:pt x="369" y="535"/>
                  </a:lnTo>
                  <a:lnTo>
                    <a:pt x="372" y="531"/>
                  </a:lnTo>
                  <a:lnTo>
                    <a:pt x="375" y="525"/>
                  </a:lnTo>
                  <a:lnTo>
                    <a:pt x="375" y="525"/>
                  </a:lnTo>
                  <a:lnTo>
                    <a:pt x="373" y="515"/>
                  </a:lnTo>
                  <a:lnTo>
                    <a:pt x="370" y="504"/>
                  </a:lnTo>
                  <a:lnTo>
                    <a:pt x="363" y="484"/>
                  </a:lnTo>
                  <a:lnTo>
                    <a:pt x="359" y="474"/>
                  </a:lnTo>
                  <a:lnTo>
                    <a:pt x="356" y="464"/>
                  </a:lnTo>
                  <a:lnTo>
                    <a:pt x="355" y="454"/>
                  </a:lnTo>
                  <a:lnTo>
                    <a:pt x="355" y="443"/>
                  </a:lnTo>
                  <a:lnTo>
                    <a:pt x="355" y="443"/>
                  </a:lnTo>
                  <a:lnTo>
                    <a:pt x="359" y="404"/>
                  </a:lnTo>
                  <a:lnTo>
                    <a:pt x="363" y="366"/>
                  </a:lnTo>
                  <a:lnTo>
                    <a:pt x="365" y="325"/>
                  </a:lnTo>
                  <a:lnTo>
                    <a:pt x="366" y="285"/>
                  </a:lnTo>
                  <a:lnTo>
                    <a:pt x="365" y="244"/>
                  </a:lnTo>
                  <a:lnTo>
                    <a:pt x="363" y="204"/>
                  </a:lnTo>
                  <a:lnTo>
                    <a:pt x="360" y="164"/>
                  </a:lnTo>
                  <a:lnTo>
                    <a:pt x="356" y="126"/>
                  </a:lnTo>
                  <a:lnTo>
                    <a:pt x="356" y="126"/>
                  </a:lnTo>
                  <a:lnTo>
                    <a:pt x="352" y="97"/>
                  </a:lnTo>
                  <a:lnTo>
                    <a:pt x="348" y="70"/>
                  </a:lnTo>
                  <a:lnTo>
                    <a:pt x="345" y="42"/>
                  </a:lnTo>
                  <a:lnTo>
                    <a:pt x="339" y="13"/>
                  </a:lnTo>
                  <a:lnTo>
                    <a:pt x="339" y="13"/>
                  </a:lnTo>
                  <a:lnTo>
                    <a:pt x="336" y="10"/>
                  </a:lnTo>
                  <a:lnTo>
                    <a:pt x="333" y="7"/>
                  </a:lnTo>
                  <a:lnTo>
                    <a:pt x="326" y="5"/>
                  </a:lnTo>
                  <a:lnTo>
                    <a:pt x="318" y="3"/>
                  </a:lnTo>
                  <a:lnTo>
                    <a:pt x="311" y="0"/>
                  </a:lnTo>
                  <a:lnTo>
                    <a:pt x="3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1250"/>
            <p:cNvSpPr>
              <a:spLocks/>
            </p:cNvSpPr>
            <p:nvPr/>
          </p:nvSpPr>
          <p:spPr bwMode="auto">
            <a:xfrm>
              <a:off x="7461" y="2618"/>
              <a:ext cx="166" cy="203"/>
            </a:xfrm>
            <a:custGeom>
              <a:avLst/>
              <a:gdLst>
                <a:gd name="T0" fmla="*/ 143 w 166"/>
                <a:gd name="T1" fmla="*/ 25 h 203"/>
                <a:gd name="T2" fmla="*/ 143 w 166"/>
                <a:gd name="T3" fmla="*/ 25 h 203"/>
                <a:gd name="T4" fmla="*/ 146 w 166"/>
                <a:gd name="T5" fmla="*/ 41 h 203"/>
                <a:gd name="T6" fmla="*/ 150 w 166"/>
                <a:gd name="T7" fmla="*/ 55 h 203"/>
                <a:gd name="T8" fmla="*/ 153 w 166"/>
                <a:gd name="T9" fmla="*/ 62 h 203"/>
                <a:gd name="T10" fmla="*/ 156 w 166"/>
                <a:gd name="T11" fmla="*/ 69 h 203"/>
                <a:gd name="T12" fmla="*/ 160 w 166"/>
                <a:gd name="T13" fmla="*/ 75 h 203"/>
                <a:gd name="T14" fmla="*/ 166 w 166"/>
                <a:gd name="T15" fmla="*/ 81 h 203"/>
                <a:gd name="T16" fmla="*/ 166 w 166"/>
                <a:gd name="T17" fmla="*/ 81 h 203"/>
                <a:gd name="T18" fmla="*/ 165 w 166"/>
                <a:gd name="T19" fmla="*/ 102 h 203"/>
                <a:gd name="T20" fmla="*/ 162 w 166"/>
                <a:gd name="T21" fmla="*/ 125 h 203"/>
                <a:gd name="T22" fmla="*/ 153 w 166"/>
                <a:gd name="T23" fmla="*/ 169 h 203"/>
                <a:gd name="T24" fmla="*/ 153 w 166"/>
                <a:gd name="T25" fmla="*/ 169 h 203"/>
                <a:gd name="T26" fmla="*/ 146 w 166"/>
                <a:gd name="T27" fmla="*/ 180 h 203"/>
                <a:gd name="T28" fmla="*/ 136 w 166"/>
                <a:gd name="T29" fmla="*/ 189 h 203"/>
                <a:gd name="T30" fmla="*/ 126 w 166"/>
                <a:gd name="T31" fmla="*/ 197 h 203"/>
                <a:gd name="T32" fmla="*/ 113 w 166"/>
                <a:gd name="T33" fmla="*/ 202 h 203"/>
                <a:gd name="T34" fmla="*/ 113 w 166"/>
                <a:gd name="T35" fmla="*/ 202 h 203"/>
                <a:gd name="T36" fmla="*/ 99 w 166"/>
                <a:gd name="T37" fmla="*/ 203 h 203"/>
                <a:gd name="T38" fmla="*/ 85 w 166"/>
                <a:gd name="T39" fmla="*/ 202 h 203"/>
                <a:gd name="T40" fmla="*/ 71 w 166"/>
                <a:gd name="T41" fmla="*/ 199 h 203"/>
                <a:gd name="T42" fmla="*/ 58 w 166"/>
                <a:gd name="T43" fmla="*/ 193 h 203"/>
                <a:gd name="T44" fmla="*/ 47 w 166"/>
                <a:gd name="T45" fmla="*/ 187 h 203"/>
                <a:gd name="T46" fmla="*/ 35 w 166"/>
                <a:gd name="T47" fmla="*/ 179 h 203"/>
                <a:gd name="T48" fmla="*/ 25 w 166"/>
                <a:gd name="T49" fmla="*/ 169 h 203"/>
                <a:gd name="T50" fmla="*/ 18 w 166"/>
                <a:gd name="T51" fmla="*/ 157 h 203"/>
                <a:gd name="T52" fmla="*/ 18 w 166"/>
                <a:gd name="T53" fmla="*/ 157 h 203"/>
                <a:gd name="T54" fmla="*/ 11 w 166"/>
                <a:gd name="T55" fmla="*/ 146 h 203"/>
                <a:gd name="T56" fmla="*/ 5 w 166"/>
                <a:gd name="T57" fmla="*/ 132 h 203"/>
                <a:gd name="T58" fmla="*/ 1 w 166"/>
                <a:gd name="T59" fmla="*/ 116 h 203"/>
                <a:gd name="T60" fmla="*/ 0 w 166"/>
                <a:gd name="T61" fmla="*/ 102 h 203"/>
                <a:gd name="T62" fmla="*/ 0 w 166"/>
                <a:gd name="T63" fmla="*/ 86 h 203"/>
                <a:gd name="T64" fmla="*/ 1 w 166"/>
                <a:gd name="T65" fmla="*/ 71 h 203"/>
                <a:gd name="T66" fmla="*/ 5 w 166"/>
                <a:gd name="T67" fmla="*/ 56 h 203"/>
                <a:gd name="T68" fmla="*/ 12 w 166"/>
                <a:gd name="T69" fmla="*/ 44 h 203"/>
                <a:gd name="T70" fmla="*/ 12 w 166"/>
                <a:gd name="T71" fmla="*/ 44 h 203"/>
                <a:gd name="T72" fmla="*/ 20 w 166"/>
                <a:gd name="T73" fmla="*/ 32 h 203"/>
                <a:gd name="T74" fmla="*/ 30 w 166"/>
                <a:gd name="T75" fmla="*/ 24 h 203"/>
                <a:gd name="T76" fmla="*/ 41 w 166"/>
                <a:gd name="T77" fmla="*/ 17 h 203"/>
                <a:gd name="T78" fmla="*/ 54 w 166"/>
                <a:gd name="T79" fmla="*/ 9 h 203"/>
                <a:gd name="T80" fmla="*/ 68 w 166"/>
                <a:gd name="T81" fmla="*/ 5 h 203"/>
                <a:gd name="T82" fmla="*/ 82 w 166"/>
                <a:gd name="T83" fmla="*/ 2 h 203"/>
                <a:gd name="T84" fmla="*/ 96 w 166"/>
                <a:gd name="T85" fmla="*/ 0 h 203"/>
                <a:gd name="T86" fmla="*/ 109 w 166"/>
                <a:gd name="T87" fmla="*/ 0 h 203"/>
                <a:gd name="T88" fmla="*/ 109 w 166"/>
                <a:gd name="T89" fmla="*/ 0 h 203"/>
                <a:gd name="T90" fmla="*/ 121 w 166"/>
                <a:gd name="T91" fmla="*/ 4 h 203"/>
                <a:gd name="T92" fmla="*/ 129 w 166"/>
                <a:gd name="T93" fmla="*/ 9 h 203"/>
                <a:gd name="T94" fmla="*/ 138 w 166"/>
                <a:gd name="T95" fmla="*/ 17 h 203"/>
                <a:gd name="T96" fmla="*/ 143 w 166"/>
                <a:gd name="T97" fmla="*/ 25 h 203"/>
                <a:gd name="T98" fmla="*/ 143 w 166"/>
                <a:gd name="T99" fmla="*/ 2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6" h="203">
                  <a:moveTo>
                    <a:pt x="143" y="25"/>
                  </a:moveTo>
                  <a:lnTo>
                    <a:pt x="143" y="25"/>
                  </a:lnTo>
                  <a:lnTo>
                    <a:pt x="146" y="41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6" y="69"/>
                  </a:lnTo>
                  <a:lnTo>
                    <a:pt x="160" y="75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5" y="102"/>
                  </a:lnTo>
                  <a:lnTo>
                    <a:pt x="162" y="125"/>
                  </a:lnTo>
                  <a:lnTo>
                    <a:pt x="153" y="169"/>
                  </a:lnTo>
                  <a:lnTo>
                    <a:pt x="153" y="169"/>
                  </a:lnTo>
                  <a:lnTo>
                    <a:pt x="146" y="180"/>
                  </a:lnTo>
                  <a:lnTo>
                    <a:pt x="136" y="189"/>
                  </a:lnTo>
                  <a:lnTo>
                    <a:pt x="126" y="197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99" y="203"/>
                  </a:lnTo>
                  <a:lnTo>
                    <a:pt x="85" y="202"/>
                  </a:lnTo>
                  <a:lnTo>
                    <a:pt x="71" y="199"/>
                  </a:lnTo>
                  <a:lnTo>
                    <a:pt x="58" y="193"/>
                  </a:lnTo>
                  <a:lnTo>
                    <a:pt x="47" y="187"/>
                  </a:lnTo>
                  <a:lnTo>
                    <a:pt x="35" y="179"/>
                  </a:lnTo>
                  <a:lnTo>
                    <a:pt x="25" y="169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1" y="146"/>
                  </a:lnTo>
                  <a:lnTo>
                    <a:pt x="5" y="132"/>
                  </a:lnTo>
                  <a:lnTo>
                    <a:pt x="1" y="116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1" y="71"/>
                  </a:lnTo>
                  <a:lnTo>
                    <a:pt x="5" y="5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20" y="32"/>
                  </a:lnTo>
                  <a:lnTo>
                    <a:pt x="30" y="24"/>
                  </a:lnTo>
                  <a:lnTo>
                    <a:pt x="41" y="17"/>
                  </a:lnTo>
                  <a:lnTo>
                    <a:pt x="54" y="9"/>
                  </a:lnTo>
                  <a:lnTo>
                    <a:pt x="68" y="5"/>
                  </a:lnTo>
                  <a:lnTo>
                    <a:pt x="82" y="2"/>
                  </a:lnTo>
                  <a:lnTo>
                    <a:pt x="9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21" y="4"/>
                  </a:lnTo>
                  <a:lnTo>
                    <a:pt x="129" y="9"/>
                  </a:lnTo>
                  <a:lnTo>
                    <a:pt x="138" y="17"/>
                  </a:lnTo>
                  <a:lnTo>
                    <a:pt x="143" y="25"/>
                  </a:lnTo>
                  <a:lnTo>
                    <a:pt x="143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1251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1252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1253"/>
            <p:cNvSpPr>
              <a:spLocks noEditPoints="1"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  <a:gd name="T18" fmla="*/ 200 w 535"/>
                <a:gd name="T19" fmla="*/ 322 h 541"/>
                <a:gd name="T20" fmla="*/ 299 w 535"/>
                <a:gd name="T21" fmla="*/ 322 h 541"/>
                <a:gd name="T22" fmla="*/ 252 w 535"/>
                <a:gd name="T23" fmla="*/ 137 h 541"/>
                <a:gd name="T24" fmla="*/ 200 w 535"/>
                <a:gd name="T25" fmla="*/ 32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  <a:close/>
                  <a:moveTo>
                    <a:pt x="200" y="322"/>
                  </a:moveTo>
                  <a:lnTo>
                    <a:pt x="299" y="322"/>
                  </a:lnTo>
                  <a:lnTo>
                    <a:pt x="252" y="137"/>
                  </a:lnTo>
                  <a:lnTo>
                    <a:pt x="200" y="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1254"/>
            <p:cNvSpPr>
              <a:spLocks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1255"/>
            <p:cNvSpPr>
              <a:spLocks/>
            </p:cNvSpPr>
            <p:nvPr/>
          </p:nvSpPr>
          <p:spPr bwMode="auto">
            <a:xfrm>
              <a:off x="6986" y="1551"/>
              <a:ext cx="99" cy="185"/>
            </a:xfrm>
            <a:custGeom>
              <a:avLst/>
              <a:gdLst>
                <a:gd name="T0" fmla="*/ 0 w 99"/>
                <a:gd name="T1" fmla="*/ 185 h 185"/>
                <a:gd name="T2" fmla="*/ 99 w 99"/>
                <a:gd name="T3" fmla="*/ 185 h 185"/>
                <a:gd name="T4" fmla="*/ 52 w 99"/>
                <a:gd name="T5" fmla="*/ 0 h 185"/>
                <a:gd name="T6" fmla="*/ 0 w 99"/>
                <a:gd name="T7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85">
                  <a:moveTo>
                    <a:pt x="0" y="185"/>
                  </a:moveTo>
                  <a:lnTo>
                    <a:pt x="99" y="185"/>
                  </a:lnTo>
                  <a:lnTo>
                    <a:pt x="52" y="0"/>
                  </a:lnTo>
                  <a:lnTo>
                    <a:pt x="0" y="18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1256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1257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1258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  <a:gd name="T52" fmla="*/ 166 w 166"/>
                <a:gd name="T53" fmla="*/ 5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  <a:lnTo>
                    <a:pt x="166" y="54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1259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755787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206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25B3E-1B3B-4E74-92B5-30BAAE6A6E35}" type="datetimeFigureOut">
              <a:rPr lang="fr-FR" smtClean="0"/>
              <a:t>13/02/2018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56AF64-AAC8-4C3B-B032-28AFF7854699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204025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9700" y="6356354"/>
            <a:ext cx="584200" cy="365125"/>
          </a:xfrm>
        </p:spPr>
        <p:txBody>
          <a:bodyPr/>
          <a:lstStyle/>
          <a:p>
            <a:fld id="{AEE12407-35E7-4E87-8757-FD495B64908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126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-58531"/>
            <a:ext cx="12192000" cy="3602038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62956"/>
            <a:ext cx="12192000" cy="47950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6"/>
            <a:ext cx="9144000" cy="1671637"/>
          </a:xfrm>
        </p:spPr>
        <p:txBody>
          <a:bodyPr anchor="b">
            <a:normAutofit/>
          </a:bodyPr>
          <a:lstStyle>
            <a:lvl1pPr algn="ctr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5799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rgbClr val="FF0000"/>
                </a:solidFill>
                <a:latin typeface="Chiller" panose="04020404031007020602" pitchFamily="8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grpSp>
        <p:nvGrpSpPr>
          <p:cNvPr id="9" name="Group 1234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10775953" y="5711829"/>
            <a:ext cx="900113" cy="827087"/>
            <a:chOff x="5907" y="1132"/>
            <a:chExt cx="2151" cy="1976"/>
          </a:xfrm>
        </p:grpSpPr>
        <p:sp>
          <p:nvSpPr>
            <p:cNvPr id="10" name="Freeform 1235"/>
            <p:cNvSpPr>
              <a:spLocks/>
            </p:cNvSpPr>
            <p:nvPr/>
          </p:nvSpPr>
          <p:spPr bwMode="auto">
            <a:xfrm>
              <a:off x="5966" y="2117"/>
              <a:ext cx="2028" cy="0"/>
            </a:xfrm>
            <a:custGeom>
              <a:avLst/>
              <a:gdLst>
                <a:gd name="T0" fmla="*/ 0 w 2028"/>
                <a:gd name="T1" fmla="*/ 2028 w 2028"/>
                <a:gd name="T2" fmla="*/ 0 w 202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28">
                  <a:moveTo>
                    <a:pt x="0" y="0"/>
                  </a:moveTo>
                  <a:lnTo>
                    <a:pt x="202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Line 1236"/>
            <p:cNvSpPr>
              <a:spLocks noChangeShapeType="1"/>
            </p:cNvSpPr>
            <p:nvPr/>
          </p:nvSpPr>
          <p:spPr bwMode="auto">
            <a:xfrm>
              <a:off x="5966" y="2117"/>
              <a:ext cx="202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Rectangle 1237"/>
            <p:cNvSpPr>
              <a:spLocks noChangeArrowheads="1"/>
            </p:cNvSpPr>
            <p:nvPr/>
          </p:nvSpPr>
          <p:spPr bwMode="auto">
            <a:xfrm>
              <a:off x="5968" y="1194"/>
              <a:ext cx="2030" cy="1853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1238"/>
            <p:cNvSpPr>
              <a:spLocks noEditPoints="1"/>
            </p:cNvSpPr>
            <p:nvPr/>
          </p:nvSpPr>
          <p:spPr bwMode="auto">
            <a:xfrm>
              <a:off x="5907" y="1132"/>
              <a:ext cx="2151" cy="1976"/>
            </a:xfrm>
            <a:custGeom>
              <a:avLst/>
              <a:gdLst>
                <a:gd name="T0" fmla="*/ 0 w 2151"/>
                <a:gd name="T1" fmla="*/ 1976 h 1976"/>
                <a:gd name="T2" fmla="*/ 2151 w 2151"/>
                <a:gd name="T3" fmla="*/ 1976 h 1976"/>
                <a:gd name="T4" fmla="*/ 2151 w 2151"/>
                <a:gd name="T5" fmla="*/ 0 h 1976"/>
                <a:gd name="T6" fmla="*/ 0 w 2151"/>
                <a:gd name="T7" fmla="*/ 0 h 1976"/>
                <a:gd name="T8" fmla="*/ 0 w 2151"/>
                <a:gd name="T9" fmla="*/ 1976 h 1976"/>
                <a:gd name="T10" fmla="*/ 123 w 2151"/>
                <a:gd name="T11" fmla="*/ 1854 h 1976"/>
                <a:gd name="T12" fmla="*/ 123 w 2151"/>
                <a:gd name="T13" fmla="*/ 1854 h 1976"/>
                <a:gd name="T14" fmla="*/ 123 w 2151"/>
                <a:gd name="T15" fmla="*/ 1046 h 1976"/>
                <a:gd name="T16" fmla="*/ 2030 w 2151"/>
                <a:gd name="T17" fmla="*/ 1046 h 1976"/>
                <a:gd name="T18" fmla="*/ 2030 w 2151"/>
                <a:gd name="T19" fmla="*/ 1046 h 1976"/>
                <a:gd name="T20" fmla="*/ 2030 w 2151"/>
                <a:gd name="T21" fmla="*/ 1854 h 1976"/>
                <a:gd name="T22" fmla="*/ 2030 w 2151"/>
                <a:gd name="T23" fmla="*/ 1854 h 1976"/>
                <a:gd name="T24" fmla="*/ 123 w 2151"/>
                <a:gd name="T25" fmla="*/ 1854 h 1976"/>
                <a:gd name="T26" fmla="*/ 123 w 2151"/>
                <a:gd name="T27" fmla="*/ 1854 h 1976"/>
                <a:gd name="T28" fmla="*/ 2030 w 2151"/>
                <a:gd name="T29" fmla="*/ 123 h 1976"/>
                <a:gd name="T30" fmla="*/ 2030 w 2151"/>
                <a:gd name="T31" fmla="*/ 123 h 1976"/>
                <a:gd name="T32" fmla="*/ 2030 w 2151"/>
                <a:gd name="T33" fmla="*/ 924 h 1976"/>
                <a:gd name="T34" fmla="*/ 123 w 2151"/>
                <a:gd name="T35" fmla="*/ 924 h 1976"/>
                <a:gd name="T36" fmla="*/ 123 w 2151"/>
                <a:gd name="T37" fmla="*/ 924 h 1976"/>
                <a:gd name="T38" fmla="*/ 123 w 2151"/>
                <a:gd name="T39" fmla="*/ 123 h 1976"/>
                <a:gd name="T40" fmla="*/ 123 w 2151"/>
                <a:gd name="T41" fmla="*/ 123 h 1976"/>
                <a:gd name="T42" fmla="*/ 2030 w 2151"/>
                <a:gd name="T43" fmla="*/ 123 h 1976"/>
                <a:gd name="T44" fmla="*/ 2030 w 2151"/>
                <a:gd name="T45" fmla="*/ 123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51" h="1976">
                  <a:moveTo>
                    <a:pt x="0" y="1976"/>
                  </a:moveTo>
                  <a:lnTo>
                    <a:pt x="2151" y="1976"/>
                  </a:lnTo>
                  <a:lnTo>
                    <a:pt x="2151" y="0"/>
                  </a:lnTo>
                  <a:lnTo>
                    <a:pt x="0" y="0"/>
                  </a:lnTo>
                  <a:lnTo>
                    <a:pt x="0" y="1976"/>
                  </a:lnTo>
                  <a:close/>
                  <a:moveTo>
                    <a:pt x="123" y="1854"/>
                  </a:moveTo>
                  <a:lnTo>
                    <a:pt x="123" y="1854"/>
                  </a:lnTo>
                  <a:lnTo>
                    <a:pt x="123" y="1046"/>
                  </a:lnTo>
                  <a:lnTo>
                    <a:pt x="2030" y="1046"/>
                  </a:lnTo>
                  <a:lnTo>
                    <a:pt x="2030" y="1046"/>
                  </a:lnTo>
                  <a:lnTo>
                    <a:pt x="2030" y="1854"/>
                  </a:lnTo>
                  <a:lnTo>
                    <a:pt x="2030" y="1854"/>
                  </a:lnTo>
                  <a:lnTo>
                    <a:pt x="123" y="1854"/>
                  </a:lnTo>
                  <a:lnTo>
                    <a:pt x="123" y="1854"/>
                  </a:lnTo>
                  <a:close/>
                  <a:moveTo>
                    <a:pt x="2030" y="123"/>
                  </a:moveTo>
                  <a:lnTo>
                    <a:pt x="2030" y="123"/>
                  </a:lnTo>
                  <a:lnTo>
                    <a:pt x="2030" y="924"/>
                  </a:lnTo>
                  <a:lnTo>
                    <a:pt x="123" y="924"/>
                  </a:lnTo>
                  <a:lnTo>
                    <a:pt x="123" y="924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2030" y="123"/>
                  </a:lnTo>
                  <a:lnTo>
                    <a:pt x="2030" y="123"/>
                  </a:lnTo>
                  <a:close/>
                </a:path>
              </a:pathLst>
            </a:custGeom>
            <a:solidFill>
              <a:srgbClr val="EF3E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1239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64 h 587"/>
                <a:gd name="T34" fmla="*/ 953 w 1552"/>
                <a:gd name="T35" fmla="*/ 227 h 587"/>
                <a:gd name="T36" fmla="*/ 960 w 1552"/>
                <a:gd name="T37" fmla="*/ 419 h 587"/>
                <a:gd name="T38" fmla="*/ 968 w 1552"/>
                <a:gd name="T39" fmla="*/ 519 h 587"/>
                <a:gd name="T40" fmla="*/ 1034 w 1552"/>
                <a:gd name="T41" fmla="*/ 540 h 587"/>
                <a:gd name="T42" fmla="*/ 1039 w 1552"/>
                <a:gd name="T43" fmla="*/ 458 h 587"/>
                <a:gd name="T44" fmla="*/ 1039 w 1552"/>
                <a:gd name="T45" fmla="*/ 261 h 587"/>
                <a:gd name="T46" fmla="*/ 994 w 1552"/>
                <a:gd name="T47" fmla="*/ 69 h 587"/>
                <a:gd name="T48" fmla="*/ 936 w 1552"/>
                <a:gd name="T49" fmla="*/ 39 h 587"/>
                <a:gd name="T50" fmla="*/ 830 w 1552"/>
                <a:gd name="T51" fmla="*/ 196 h 587"/>
                <a:gd name="T52" fmla="*/ 786 w 1552"/>
                <a:gd name="T53" fmla="*/ 190 h 587"/>
                <a:gd name="T54" fmla="*/ 145 w 1552"/>
                <a:gd name="T55" fmla="*/ 250 h 587"/>
                <a:gd name="T56" fmla="*/ 15 w 1552"/>
                <a:gd name="T57" fmla="*/ 327 h 587"/>
                <a:gd name="T58" fmla="*/ 2 w 1552"/>
                <a:gd name="T59" fmla="*/ 471 h 587"/>
                <a:gd name="T60" fmla="*/ 32 w 1552"/>
                <a:gd name="T61" fmla="*/ 570 h 587"/>
                <a:gd name="T62" fmla="*/ 197 w 1552"/>
                <a:gd name="T63" fmla="*/ 579 h 587"/>
                <a:gd name="T64" fmla="*/ 244 w 1552"/>
                <a:gd name="T65" fmla="*/ 530 h 587"/>
                <a:gd name="T66" fmla="*/ 128 w 1552"/>
                <a:gd name="T67" fmla="*/ 542 h 587"/>
                <a:gd name="T68" fmla="*/ 76 w 1552"/>
                <a:gd name="T69" fmla="*/ 485 h 587"/>
                <a:gd name="T70" fmla="*/ 83 w 1552"/>
                <a:gd name="T71" fmla="*/ 333 h 587"/>
                <a:gd name="T72" fmla="*/ 156 w 1552"/>
                <a:gd name="T73" fmla="*/ 291 h 587"/>
                <a:gd name="T74" fmla="*/ 211 w 1552"/>
                <a:gd name="T75" fmla="*/ 276 h 587"/>
                <a:gd name="T76" fmla="*/ 773 w 1552"/>
                <a:gd name="T77" fmla="*/ 304 h 587"/>
                <a:gd name="T78" fmla="*/ 725 w 1552"/>
                <a:gd name="T79" fmla="*/ 509 h 587"/>
                <a:gd name="T80" fmla="*/ 776 w 1552"/>
                <a:gd name="T81" fmla="*/ 579 h 587"/>
                <a:gd name="T82" fmla="*/ 809 w 1552"/>
                <a:gd name="T83" fmla="*/ 542 h 587"/>
                <a:gd name="T84" fmla="*/ 806 w 1552"/>
                <a:gd name="T85" fmla="*/ 472 h 587"/>
                <a:gd name="T86" fmla="*/ 827 w 1552"/>
                <a:gd name="T87" fmla="*/ 297 h 587"/>
                <a:gd name="T88" fmla="*/ 1480 w 1552"/>
                <a:gd name="T89" fmla="*/ 37 h 587"/>
                <a:gd name="T90" fmla="*/ 1483 w 1552"/>
                <a:gd name="T91" fmla="*/ 320 h 587"/>
                <a:gd name="T92" fmla="*/ 1416 w 1552"/>
                <a:gd name="T93" fmla="*/ 310 h 587"/>
                <a:gd name="T94" fmla="*/ 1361 w 1552"/>
                <a:gd name="T95" fmla="*/ 287 h 587"/>
                <a:gd name="T96" fmla="*/ 1216 w 1552"/>
                <a:gd name="T97" fmla="*/ 334 h 587"/>
                <a:gd name="T98" fmla="*/ 1183 w 1552"/>
                <a:gd name="T99" fmla="*/ 473 h 587"/>
                <a:gd name="T100" fmla="*/ 1227 w 1552"/>
                <a:gd name="T101" fmla="*/ 540 h 587"/>
                <a:gd name="T102" fmla="*/ 1392 w 1552"/>
                <a:gd name="T103" fmla="*/ 579 h 587"/>
                <a:gd name="T104" fmla="*/ 1455 w 1552"/>
                <a:gd name="T105" fmla="*/ 540 h 587"/>
                <a:gd name="T106" fmla="*/ 1525 w 1552"/>
                <a:gd name="T107" fmla="*/ 577 h 587"/>
                <a:gd name="T108" fmla="*/ 1536 w 1552"/>
                <a:gd name="T109" fmla="*/ 506 h 587"/>
                <a:gd name="T110" fmla="*/ 1540 w 1552"/>
                <a:gd name="T111" fmla="*/ 236 h 587"/>
                <a:gd name="T112" fmla="*/ 1510 w 1552"/>
                <a:gd name="T113" fmla="*/ 39 h 587"/>
                <a:gd name="T114" fmla="*/ 1412 w 1552"/>
                <a:gd name="T115" fmla="*/ 402 h 587"/>
                <a:gd name="T116" fmla="*/ 1382 w 1552"/>
                <a:gd name="T117" fmla="*/ 530 h 587"/>
                <a:gd name="T118" fmla="*/ 1274 w 1552"/>
                <a:gd name="T119" fmla="*/ 490 h 587"/>
                <a:gd name="T120" fmla="*/ 1268 w 1552"/>
                <a:gd name="T121" fmla="*/ 377 h 587"/>
                <a:gd name="T122" fmla="*/ 1377 w 1552"/>
                <a:gd name="T123" fmla="*/ 337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noFill/>
            <a:ln w="0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1240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1241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1242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  <a:gd name="T42" fmla="*/ 0 w 57"/>
                <a:gd name="T43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1243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79 h 587"/>
                <a:gd name="T34" fmla="*/ 954 w 1552"/>
                <a:gd name="T35" fmla="*/ 298 h 587"/>
                <a:gd name="T36" fmla="*/ 958 w 1552"/>
                <a:gd name="T37" fmla="*/ 429 h 587"/>
                <a:gd name="T38" fmla="*/ 968 w 1552"/>
                <a:gd name="T39" fmla="*/ 519 h 587"/>
                <a:gd name="T40" fmla="*/ 1039 w 1552"/>
                <a:gd name="T41" fmla="*/ 537 h 587"/>
                <a:gd name="T42" fmla="*/ 1038 w 1552"/>
                <a:gd name="T43" fmla="*/ 445 h 587"/>
                <a:gd name="T44" fmla="*/ 1037 w 1552"/>
                <a:gd name="T45" fmla="*/ 249 h 587"/>
                <a:gd name="T46" fmla="*/ 994 w 1552"/>
                <a:gd name="T47" fmla="*/ 48 h 587"/>
                <a:gd name="T48" fmla="*/ 936 w 1552"/>
                <a:gd name="T49" fmla="*/ 39 h 587"/>
                <a:gd name="T50" fmla="*/ 833 w 1552"/>
                <a:gd name="T51" fmla="*/ 192 h 587"/>
                <a:gd name="T52" fmla="*/ 782 w 1552"/>
                <a:gd name="T53" fmla="*/ 196 h 587"/>
                <a:gd name="T54" fmla="*/ 133 w 1552"/>
                <a:gd name="T55" fmla="*/ 253 h 587"/>
                <a:gd name="T56" fmla="*/ 9 w 1552"/>
                <a:gd name="T57" fmla="*/ 335 h 587"/>
                <a:gd name="T58" fmla="*/ 5 w 1552"/>
                <a:gd name="T59" fmla="*/ 482 h 587"/>
                <a:gd name="T60" fmla="*/ 42 w 1552"/>
                <a:gd name="T61" fmla="*/ 574 h 587"/>
                <a:gd name="T62" fmla="*/ 211 w 1552"/>
                <a:gd name="T63" fmla="*/ 574 h 587"/>
                <a:gd name="T64" fmla="*/ 244 w 1552"/>
                <a:gd name="T65" fmla="*/ 530 h 587"/>
                <a:gd name="T66" fmla="*/ 118 w 1552"/>
                <a:gd name="T67" fmla="*/ 539 h 587"/>
                <a:gd name="T68" fmla="*/ 76 w 1552"/>
                <a:gd name="T69" fmla="*/ 485 h 587"/>
                <a:gd name="T70" fmla="*/ 89 w 1552"/>
                <a:gd name="T71" fmla="*/ 324 h 587"/>
                <a:gd name="T72" fmla="*/ 166 w 1552"/>
                <a:gd name="T73" fmla="*/ 286 h 587"/>
                <a:gd name="T74" fmla="*/ 213 w 1552"/>
                <a:gd name="T75" fmla="*/ 274 h 587"/>
                <a:gd name="T76" fmla="*/ 768 w 1552"/>
                <a:gd name="T77" fmla="*/ 314 h 587"/>
                <a:gd name="T78" fmla="*/ 728 w 1552"/>
                <a:gd name="T79" fmla="*/ 529 h 587"/>
                <a:gd name="T80" fmla="*/ 783 w 1552"/>
                <a:gd name="T81" fmla="*/ 577 h 587"/>
                <a:gd name="T82" fmla="*/ 806 w 1552"/>
                <a:gd name="T83" fmla="*/ 533 h 587"/>
                <a:gd name="T84" fmla="*/ 815 w 1552"/>
                <a:gd name="T85" fmla="*/ 451 h 587"/>
                <a:gd name="T86" fmla="*/ 825 w 1552"/>
                <a:gd name="T87" fmla="*/ 293 h 587"/>
                <a:gd name="T88" fmla="*/ 1476 w 1552"/>
                <a:gd name="T89" fmla="*/ 42 h 587"/>
                <a:gd name="T90" fmla="*/ 1482 w 1552"/>
                <a:gd name="T91" fmla="*/ 355 h 587"/>
                <a:gd name="T92" fmla="*/ 1416 w 1552"/>
                <a:gd name="T93" fmla="*/ 305 h 587"/>
                <a:gd name="T94" fmla="*/ 1352 w 1552"/>
                <a:gd name="T95" fmla="*/ 293 h 587"/>
                <a:gd name="T96" fmla="*/ 1204 w 1552"/>
                <a:gd name="T97" fmla="*/ 341 h 587"/>
                <a:gd name="T98" fmla="*/ 1187 w 1552"/>
                <a:gd name="T99" fmla="*/ 483 h 587"/>
                <a:gd name="T100" fmla="*/ 1237 w 1552"/>
                <a:gd name="T101" fmla="*/ 540 h 587"/>
                <a:gd name="T102" fmla="*/ 1399 w 1552"/>
                <a:gd name="T103" fmla="*/ 576 h 587"/>
                <a:gd name="T104" fmla="*/ 1461 w 1552"/>
                <a:gd name="T105" fmla="*/ 542 h 587"/>
                <a:gd name="T106" fmla="*/ 1536 w 1552"/>
                <a:gd name="T107" fmla="*/ 573 h 587"/>
                <a:gd name="T108" fmla="*/ 1533 w 1552"/>
                <a:gd name="T109" fmla="*/ 496 h 587"/>
                <a:gd name="T110" fmla="*/ 1537 w 1552"/>
                <a:gd name="T111" fmla="*/ 196 h 587"/>
                <a:gd name="T112" fmla="*/ 1503 w 1552"/>
                <a:gd name="T113" fmla="*/ 37 h 587"/>
                <a:gd name="T114" fmla="*/ 1416 w 1552"/>
                <a:gd name="T115" fmla="*/ 408 h 587"/>
                <a:gd name="T116" fmla="*/ 1369 w 1552"/>
                <a:gd name="T117" fmla="*/ 535 h 587"/>
                <a:gd name="T118" fmla="*/ 1274 w 1552"/>
                <a:gd name="T119" fmla="*/ 490 h 587"/>
                <a:gd name="T120" fmla="*/ 1276 w 1552"/>
                <a:gd name="T121" fmla="*/ 365 h 587"/>
                <a:gd name="T122" fmla="*/ 1385 w 1552"/>
                <a:gd name="T123" fmla="*/ 34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1244"/>
            <p:cNvSpPr>
              <a:spLocks/>
            </p:cNvSpPr>
            <p:nvPr/>
          </p:nvSpPr>
          <p:spPr bwMode="auto">
            <a:xfrm>
              <a:off x="6526" y="2285"/>
              <a:ext cx="299" cy="549"/>
            </a:xfrm>
            <a:custGeom>
              <a:avLst/>
              <a:gdLst>
                <a:gd name="T0" fmla="*/ 97 w 299"/>
                <a:gd name="T1" fmla="*/ 84 h 549"/>
                <a:gd name="T2" fmla="*/ 114 w 299"/>
                <a:gd name="T3" fmla="*/ 197 h 549"/>
                <a:gd name="T4" fmla="*/ 125 w 299"/>
                <a:gd name="T5" fmla="*/ 241 h 549"/>
                <a:gd name="T6" fmla="*/ 118 w 299"/>
                <a:gd name="T7" fmla="*/ 280 h 549"/>
                <a:gd name="T8" fmla="*/ 122 w 299"/>
                <a:gd name="T9" fmla="*/ 304 h 549"/>
                <a:gd name="T10" fmla="*/ 196 w 299"/>
                <a:gd name="T11" fmla="*/ 301 h 549"/>
                <a:gd name="T12" fmla="*/ 243 w 299"/>
                <a:gd name="T13" fmla="*/ 310 h 549"/>
                <a:gd name="T14" fmla="*/ 272 w 299"/>
                <a:gd name="T15" fmla="*/ 325 h 549"/>
                <a:gd name="T16" fmla="*/ 292 w 299"/>
                <a:gd name="T17" fmla="*/ 355 h 549"/>
                <a:gd name="T18" fmla="*/ 297 w 299"/>
                <a:gd name="T19" fmla="*/ 421 h 549"/>
                <a:gd name="T20" fmla="*/ 296 w 299"/>
                <a:gd name="T21" fmla="*/ 489 h 549"/>
                <a:gd name="T22" fmla="*/ 286 w 299"/>
                <a:gd name="T23" fmla="*/ 519 h 549"/>
                <a:gd name="T24" fmla="*/ 276 w 299"/>
                <a:gd name="T25" fmla="*/ 535 h 549"/>
                <a:gd name="T26" fmla="*/ 258 w 299"/>
                <a:gd name="T27" fmla="*/ 546 h 549"/>
                <a:gd name="T28" fmla="*/ 236 w 299"/>
                <a:gd name="T29" fmla="*/ 547 h 549"/>
                <a:gd name="T30" fmla="*/ 223 w 299"/>
                <a:gd name="T31" fmla="*/ 540 h 549"/>
                <a:gd name="T32" fmla="*/ 218 w 299"/>
                <a:gd name="T33" fmla="*/ 523 h 549"/>
                <a:gd name="T34" fmla="*/ 225 w 299"/>
                <a:gd name="T35" fmla="*/ 493 h 549"/>
                <a:gd name="T36" fmla="*/ 232 w 299"/>
                <a:gd name="T37" fmla="*/ 446 h 549"/>
                <a:gd name="T38" fmla="*/ 229 w 299"/>
                <a:gd name="T39" fmla="*/ 398 h 549"/>
                <a:gd name="T40" fmla="*/ 216 w 299"/>
                <a:gd name="T41" fmla="*/ 372 h 549"/>
                <a:gd name="T42" fmla="*/ 198 w 299"/>
                <a:gd name="T43" fmla="*/ 352 h 549"/>
                <a:gd name="T44" fmla="*/ 159 w 299"/>
                <a:gd name="T45" fmla="*/ 340 h 549"/>
                <a:gd name="T46" fmla="*/ 118 w 299"/>
                <a:gd name="T47" fmla="*/ 341 h 549"/>
                <a:gd name="T48" fmla="*/ 108 w 299"/>
                <a:gd name="T49" fmla="*/ 355 h 549"/>
                <a:gd name="T50" fmla="*/ 97 w 299"/>
                <a:gd name="T51" fmla="*/ 388 h 549"/>
                <a:gd name="T52" fmla="*/ 94 w 299"/>
                <a:gd name="T53" fmla="*/ 445 h 549"/>
                <a:gd name="T54" fmla="*/ 94 w 299"/>
                <a:gd name="T55" fmla="*/ 492 h 549"/>
                <a:gd name="T56" fmla="*/ 90 w 299"/>
                <a:gd name="T57" fmla="*/ 519 h 549"/>
                <a:gd name="T58" fmla="*/ 77 w 299"/>
                <a:gd name="T59" fmla="*/ 542 h 549"/>
                <a:gd name="T60" fmla="*/ 61 w 299"/>
                <a:gd name="T61" fmla="*/ 549 h 549"/>
                <a:gd name="T62" fmla="*/ 38 w 299"/>
                <a:gd name="T63" fmla="*/ 544 h 549"/>
                <a:gd name="T64" fmla="*/ 23 w 299"/>
                <a:gd name="T65" fmla="*/ 532 h 549"/>
                <a:gd name="T66" fmla="*/ 19 w 299"/>
                <a:gd name="T67" fmla="*/ 503 h 549"/>
                <a:gd name="T68" fmla="*/ 26 w 299"/>
                <a:gd name="T69" fmla="*/ 436 h 549"/>
                <a:gd name="T70" fmla="*/ 21 w 299"/>
                <a:gd name="T71" fmla="*/ 395 h 549"/>
                <a:gd name="T72" fmla="*/ 7 w 299"/>
                <a:gd name="T73" fmla="*/ 370 h 549"/>
                <a:gd name="T74" fmla="*/ 0 w 299"/>
                <a:gd name="T75" fmla="*/ 358 h 549"/>
                <a:gd name="T76" fmla="*/ 16 w 299"/>
                <a:gd name="T77" fmla="*/ 344 h 549"/>
                <a:gd name="T78" fmla="*/ 37 w 299"/>
                <a:gd name="T79" fmla="*/ 331 h 549"/>
                <a:gd name="T80" fmla="*/ 43 w 299"/>
                <a:gd name="T81" fmla="*/ 320 h 549"/>
                <a:gd name="T82" fmla="*/ 51 w 299"/>
                <a:gd name="T83" fmla="*/ 305 h 549"/>
                <a:gd name="T84" fmla="*/ 67 w 299"/>
                <a:gd name="T85" fmla="*/ 276 h 549"/>
                <a:gd name="T86" fmla="*/ 71 w 299"/>
                <a:gd name="T87" fmla="*/ 241 h 549"/>
                <a:gd name="T88" fmla="*/ 65 w 299"/>
                <a:gd name="T89" fmla="*/ 224 h 549"/>
                <a:gd name="T90" fmla="*/ 57 w 299"/>
                <a:gd name="T91" fmla="*/ 190 h 549"/>
                <a:gd name="T92" fmla="*/ 57 w 299"/>
                <a:gd name="T93" fmla="*/ 146 h 549"/>
                <a:gd name="T94" fmla="*/ 50 w 299"/>
                <a:gd name="T95" fmla="*/ 121 h 549"/>
                <a:gd name="T96" fmla="*/ 37 w 299"/>
                <a:gd name="T97" fmla="*/ 74 h 549"/>
                <a:gd name="T98" fmla="*/ 33 w 299"/>
                <a:gd name="T99" fmla="*/ 32 h 549"/>
                <a:gd name="T100" fmla="*/ 41 w 299"/>
                <a:gd name="T101" fmla="*/ 11 h 549"/>
                <a:gd name="T102" fmla="*/ 54 w 299"/>
                <a:gd name="T103" fmla="*/ 0 h 549"/>
                <a:gd name="T104" fmla="*/ 77 w 299"/>
                <a:gd name="T105" fmla="*/ 15 h 549"/>
                <a:gd name="T106" fmla="*/ 87 w 299"/>
                <a:gd name="T107" fmla="*/ 44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9" h="549">
                  <a:moveTo>
                    <a:pt x="91" y="62"/>
                  </a:moveTo>
                  <a:lnTo>
                    <a:pt x="91" y="62"/>
                  </a:lnTo>
                  <a:lnTo>
                    <a:pt x="97" y="84"/>
                  </a:lnTo>
                  <a:lnTo>
                    <a:pt x="102" y="105"/>
                  </a:lnTo>
                  <a:lnTo>
                    <a:pt x="108" y="152"/>
                  </a:lnTo>
                  <a:lnTo>
                    <a:pt x="114" y="197"/>
                  </a:lnTo>
                  <a:lnTo>
                    <a:pt x="118" y="219"/>
                  </a:lnTo>
                  <a:lnTo>
                    <a:pt x="125" y="241"/>
                  </a:lnTo>
                  <a:lnTo>
                    <a:pt x="125" y="241"/>
                  </a:lnTo>
                  <a:lnTo>
                    <a:pt x="121" y="256"/>
                  </a:lnTo>
                  <a:lnTo>
                    <a:pt x="118" y="273"/>
                  </a:lnTo>
                  <a:lnTo>
                    <a:pt x="118" y="280"/>
                  </a:lnTo>
                  <a:lnTo>
                    <a:pt x="118" y="288"/>
                  </a:lnTo>
                  <a:lnTo>
                    <a:pt x="120" y="296"/>
                  </a:lnTo>
                  <a:lnTo>
                    <a:pt x="122" y="304"/>
                  </a:lnTo>
                  <a:lnTo>
                    <a:pt x="122" y="304"/>
                  </a:lnTo>
                  <a:lnTo>
                    <a:pt x="171" y="301"/>
                  </a:lnTo>
                  <a:lnTo>
                    <a:pt x="196" y="301"/>
                  </a:lnTo>
                  <a:lnTo>
                    <a:pt x="221" y="304"/>
                  </a:lnTo>
                  <a:lnTo>
                    <a:pt x="232" y="305"/>
                  </a:lnTo>
                  <a:lnTo>
                    <a:pt x="243" y="310"/>
                  </a:lnTo>
                  <a:lnTo>
                    <a:pt x="253" y="314"/>
                  </a:lnTo>
                  <a:lnTo>
                    <a:pt x="263" y="318"/>
                  </a:lnTo>
                  <a:lnTo>
                    <a:pt x="272" y="325"/>
                  </a:lnTo>
                  <a:lnTo>
                    <a:pt x="279" y="334"/>
                  </a:lnTo>
                  <a:lnTo>
                    <a:pt x="286" y="344"/>
                  </a:lnTo>
                  <a:lnTo>
                    <a:pt x="292" y="355"/>
                  </a:lnTo>
                  <a:lnTo>
                    <a:pt x="292" y="355"/>
                  </a:lnTo>
                  <a:lnTo>
                    <a:pt x="296" y="398"/>
                  </a:lnTo>
                  <a:lnTo>
                    <a:pt x="297" y="421"/>
                  </a:lnTo>
                  <a:lnTo>
                    <a:pt x="299" y="445"/>
                  </a:lnTo>
                  <a:lnTo>
                    <a:pt x="299" y="468"/>
                  </a:lnTo>
                  <a:lnTo>
                    <a:pt x="296" y="489"/>
                  </a:lnTo>
                  <a:lnTo>
                    <a:pt x="293" y="499"/>
                  </a:lnTo>
                  <a:lnTo>
                    <a:pt x="290" y="510"/>
                  </a:lnTo>
                  <a:lnTo>
                    <a:pt x="286" y="519"/>
                  </a:lnTo>
                  <a:lnTo>
                    <a:pt x="280" y="529"/>
                  </a:lnTo>
                  <a:lnTo>
                    <a:pt x="280" y="529"/>
                  </a:lnTo>
                  <a:lnTo>
                    <a:pt x="276" y="535"/>
                  </a:lnTo>
                  <a:lnTo>
                    <a:pt x="270" y="539"/>
                  </a:lnTo>
                  <a:lnTo>
                    <a:pt x="263" y="543"/>
                  </a:lnTo>
                  <a:lnTo>
                    <a:pt x="258" y="546"/>
                  </a:lnTo>
                  <a:lnTo>
                    <a:pt x="250" y="547"/>
                  </a:lnTo>
                  <a:lnTo>
                    <a:pt x="243" y="547"/>
                  </a:lnTo>
                  <a:lnTo>
                    <a:pt x="236" y="547"/>
                  </a:lnTo>
                  <a:lnTo>
                    <a:pt x="229" y="546"/>
                  </a:lnTo>
                  <a:lnTo>
                    <a:pt x="229" y="546"/>
                  </a:lnTo>
                  <a:lnTo>
                    <a:pt x="223" y="540"/>
                  </a:lnTo>
                  <a:lnTo>
                    <a:pt x="221" y="536"/>
                  </a:lnTo>
                  <a:lnTo>
                    <a:pt x="219" y="530"/>
                  </a:lnTo>
                  <a:lnTo>
                    <a:pt x="218" y="523"/>
                  </a:lnTo>
                  <a:lnTo>
                    <a:pt x="219" y="512"/>
                  </a:lnTo>
                  <a:lnTo>
                    <a:pt x="221" y="499"/>
                  </a:lnTo>
                  <a:lnTo>
                    <a:pt x="225" y="493"/>
                  </a:lnTo>
                  <a:lnTo>
                    <a:pt x="225" y="493"/>
                  </a:lnTo>
                  <a:lnTo>
                    <a:pt x="229" y="463"/>
                  </a:lnTo>
                  <a:lnTo>
                    <a:pt x="232" y="446"/>
                  </a:lnTo>
                  <a:lnTo>
                    <a:pt x="232" y="431"/>
                  </a:lnTo>
                  <a:lnTo>
                    <a:pt x="232" y="414"/>
                  </a:lnTo>
                  <a:lnTo>
                    <a:pt x="229" y="398"/>
                  </a:lnTo>
                  <a:lnTo>
                    <a:pt x="223" y="385"/>
                  </a:lnTo>
                  <a:lnTo>
                    <a:pt x="221" y="378"/>
                  </a:lnTo>
                  <a:lnTo>
                    <a:pt x="216" y="372"/>
                  </a:lnTo>
                  <a:lnTo>
                    <a:pt x="216" y="372"/>
                  </a:lnTo>
                  <a:lnTo>
                    <a:pt x="208" y="361"/>
                  </a:lnTo>
                  <a:lnTo>
                    <a:pt x="198" y="352"/>
                  </a:lnTo>
                  <a:lnTo>
                    <a:pt x="186" y="347"/>
                  </a:lnTo>
                  <a:lnTo>
                    <a:pt x="174" y="342"/>
                  </a:lnTo>
                  <a:lnTo>
                    <a:pt x="159" y="340"/>
                  </a:lnTo>
                  <a:lnTo>
                    <a:pt x="147" y="338"/>
                  </a:lnTo>
                  <a:lnTo>
                    <a:pt x="132" y="340"/>
                  </a:lnTo>
                  <a:lnTo>
                    <a:pt x="118" y="341"/>
                  </a:lnTo>
                  <a:lnTo>
                    <a:pt x="118" y="341"/>
                  </a:lnTo>
                  <a:lnTo>
                    <a:pt x="112" y="348"/>
                  </a:lnTo>
                  <a:lnTo>
                    <a:pt x="108" y="355"/>
                  </a:lnTo>
                  <a:lnTo>
                    <a:pt x="104" y="362"/>
                  </a:lnTo>
                  <a:lnTo>
                    <a:pt x="101" y="371"/>
                  </a:lnTo>
                  <a:lnTo>
                    <a:pt x="97" y="388"/>
                  </a:lnTo>
                  <a:lnTo>
                    <a:pt x="94" y="405"/>
                  </a:lnTo>
                  <a:lnTo>
                    <a:pt x="94" y="425"/>
                  </a:lnTo>
                  <a:lnTo>
                    <a:pt x="94" y="445"/>
                  </a:lnTo>
                  <a:lnTo>
                    <a:pt x="94" y="483"/>
                  </a:lnTo>
                  <a:lnTo>
                    <a:pt x="94" y="483"/>
                  </a:lnTo>
                  <a:lnTo>
                    <a:pt x="94" y="492"/>
                  </a:lnTo>
                  <a:lnTo>
                    <a:pt x="94" y="500"/>
                  </a:lnTo>
                  <a:lnTo>
                    <a:pt x="93" y="510"/>
                  </a:lnTo>
                  <a:lnTo>
                    <a:pt x="90" y="519"/>
                  </a:lnTo>
                  <a:lnTo>
                    <a:pt x="87" y="527"/>
                  </a:lnTo>
                  <a:lnTo>
                    <a:pt x="83" y="535"/>
                  </a:lnTo>
                  <a:lnTo>
                    <a:pt x="77" y="542"/>
                  </a:lnTo>
                  <a:lnTo>
                    <a:pt x="70" y="547"/>
                  </a:lnTo>
                  <a:lnTo>
                    <a:pt x="70" y="547"/>
                  </a:lnTo>
                  <a:lnTo>
                    <a:pt x="61" y="549"/>
                  </a:lnTo>
                  <a:lnTo>
                    <a:pt x="53" y="547"/>
                  </a:lnTo>
                  <a:lnTo>
                    <a:pt x="46" y="547"/>
                  </a:lnTo>
                  <a:lnTo>
                    <a:pt x="38" y="544"/>
                  </a:lnTo>
                  <a:lnTo>
                    <a:pt x="33" y="542"/>
                  </a:lnTo>
                  <a:lnTo>
                    <a:pt x="27" y="537"/>
                  </a:lnTo>
                  <a:lnTo>
                    <a:pt x="23" y="532"/>
                  </a:lnTo>
                  <a:lnTo>
                    <a:pt x="19" y="525"/>
                  </a:lnTo>
                  <a:lnTo>
                    <a:pt x="19" y="525"/>
                  </a:lnTo>
                  <a:lnTo>
                    <a:pt x="19" y="503"/>
                  </a:lnTo>
                  <a:lnTo>
                    <a:pt x="20" y="482"/>
                  </a:lnTo>
                  <a:lnTo>
                    <a:pt x="23" y="459"/>
                  </a:lnTo>
                  <a:lnTo>
                    <a:pt x="26" y="436"/>
                  </a:lnTo>
                  <a:lnTo>
                    <a:pt x="26" y="415"/>
                  </a:lnTo>
                  <a:lnTo>
                    <a:pt x="24" y="405"/>
                  </a:lnTo>
                  <a:lnTo>
                    <a:pt x="21" y="395"/>
                  </a:lnTo>
                  <a:lnTo>
                    <a:pt x="19" y="387"/>
                  </a:lnTo>
                  <a:lnTo>
                    <a:pt x="14" y="377"/>
                  </a:lnTo>
                  <a:lnTo>
                    <a:pt x="7" y="370"/>
                  </a:lnTo>
                  <a:lnTo>
                    <a:pt x="0" y="362"/>
                  </a:lnTo>
                  <a:lnTo>
                    <a:pt x="0" y="362"/>
                  </a:lnTo>
                  <a:lnTo>
                    <a:pt x="0" y="358"/>
                  </a:lnTo>
                  <a:lnTo>
                    <a:pt x="3" y="354"/>
                  </a:lnTo>
                  <a:lnTo>
                    <a:pt x="7" y="348"/>
                  </a:lnTo>
                  <a:lnTo>
                    <a:pt x="16" y="344"/>
                  </a:lnTo>
                  <a:lnTo>
                    <a:pt x="23" y="340"/>
                  </a:lnTo>
                  <a:lnTo>
                    <a:pt x="31" y="337"/>
                  </a:lnTo>
                  <a:lnTo>
                    <a:pt x="37" y="331"/>
                  </a:lnTo>
                  <a:lnTo>
                    <a:pt x="40" y="328"/>
                  </a:lnTo>
                  <a:lnTo>
                    <a:pt x="41" y="324"/>
                  </a:lnTo>
                  <a:lnTo>
                    <a:pt x="43" y="320"/>
                  </a:lnTo>
                  <a:lnTo>
                    <a:pt x="43" y="314"/>
                  </a:lnTo>
                  <a:lnTo>
                    <a:pt x="43" y="314"/>
                  </a:lnTo>
                  <a:lnTo>
                    <a:pt x="51" y="305"/>
                  </a:lnTo>
                  <a:lnTo>
                    <a:pt x="58" y="296"/>
                  </a:lnTo>
                  <a:lnTo>
                    <a:pt x="64" y="286"/>
                  </a:lnTo>
                  <a:lnTo>
                    <a:pt x="67" y="276"/>
                  </a:lnTo>
                  <a:lnTo>
                    <a:pt x="70" y="264"/>
                  </a:lnTo>
                  <a:lnTo>
                    <a:pt x="71" y="253"/>
                  </a:lnTo>
                  <a:lnTo>
                    <a:pt x="71" y="241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5" y="224"/>
                  </a:lnTo>
                  <a:lnTo>
                    <a:pt x="63" y="219"/>
                  </a:lnTo>
                  <a:lnTo>
                    <a:pt x="58" y="205"/>
                  </a:lnTo>
                  <a:lnTo>
                    <a:pt x="57" y="190"/>
                  </a:lnTo>
                  <a:lnTo>
                    <a:pt x="57" y="176"/>
                  </a:lnTo>
                  <a:lnTo>
                    <a:pt x="58" y="160"/>
                  </a:lnTo>
                  <a:lnTo>
                    <a:pt x="57" y="146"/>
                  </a:lnTo>
                  <a:lnTo>
                    <a:pt x="56" y="133"/>
                  </a:lnTo>
                  <a:lnTo>
                    <a:pt x="53" y="126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41" y="91"/>
                  </a:lnTo>
                  <a:lnTo>
                    <a:pt x="37" y="74"/>
                  </a:lnTo>
                  <a:lnTo>
                    <a:pt x="33" y="57"/>
                  </a:lnTo>
                  <a:lnTo>
                    <a:pt x="33" y="41"/>
                  </a:lnTo>
                  <a:lnTo>
                    <a:pt x="33" y="32"/>
                  </a:lnTo>
                  <a:lnTo>
                    <a:pt x="36" y="25"/>
                  </a:lnTo>
                  <a:lnTo>
                    <a:pt x="37" y="18"/>
                  </a:lnTo>
                  <a:lnTo>
                    <a:pt x="41" y="11"/>
                  </a:lnTo>
                  <a:lnTo>
                    <a:pt x="47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3"/>
                  </a:lnTo>
                  <a:lnTo>
                    <a:pt x="71" y="8"/>
                  </a:lnTo>
                  <a:lnTo>
                    <a:pt x="77" y="15"/>
                  </a:lnTo>
                  <a:lnTo>
                    <a:pt x="81" y="24"/>
                  </a:lnTo>
                  <a:lnTo>
                    <a:pt x="84" y="34"/>
                  </a:lnTo>
                  <a:lnTo>
                    <a:pt x="87" y="44"/>
                  </a:lnTo>
                  <a:lnTo>
                    <a:pt x="91" y="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1245"/>
            <p:cNvSpPr>
              <a:spLocks/>
            </p:cNvSpPr>
            <p:nvPr/>
          </p:nvSpPr>
          <p:spPr bwMode="auto">
            <a:xfrm>
              <a:off x="7126" y="2317"/>
              <a:ext cx="131" cy="511"/>
            </a:xfrm>
            <a:custGeom>
              <a:avLst/>
              <a:gdLst>
                <a:gd name="T0" fmla="*/ 15 w 131"/>
                <a:gd name="T1" fmla="*/ 7 h 511"/>
                <a:gd name="T2" fmla="*/ 3 w 131"/>
                <a:gd name="T3" fmla="*/ 17 h 511"/>
                <a:gd name="T4" fmla="*/ 0 w 131"/>
                <a:gd name="T5" fmla="*/ 32 h 511"/>
                <a:gd name="T6" fmla="*/ 2 w 131"/>
                <a:gd name="T7" fmla="*/ 63 h 511"/>
                <a:gd name="T8" fmla="*/ 10 w 131"/>
                <a:gd name="T9" fmla="*/ 77 h 511"/>
                <a:gd name="T10" fmla="*/ 22 w 131"/>
                <a:gd name="T11" fmla="*/ 110 h 511"/>
                <a:gd name="T12" fmla="*/ 27 w 131"/>
                <a:gd name="T13" fmla="*/ 143 h 511"/>
                <a:gd name="T14" fmla="*/ 32 w 131"/>
                <a:gd name="T15" fmla="*/ 195 h 511"/>
                <a:gd name="T16" fmla="*/ 36 w 131"/>
                <a:gd name="T17" fmla="*/ 301 h 511"/>
                <a:gd name="T18" fmla="*/ 39 w 131"/>
                <a:gd name="T19" fmla="*/ 335 h 511"/>
                <a:gd name="T20" fmla="*/ 46 w 131"/>
                <a:gd name="T21" fmla="*/ 352 h 511"/>
                <a:gd name="T22" fmla="*/ 43 w 131"/>
                <a:gd name="T23" fmla="*/ 369 h 511"/>
                <a:gd name="T24" fmla="*/ 39 w 131"/>
                <a:gd name="T25" fmla="*/ 387 h 511"/>
                <a:gd name="T26" fmla="*/ 39 w 131"/>
                <a:gd name="T27" fmla="*/ 407 h 511"/>
                <a:gd name="T28" fmla="*/ 43 w 131"/>
                <a:gd name="T29" fmla="*/ 416 h 511"/>
                <a:gd name="T30" fmla="*/ 46 w 131"/>
                <a:gd name="T31" fmla="*/ 436 h 511"/>
                <a:gd name="T32" fmla="*/ 46 w 131"/>
                <a:gd name="T33" fmla="*/ 467 h 511"/>
                <a:gd name="T34" fmla="*/ 47 w 131"/>
                <a:gd name="T35" fmla="*/ 487 h 511"/>
                <a:gd name="T36" fmla="*/ 53 w 131"/>
                <a:gd name="T37" fmla="*/ 494 h 511"/>
                <a:gd name="T38" fmla="*/ 66 w 131"/>
                <a:gd name="T39" fmla="*/ 505 h 511"/>
                <a:gd name="T40" fmla="*/ 83 w 131"/>
                <a:gd name="T41" fmla="*/ 511 h 511"/>
                <a:gd name="T42" fmla="*/ 103 w 131"/>
                <a:gd name="T43" fmla="*/ 511 h 511"/>
                <a:gd name="T44" fmla="*/ 113 w 131"/>
                <a:gd name="T45" fmla="*/ 508 h 511"/>
                <a:gd name="T46" fmla="*/ 124 w 131"/>
                <a:gd name="T47" fmla="*/ 501 h 511"/>
                <a:gd name="T48" fmla="*/ 130 w 131"/>
                <a:gd name="T49" fmla="*/ 491 h 511"/>
                <a:gd name="T50" fmla="*/ 131 w 131"/>
                <a:gd name="T51" fmla="*/ 480 h 511"/>
                <a:gd name="T52" fmla="*/ 126 w 131"/>
                <a:gd name="T53" fmla="*/ 453 h 511"/>
                <a:gd name="T54" fmla="*/ 118 w 131"/>
                <a:gd name="T55" fmla="*/ 426 h 511"/>
                <a:gd name="T56" fmla="*/ 117 w 131"/>
                <a:gd name="T57" fmla="*/ 413 h 511"/>
                <a:gd name="T58" fmla="*/ 116 w 131"/>
                <a:gd name="T59" fmla="*/ 384 h 511"/>
                <a:gd name="T60" fmla="*/ 121 w 131"/>
                <a:gd name="T61" fmla="*/ 299 h 511"/>
                <a:gd name="T62" fmla="*/ 123 w 131"/>
                <a:gd name="T63" fmla="*/ 256 h 511"/>
                <a:gd name="T64" fmla="*/ 118 w 131"/>
                <a:gd name="T65" fmla="*/ 229 h 511"/>
                <a:gd name="T66" fmla="*/ 110 w 131"/>
                <a:gd name="T67" fmla="*/ 204 h 511"/>
                <a:gd name="T68" fmla="*/ 104 w 131"/>
                <a:gd name="T69" fmla="*/ 191 h 511"/>
                <a:gd name="T70" fmla="*/ 97 w 131"/>
                <a:gd name="T71" fmla="*/ 145 h 511"/>
                <a:gd name="T72" fmla="*/ 80 w 131"/>
                <a:gd name="T73" fmla="*/ 81 h 511"/>
                <a:gd name="T74" fmla="*/ 73 w 131"/>
                <a:gd name="T75" fmla="*/ 37 h 511"/>
                <a:gd name="T76" fmla="*/ 73 w 131"/>
                <a:gd name="T77" fmla="*/ 16 h 511"/>
                <a:gd name="T78" fmla="*/ 62 w 131"/>
                <a:gd name="T79" fmla="*/ 3 h 511"/>
                <a:gd name="T80" fmla="*/ 47 w 131"/>
                <a:gd name="T81" fmla="*/ 0 h 511"/>
                <a:gd name="T82" fmla="*/ 30 w 131"/>
                <a:gd name="T83" fmla="*/ 2 h 511"/>
                <a:gd name="T84" fmla="*/ 15 w 131"/>
                <a:gd name="T85" fmla="*/ 7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" h="511">
                  <a:moveTo>
                    <a:pt x="15" y="7"/>
                  </a:moveTo>
                  <a:lnTo>
                    <a:pt x="15" y="7"/>
                  </a:lnTo>
                  <a:lnTo>
                    <a:pt x="9" y="12"/>
                  </a:lnTo>
                  <a:lnTo>
                    <a:pt x="3" y="17"/>
                  </a:lnTo>
                  <a:lnTo>
                    <a:pt x="2" y="23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10" y="77"/>
                  </a:lnTo>
                  <a:lnTo>
                    <a:pt x="16" y="93"/>
                  </a:lnTo>
                  <a:lnTo>
                    <a:pt x="22" y="110"/>
                  </a:lnTo>
                  <a:lnTo>
                    <a:pt x="25" y="126"/>
                  </a:lnTo>
                  <a:lnTo>
                    <a:pt x="27" y="143"/>
                  </a:lnTo>
                  <a:lnTo>
                    <a:pt x="30" y="160"/>
                  </a:lnTo>
                  <a:lnTo>
                    <a:pt x="32" y="195"/>
                  </a:lnTo>
                  <a:lnTo>
                    <a:pt x="33" y="266"/>
                  </a:lnTo>
                  <a:lnTo>
                    <a:pt x="36" y="301"/>
                  </a:lnTo>
                  <a:lnTo>
                    <a:pt x="39" y="335"/>
                  </a:lnTo>
                  <a:lnTo>
                    <a:pt x="39" y="335"/>
                  </a:lnTo>
                  <a:lnTo>
                    <a:pt x="44" y="343"/>
                  </a:lnTo>
                  <a:lnTo>
                    <a:pt x="46" y="352"/>
                  </a:lnTo>
                  <a:lnTo>
                    <a:pt x="46" y="360"/>
                  </a:lnTo>
                  <a:lnTo>
                    <a:pt x="43" y="369"/>
                  </a:lnTo>
                  <a:lnTo>
                    <a:pt x="40" y="377"/>
                  </a:lnTo>
                  <a:lnTo>
                    <a:pt x="39" y="387"/>
                  </a:lnTo>
                  <a:lnTo>
                    <a:pt x="37" y="39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43" y="416"/>
                  </a:lnTo>
                  <a:lnTo>
                    <a:pt x="44" y="426"/>
                  </a:lnTo>
                  <a:lnTo>
                    <a:pt x="46" y="436"/>
                  </a:lnTo>
                  <a:lnTo>
                    <a:pt x="46" y="446"/>
                  </a:lnTo>
                  <a:lnTo>
                    <a:pt x="46" y="467"/>
                  </a:lnTo>
                  <a:lnTo>
                    <a:pt x="46" y="477"/>
                  </a:lnTo>
                  <a:lnTo>
                    <a:pt x="47" y="487"/>
                  </a:lnTo>
                  <a:lnTo>
                    <a:pt x="47" y="487"/>
                  </a:lnTo>
                  <a:lnTo>
                    <a:pt x="53" y="494"/>
                  </a:lnTo>
                  <a:lnTo>
                    <a:pt x="59" y="501"/>
                  </a:lnTo>
                  <a:lnTo>
                    <a:pt x="66" y="505"/>
                  </a:lnTo>
                  <a:lnTo>
                    <a:pt x="74" y="510"/>
                  </a:lnTo>
                  <a:lnTo>
                    <a:pt x="83" y="511"/>
                  </a:lnTo>
                  <a:lnTo>
                    <a:pt x="93" y="511"/>
                  </a:lnTo>
                  <a:lnTo>
                    <a:pt x="103" y="511"/>
                  </a:lnTo>
                  <a:lnTo>
                    <a:pt x="113" y="508"/>
                  </a:lnTo>
                  <a:lnTo>
                    <a:pt x="113" y="508"/>
                  </a:lnTo>
                  <a:lnTo>
                    <a:pt x="118" y="505"/>
                  </a:lnTo>
                  <a:lnTo>
                    <a:pt x="124" y="501"/>
                  </a:lnTo>
                  <a:lnTo>
                    <a:pt x="127" y="497"/>
                  </a:lnTo>
                  <a:lnTo>
                    <a:pt x="130" y="491"/>
                  </a:lnTo>
                  <a:lnTo>
                    <a:pt x="131" y="485"/>
                  </a:lnTo>
                  <a:lnTo>
                    <a:pt x="131" y="480"/>
                  </a:lnTo>
                  <a:lnTo>
                    <a:pt x="130" y="467"/>
                  </a:lnTo>
                  <a:lnTo>
                    <a:pt x="126" y="453"/>
                  </a:lnTo>
                  <a:lnTo>
                    <a:pt x="123" y="439"/>
                  </a:lnTo>
                  <a:lnTo>
                    <a:pt x="118" y="426"/>
                  </a:lnTo>
                  <a:lnTo>
                    <a:pt x="117" y="413"/>
                  </a:lnTo>
                  <a:lnTo>
                    <a:pt x="117" y="413"/>
                  </a:lnTo>
                  <a:lnTo>
                    <a:pt x="116" y="399"/>
                  </a:lnTo>
                  <a:lnTo>
                    <a:pt x="116" y="384"/>
                  </a:lnTo>
                  <a:lnTo>
                    <a:pt x="117" y="356"/>
                  </a:lnTo>
                  <a:lnTo>
                    <a:pt x="121" y="299"/>
                  </a:lnTo>
                  <a:lnTo>
                    <a:pt x="123" y="271"/>
                  </a:lnTo>
                  <a:lnTo>
                    <a:pt x="123" y="256"/>
                  </a:lnTo>
                  <a:lnTo>
                    <a:pt x="121" y="244"/>
                  </a:lnTo>
                  <a:lnTo>
                    <a:pt x="118" y="229"/>
                  </a:lnTo>
                  <a:lnTo>
                    <a:pt x="116" y="217"/>
                  </a:lnTo>
                  <a:lnTo>
                    <a:pt x="110" y="204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1" y="168"/>
                  </a:lnTo>
                  <a:lnTo>
                    <a:pt x="97" y="145"/>
                  </a:lnTo>
                  <a:lnTo>
                    <a:pt x="86" y="103"/>
                  </a:lnTo>
                  <a:lnTo>
                    <a:pt x="80" y="81"/>
                  </a:lnTo>
                  <a:lnTo>
                    <a:pt x="76" y="60"/>
                  </a:lnTo>
                  <a:lnTo>
                    <a:pt x="73" y="37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67" y="9"/>
                  </a:lnTo>
                  <a:lnTo>
                    <a:pt x="62" y="3"/>
                  </a:lnTo>
                  <a:lnTo>
                    <a:pt x="54" y="2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0" y="2"/>
                  </a:lnTo>
                  <a:lnTo>
                    <a:pt x="22" y="5"/>
                  </a:lnTo>
                  <a:lnTo>
                    <a:pt x="15" y="7"/>
                  </a:lnTo>
                  <a:lnTo>
                    <a:pt x="15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1246"/>
            <p:cNvSpPr>
              <a:spLocks/>
            </p:cNvSpPr>
            <p:nvPr/>
          </p:nvSpPr>
          <p:spPr bwMode="auto">
            <a:xfrm>
              <a:off x="6983" y="2462"/>
              <a:ext cx="57" cy="35"/>
            </a:xfrm>
            <a:custGeom>
              <a:avLst/>
              <a:gdLst>
                <a:gd name="T0" fmla="*/ 0 w 57"/>
                <a:gd name="T1" fmla="*/ 28 h 35"/>
                <a:gd name="T2" fmla="*/ 0 w 57"/>
                <a:gd name="T3" fmla="*/ 28 h 35"/>
                <a:gd name="T4" fmla="*/ 10 w 57"/>
                <a:gd name="T5" fmla="*/ 30 h 35"/>
                <a:gd name="T6" fmla="*/ 18 w 57"/>
                <a:gd name="T7" fmla="*/ 33 h 35"/>
                <a:gd name="T8" fmla="*/ 28 w 57"/>
                <a:gd name="T9" fmla="*/ 35 h 35"/>
                <a:gd name="T10" fmla="*/ 38 w 57"/>
                <a:gd name="T11" fmla="*/ 32 h 35"/>
                <a:gd name="T12" fmla="*/ 38 w 57"/>
                <a:gd name="T13" fmla="*/ 32 h 35"/>
                <a:gd name="T14" fmla="*/ 45 w 57"/>
                <a:gd name="T15" fmla="*/ 28 h 35"/>
                <a:gd name="T16" fmla="*/ 52 w 57"/>
                <a:gd name="T17" fmla="*/ 19 h 35"/>
                <a:gd name="T18" fmla="*/ 55 w 57"/>
                <a:gd name="T19" fmla="*/ 15 h 35"/>
                <a:gd name="T20" fmla="*/ 57 w 57"/>
                <a:gd name="T21" fmla="*/ 10 h 35"/>
                <a:gd name="T22" fmla="*/ 55 w 57"/>
                <a:gd name="T23" fmla="*/ 5 h 35"/>
                <a:gd name="T24" fmla="*/ 54 w 57"/>
                <a:gd name="T25" fmla="*/ 0 h 35"/>
                <a:gd name="T26" fmla="*/ 54 w 57"/>
                <a:gd name="T27" fmla="*/ 0 h 35"/>
                <a:gd name="T28" fmla="*/ 37 w 57"/>
                <a:gd name="T29" fmla="*/ 2 h 35"/>
                <a:gd name="T30" fmla="*/ 30 w 57"/>
                <a:gd name="T31" fmla="*/ 3 h 35"/>
                <a:gd name="T32" fmla="*/ 21 w 57"/>
                <a:gd name="T33" fmla="*/ 6 h 35"/>
                <a:gd name="T34" fmla="*/ 14 w 57"/>
                <a:gd name="T35" fmla="*/ 9 h 35"/>
                <a:gd name="T36" fmla="*/ 8 w 57"/>
                <a:gd name="T37" fmla="*/ 13 h 35"/>
                <a:gd name="T38" fmla="*/ 4 w 57"/>
                <a:gd name="T39" fmla="*/ 19 h 35"/>
                <a:gd name="T40" fmla="*/ 0 w 57"/>
                <a:gd name="T41" fmla="*/ 28 h 35"/>
                <a:gd name="T42" fmla="*/ 0 w 57"/>
                <a:gd name="T43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5">
                  <a:moveTo>
                    <a:pt x="0" y="28"/>
                  </a:moveTo>
                  <a:lnTo>
                    <a:pt x="0" y="28"/>
                  </a:lnTo>
                  <a:lnTo>
                    <a:pt x="10" y="30"/>
                  </a:lnTo>
                  <a:lnTo>
                    <a:pt x="18" y="33"/>
                  </a:lnTo>
                  <a:lnTo>
                    <a:pt x="28" y="35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5" y="28"/>
                  </a:lnTo>
                  <a:lnTo>
                    <a:pt x="52" y="19"/>
                  </a:lnTo>
                  <a:lnTo>
                    <a:pt x="55" y="15"/>
                  </a:lnTo>
                  <a:lnTo>
                    <a:pt x="57" y="10"/>
                  </a:lnTo>
                  <a:lnTo>
                    <a:pt x="55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8" y="13"/>
                  </a:lnTo>
                  <a:lnTo>
                    <a:pt x="4" y="19"/>
                  </a:lnTo>
                  <a:lnTo>
                    <a:pt x="0" y="28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1247"/>
            <p:cNvSpPr>
              <a:spLocks/>
            </p:cNvSpPr>
            <p:nvPr/>
          </p:nvSpPr>
          <p:spPr bwMode="auto">
            <a:xfrm>
              <a:off x="6205" y="2532"/>
              <a:ext cx="251" cy="340"/>
            </a:xfrm>
            <a:custGeom>
              <a:avLst/>
              <a:gdLst>
                <a:gd name="T0" fmla="*/ 207 w 251"/>
                <a:gd name="T1" fmla="*/ 6 h 340"/>
                <a:gd name="T2" fmla="*/ 180 w 251"/>
                <a:gd name="T3" fmla="*/ 2 h 340"/>
                <a:gd name="T4" fmla="*/ 156 w 251"/>
                <a:gd name="T5" fmla="*/ 2 h 340"/>
                <a:gd name="T6" fmla="*/ 133 w 251"/>
                <a:gd name="T7" fmla="*/ 6 h 340"/>
                <a:gd name="T8" fmla="*/ 110 w 251"/>
                <a:gd name="T9" fmla="*/ 16 h 340"/>
                <a:gd name="T10" fmla="*/ 69 w 251"/>
                <a:gd name="T11" fmla="*/ 39 h 340"/>
                <a:gd name="T12" fmla="*/ 28 w 251"/>
                <a:gd name="T13" fmla="*/ 64 h 340"/>
                <a:gd name="T14" fmla="*/ 21 w 251"/>
                <a:gd name="T15" fmla="*/ 73 h 340"/>
                <a:gd name="T16" fmla="*/ 9 w 251"/>
                <a:gd name="T17" fmla="*/ 88 h 340"/>
                <a:gd name="T18" fmla="*/ 4 w 251"/>
                <a:gd name="T19" fmla="*/ 107 h 340"/>
                <a:gd name="T20" fmla="*/ 0 w 251"/>
                <a:gd name="T21" fmla="*/ 137 h 340"/>
                <a:gd name="T22" fmla="*/ 1 w 251"/>
                <a:gd name="T23" fmla="*/ 181 h 340"/>
                <a:gd name="T24" fmla="*/ 2 w 251"/>
                <a:gd name="T25" fmla="*/ 224 h 340"/>
                <a:gd name="T26" fmla="*/ 5 w 251"/>
                <a:gd name="T27" fmla="*/ 235 h 340"/>
                <a:gd name="T28" fmla="*/ 7 w 251"/>
                <a:gd name="T29" fmla="*/ 273 h 340"/>
                <a:gd name="T30" fmla="*/ 11 w 251"/>
                <a:gd name="T31" fmla="*/ 296 h 340"/>
                <a:gd name="T32" fmla="*/ 19 w 251"/>
                <a:gd name="T33" fmla="*/ 312 h 340"/>
                <a:gd name="T34" fmla="*/ 24 w 251"/>
                <a:gd name="T35" fmla="*/ 317 h 340"/>
                <a:gd name="T36" fmla="*/ 42 w 251"/>
                <a:gd name="T37" fmla="*/ 327 h 340"/>
                <a:gd name="T38" fmla="*/ 62 w 251"/>
                <a:gd name="T39" fmla="*/ 334 h 340"/>
                <a:gd name="T40" fmla="*/ 106 w 251"/>
                <a:gd name="T41" fmla="*/ 340 h 340"/>
                <a:gd name="T42" fmla="*/ 153 w 251"/>
                <a:gd name="T43" fmla="*/ 339 h 340"/>
                <a:gd name="T44" fmla="*/ 197 w 251"/>
                <a:gd name="T45" fmla="*/ 332 h 340"/>
                <a:gd name="T46" fmla="*/ 211 w 251"/>
                <a:gd name="T47" fmla="*/ 327 h 340"/>
                <a:gd name="T48" fmla="*/ 237 w 251"/>
                <a:gd name="T49" fmla="*/ 313 h 340"/>
                <a:gd name="T50" fmla="*/ 248 w 251"/>
                <a:gd name="T51" fmla="*/ 305 h 340"/>
                <a:gd name="T52" fmla="*/ 251 w 251"/>
                <a:gd name="T53" fmla="*/ 293 h 340"/>
                <a:gd name="T54" fmla="*/ 247 w 251"/>
                <a:gd name="T55" fmla="*/ 285 h 340"/>
                <a:gd name="T56" fmla="*/ 244 w 251"/>
                <a:gd name="T57" fmla="*/ 283 h 340"/>
                <a:gd name="T58" fmla="*/ 207 w 251"/>
                <a:gd name="T59" fmla="*/ 285 h 340"/>
                <a:gd name="T60" fmla="*/ 173 w 251"/>
                <a:gd name="T61" fmla="*/ 293 h 340"/>
                <a:gd name="T62" fmla="*/ 162 w 251"/>
                <a:gd name="T63" fmla="*/ 296 h 340"/>
                <a:gd name="T64" fmla="*/ 139 w 251"/>
                <a:gd name="T65" fmla="*/ 296 h 340"/>
                <a:gd name="T66" fmla="*/ 118 w 251"/>
                <a:gd name="T67" fmla="*/ 292 h 340"/>
                <a:gd name="T68" fmla="*/ 98 w 251"/>
                <a:gd name="T69" fmla="*/ 283 h 340"/>
                <a:gd name="T70" fmla="*/ 88 w 251"/>
                <a:gd name="T71" fmla="*/ 278 h 340"/>
                <a:gd name="T72" fmla="*/ 78 w 251"/>
                <a:gd name="T73" fmla="*/ 259 h 340"/>
                <a:gd name="T74" fmla="*/ 75 w 251"/>
                <a:gd name="T75" fmla="*/ 243 h 340"/>
                <a:gd name="T76" fmla="*/ 76 w 251"/>
                <a:gd name="T77" fmla="*/ 238 h 340"/>
                <a:gd name="T78" fmla="*/ 75 w 251"/>
                <a:gd name="T79" fmla="*/ 194 h 340"/>
                <a:gd name="T80" fmla="*/ 72 w 251"/>
                <a:gd name="T81" fmla="*/ 148 h 340"/>
                <a:gd name="T82" fmla="*/ 74 w 251"/>
                <a:gd name="T83" fmla="*/ 115 h 340"/>
                <a:gd name="T84" fmla="*/ 79 w 251"/>
                <a:gd name="T85" fmla="*/ 95 h 340"/>
                <a:gd name="T86" fmla="*/ 89 w 251"/>
                <a:gd name="T87" fmla="*/ 77 h 340"/>
                <a:gd name="T88" fmla="*/ 96 w 251"/>
                <a:gd name="T89" fmla="*/ 68 h 340"/>
                <a:gd name="T90" fmla="*/ 103 w 251"/>
                <a:gd name="T91" fmla="*/ 60 h 340"/>
                <a:gd name="T92" fmla="*/ 123 w 251"/>
                <a:gd name="T93" fmla="*/ 51 h 340"/>
                <a:gd name="T94" fmla="*/ 145 w 251"/>
                <a:gd name="T95" fmla="*/ 47 h 340"/>
                <a:gd name="T96" fmla="*/ 166 w 251"/>
                <a:gd name="T97" fmla="*/ 39 h 340"/>
                <a:gd name="T98" fmla="*/ 173 w 251"/>
                <a:gd name="T99" fmla="*/ 31 h 340"/>
                <a:gd name="T100" fmla="*/ 179 w 251"/>
                <a:gd name="T101" fmla="*/ 29 h 340"/>
                <a:gd name="T102" fmla="*/ 199 w 251"/>
                <a:gd name="T103" fmla="*/ 31 h 340"/>
                <a:gd name="T104" fmla="*/ 209 w 251"/>
                <a:gd name="T105" fmla="*/ 30 h 340"/>
                <a:gd name="T106" fmla="*/ 213 w 251"/>
                <a:gd name="T107" fmla="*/ 27 h 340"/>
                <a:gd name="T108" fmla="*/ 207 w 251"/>
                <a:gd name="T109" fmla="*/ 6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1" h="340">
                  <a:moveTo>
                    <a:pt x="207" y="6"/>
                  </a:moveTo>
                  <a:lnTo>
                    <a:pt x="207" y="6"/>
                  </a:lnTo>
                  <a:lnTo>
                    <a:pt x="193" y="3"/>
                  </a:lnTo>
                  <a:lnTo>
                    <a:pt x="180" y="2"/>
                  </a:lnTo>
                  <a:lnTo>
                    <a:pt x="167" y="0"/>
                  </a:lnTo>
                  <a:lnTo>
                    <a:pt x="156" y="2"/>
                  </a:lnTo>
                  <a:lnTo>
                    <a:pt x="145" y="3"/>
                  </a:lnTo>
                  <a:lnTo>
                    <a:pt x="133" y="6"/>
                  </a:lnTo>
                  <a:lnTo>
                    <a:pt x="122" y="10"/>
                  </a:lnTo>
                  <a:lnTo>
                    <a:pt x="110" y="16"/>
                  </a:lnTo>
                  <a:lnTo>
                    <a:pt x="89" y="26"/>
                  </a:lnTo>
                  <a:lnTo>
                    <a:pt x="69" y="39"/>
                  </a:lnTo>
                  <a:lnTo>
                    <a:pt x="49" y="5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1" y="73"/>
                  </a:lnTo>
                  <a:lnTo>
                    <a:pt x="15" y="80"/>
                  </a:lnTo>
                  <a:lnTo>
                    <a:pt x="9" y="88"/>
                  </a:lnTo>
                  <a:lnTo>
                    <a:pt x="7" y="98"/>
                  </a:lnTo>
                  <a:lnTo>
                    <a:pt x="4" y="107"/>
                  </a:lnTo>
                  <a:lnTo>
                    <a:pt x="1" y="117"/>
                  </a:lnTo>
                  <a:lnTo>
                    <a:pt x="0" y="137"/>
                  </a:lnTo>
                  <a:lnTo>
                    <a:pt x="1" y="158"/>
                  </a:lnTo>
                  <a:lnTo>
                    <a:pt x="1" y="181"/>
                  </a:lnTo>
                  <a:lnTo>
                    <a:pt x="2" y="202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5" y="235"/>
                  </a:lnTo>
                  <a:lnTo>
                    <a:pt x="7" y="248"/>
                  </a:lnTo>
                  <a:lnTo>
                    <a:pt x="7" y="273"/>
                  </a:lnTo>
                  <a:lnTo>
                    <a:pt x="8" y="285"/>
                  </a:lnTo>
                  <a:lnTo>
                    <a:pt x="11" y="296"/>
                  </a:lnTo>
                  <a:lnTo>
                    <a:pt x="15" y="307"/>
                  </a:lnTo>
                  <a:lnTo>
                    <a:pt x="19" y="312"/>
                  </a:lnTo>
                  <a:lnTo>
                    <a:pt x="24" y="317"/>
                  </a:lnTo>
                  <a:lnTo>
                    <a:pt x="24" y="317"/>
                  </a:lnTo>
                  <a:lnTo>
                    <a:pt x="32" y="323"/>
                  </a:lnTo>
                  <a:lnTo>
                    <a:pt x="42" y="327"/>
                  </a:lnTo>
                  <a:lnTo>
                    <a:pt x="51" y="332"/>
                  </a:lnTo>
                  <a:lnTo>
                    <a:pt x="62" y="334"/>
                  </a:lnTo>
                  <a:lnTo>
                    <a:pt x="83" y="339"/>
                  </a:lnTo>
                  <a:lnTo>
                    <a:pt x="106" y="340"/>
                  </a:lnTo>
                  <a:lnTo>
                    <a:pt x="130" y="340"/>
                  </a:lnTo>
                  <a:lnTo>
                    <a:pt x="153" y="339"/>
                  </a:lnTo>
                  <a:lnTo>
                    <a:pt x="176" y="336"/>
                  </a:lnTo>
                  <a:lnTo>
                    <a:pt x="197" y="332"/>
                  </a:lnTo>
                  <a:lnTo>
                    <a:pt x="197" y="332"/>
                  </a:lnTo>
                  <a:lnTo>
                    <a:pt x="211" y="327"/>
                  </a:lnTo>
                  <a:lnTo>
                    <a:pt x="224" y="320"/>
                  </a:lnTo>
                  <a:lnTo>
                    <a:pt x="237" y="313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51" y="299"/>
                  </a:lnTo>
                  <a:lnTo>
                    <a:pt x="251" y="293"/>
                  </a:lnTo>
                  <a:lnTo>
                    <a:pt x="250" y="288"/>
                  </a:lnTo>
                  <a:lnTo>
                    <a:pt x="247" y="285"/>
                  </a:lnTo>
                  <a:lnTo>
                    <a:pt x="244" y="283"/>
                  </a:lnTo>
                  <a:lnTo>
                    <a:pt x="244" y="283"/>
                  </a:lnTo>
                  <a:lnTo>
                    <a:pt x="226" y="283"/>
                  </a:lnTo>
                  <a:lnTo>
                    <a:pt x="207" y="285"/>
                  </a:lnTo>
                  <a:lnTo>
                    <a:pt x="190" y="288"/>
                  </a:lnTo>
                  <a:lnTo>
                    <a:pt x="173" y="293"/>
                  </a:lnTo>
                  <a:lnTo>
                    <a:pt x="173" y="293"/>
                  </a:lnTo>
                  <a:lnTo>
                    <a:pt x="162" y="296"/>
                  </a:lnTo>
                  <a:lnTo>
                    <a:pt x="150" y="296"/>
                  </a:lnTo>
                  <a:lnTo>
                    <a:pt x="139" y="296"/>
                  </a:lnTo>
                  <a:lnTo>
                    <a:pt x="128" y="295"/>
                  </a:lnTo>
                  <a:lnTo>
                    <a:pt x="118" y="292"/>
                  </a:lnTo>
                  <a:lnTo>
                    <a:pt x="108" y="288"/>
                  </a:lnTo>
                  <a:lnTo>
                    <a:pt x="98" y="283"/>
                  </a:lnTo>
                  <a:lnTo>
                    <a:pt x="88" y="278"/>
                  </a:lnTo>
                  <a:lnTo>
                    <a:pt x="88" y="278"/>
                  </a:lnTo>
                  <a:lnTo>
                    <a:pt x="82" y="269"/>
                  </a:lnTo>
                  <a:lnTo>
                    <a:pt x="78" y="259"/>
                  </a:lnTo>
                  <a:lnTo>
                    <a:pt x="75" y="249"/>
                  </a:lnTo>
                  <a:lnTo>
                    <a:pt x="75" y="243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6" y="216"/>
                  </a:lnTo>
                  <a:lnTo>
                    <a:pt x="75" y="194"/>
                  </a:lnTo>
                  <a:lnTo>
                    <a:pt x="74" y="171"/>
                  </a:lnTo>
                  <a:lnTo>
                    <a:pt x="72" y="148"/>
                  </a:lnTo>
                  <a:lnTo>
                    <a:pt x="74" y="125"/>
                  </a:lnTo>
                  <a:lnTo>
                    <a:pt x="74" y="115"/>
                  </a:lnTo>
                  <a:lnTo>
                    <a:pt x="76" y="105"/>
                  </a:lnTo>
                  <a:lnTo>
                    <a:pt x="79" y="95"/>
                  </a:lnTo>
                  <a:lnTo>
                    <a:pt x="83" y="86"/>
                  </a:lnTo>
                  <a:lnTo>
                    <a:pt x="89" y="77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101" y="64"/>
                  </a:lnTo>
                  <a:lnTo>
                    <a:pt x="103" y="60"/>
                  </a:lnTo>
                  <a:lnTo>
                    <a:pt x="113" y="54"/>
                  </a:lnTo>
                  <a:lnTo>
                    <a:pt x="123" y="51"/>
                  </a:lnTo>
                  <a:lnTo>
                    <a:pt x="135" y="49"/>
                  </a:lnTo>
                  <a:lnTo>
                    <a:pt x="145" y="47"/>
                  </a:lnTo>
                  <a:lnTo>
                    <a:pt x="156" y="44"/>
                  </a:lnTo>
                  <a:lnTo>
                    <a:pt x="166" y="39"/>
                  </a:lnTo>
                  <a:lnTo>
                    <a:pt x="170" y="36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9" y="29"/>
                  </a:lnTo>
                  <a:lnTo>
                    <a:pt x="186" y="29"/>
                  </a:lnTo>
                  <a:lnTo>
                    <a:pt x="199" y="31"/>
                  </a:lnTo>
                  <a:lnTo>
                    <a:pt x="204" y="31"/>
                  </a:lnTo>
                  <a:lnTo>
                    <a:pt x="209" y="30"/>
                  </a:lnTo>
                  <a:lnTo>
                    <a:pt x="211" y="29"/>
                  </a:lnTo>
                  <a:lnTo>
                    <a:pt x="213" y="27"/>
                  </a:lnTo>
                  <a:lnTo>
                    <a:pt x="213" y="19"/>
                  </a:lnTo>
                  <a:lnTo>
                    <a:pt x="207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" name="Freeform 1248"/>
            <p:cNvSpPr>
              <a:spLocks/>
            </p:cNvSpPr>
            <p:nvPr/>
          </p:nvSpPr>
          <p:spPr bwMode="auto">
            <a:xfrm>
              <a:off x="6930" y="2569"/>
              <a:ext cx="110" cy="295"/>
            </a:xfrm>
            <a:custGeom>
              <a:avLst/>
              <a:gdLst>
                <a:gd name="T0" fmla="*/ 73 w 110"/>
                <a:gd name="T1" fmla="*/ 0 h 295"/>
                <a:gd name="T2" fmla="*/ 73 w 110"/>
                <a:gd name="T3" fmla="*/ 0 h 295"/>
                <a:gd name="T4" fmla="*/ 67 w 110"/>
                <a:gd name="T5" fmla="*/ 2 h 295"/>
                <a:gd name="T6" fmla="*/ 61 w 110"/>
                <a:gd name="T7" fmla="*/ 4 h 295"/>
                <a:gd name="T8" fmla="*/ 57 w 110"/>
                <a:gd name="T9" fmla="*/ 7 h 295"/>
                <a:gd name="T10" fmla="*/ 54 w 110"/>
                <a:gd name="T11" fmla="*/ 12 h 295"/>
                <a:gd name="T12" fmla="*/ 48 w 110"/>
                <a:gd name="T13" fmla="*/ 20 h 295"/>
                <a:gd name="T14" fmla="*/ 43 w 110"/>
                <a:gd name="T15" fmla="*/ 30 h 295"/>
                <a:gd name="T16" fmla="*/ 43 w 110"/>
                <a:gd name="T17" fmla="*/ 30 h 295"/>
                <a:gd name="T18" fmla="*/ 44 w 110"/>
                <a:gd name="T19" fmla="*/ 57 h 295"/>
                <a:gd name="T20" fmla="*/ 41 w 110"/>
                <a:gd name="T21" fmla="*/ 83 h 295"/>
                <a:gd name="T22" fmla="*/ 37 w 110"/>
                <a:gd name="T23" fmla="*/ 108 h 295"/>
                <a:gd name="T24" fmla="*/ 33 w 110"/>
                <a:gd name="T25" fmla="*/ 132 h 295"/>
                <a:gd name="T26" fmla="*/ 26 w 110"/>
                <a:gd name="T27" fmla="*/ 157 h 295"/>
                <a:gd name="T28" fmla="*/ 17 w 110"/>
                <a:gd name="T29" fmla="*/ 181 h 295"/>
                <a:gd name="T30" fmla="*/ 0 w 110"/>
                <a:gd name="T31" fmla="*/ 225 h 295"/>
                <a:gd name="T32" fmla="*/ 0 w 110"/>
                <a:gd name="T33" fmla="*/ 225 h 295"/>
                <a:gd name="T34" fmla="*/ 3 w 110"/>
                <a:gd name="T35" fmla="*/ 245 h 295"/>
                <a:gd name="T36" fmla="*/ 7 w 110"/>
                <a:gd name="T37" fmla="*/ 265 h 295"/>
                <a:gd name="T38" fmla="*/ 11 w 110"/>
                <a:gd name="T39" fmla="*/ 273 h 295"/>
                <a:gd name="T40" fmla="*/ 16 w 110"/>
                <a:gd name="T41" fmla="*/ 280 h 295"/>
                <a:gd name="T42" fmla="*/ 21 w 110"/>
                <a:gd name="T43" fmla="*/ 288 h 295"/>
                <a:gd name="T44" fmla="*/ 28 w 110"/>
                <a:gd name="T45" fmla="*/ 292 h 295"/>
                <a:gd name="T46" fmla="*/ 28 w 110"/>
                <a:gd name="T47" fmla="*/ 292 h 295"/>
                <a:gd name="T48" fmla="*/ 36 w 110"/>
                <a:gd name="T49" fmla="*/ 295 h 295"/>
                <a:gd name="T50" fmla="*/ 44 w 110"/>
                <a:gd name="T51" fmla="*/ 295 h 295"/>
                <a:gd name="T52" fmla="*/ 51 w 110"/>
                <a:gd name="T53" fmla="*/ 295 h 295"/>
                <a:gd name="T54" fmla="*/ 58 w 110"/>
                <a:gd name="T55" fmla="*/ 293 h 295"/>
                <a:gd name="T56" fmla="*/ 65 w 110"/>
                <a:gd name="T57" fmla="*/ 290 h 295"/>
                <a:gd name="T58" fmla="*/ 71 w 110"/>
                <a:gd name="T59" fmla="*/ 286 h 295"/>
                <a:gd name="T60" fmla="*/ 77 w 110"/>
                <a:gd name="T61" fmla="*/ 282 h 295"/>
                <a:gd name="T62" fmla="*/ 81 w 110"/>
                <a:gd name="T63" fmla="*/ 276 h 295"/>
                <a:gd name="T64" fmla="*/ 81 w 110"/>
                <a:gd name="T65" fmla="*/ 276 h 295"/>
                <a:gd name="T66" fmla="*/ 83 w 110"/>
                <a:gd name="T67" fmla="*/ 270 h 295"/>
                <a:gd name="T68" fmla="*/ 84 w 110"/>
                <a:gd name="T69" fmla="*/ 266 h 295"/>
                <a:gd name="T70" fmla="*/ 84 w 110"/>
                <a:gd name="T71" fmla="*/ 262 h 295"/>
                <a:gd name="T72" fmla="*/ 84 w 110"/>
                <a:gd name="T73" fmla="*/ 258 h 295"/>
                <a:gd name="T74" fmla="*/ 81 w 110"/>
                <a:gd name="T75" fmla="*/ 249 h 295"/>
                <a:gd name="T76" fmla="*/ 77 w 110"/>
                <a:gd name="T77" fmla="*/ 242 h 295"/>
                <a:gd name="T78" fmla="*/ 71 w 110"/>
                <a:gd name="T79" fmla="*/ 235 h 295"/>
                <a:gd name="T80" fmla="*/ 68 w 110"/>
                <a:gd name="T81" fmla="*/ 226 h 295"/>
                <a:gd name="T82" fmla="*/ 67 w 110"/>
                <a:gd name="T83" fmla="*/ 222 h 295"/>
                <a:gd name="T84" fmla="*/ 67 w 110"/>
                <a:gd name="T85" fmla="*/ 218 h 295"/>
                <a:gd name="T86" fmla="*/ 68 w 110"/>
                <a:gd name="T87" fmla="*/ 214 h 295"/>
                <a:gd name="T88" fmla="*/ 70 w 110"/>
                <a:gd name="T89" fmla="*/ 209 h 295"/>
                <a:gd name="T90" fmla="*/ 70 w 110"/>
                <a:gd name="T91" fmla="*/ 209 h 295"/>
                <a:gd name="T92" fmla="*/ 81 w 110"/>
                <a:gd name="T93" fmla="*/ 188 h 295"/>
                <a:gd name="T94" fmla="*/ 90 w 110"/>
                <a:gd name="T95" fmla="*/ 167 h 295"/>
                <a:gd name="T96" fmla="*/ 98 w 110"/>
                <a:gd name="T97" fmla="*/ 145 h 295"/>
                <a:gd name="T98" fmla="*/ 102 w 110"/>
                <a:gd name="T99" fmla="*/ 122 h 295"/>
                <a:gd name="T100" fmla="*/ 107 w 110"/>
                <a:gd name="T101" fmla="*/ 98 h 295"/>
                <a:gd name="T102" fmla="*/ 110 w 110"/>
                <a:gd name="T103" fmla="*/ 74 h 295"/>
                <a:gd name="T104" fmla="*/ 110 w 110"/>
                <a:gd name="T105" fmla="*/ 50 h 295"/>
                <a:gd name="T106" fmla="*/ 108 w 110"/>
                <a:gd name="T107" fmla="*/ 24 h 295"/>
                <a:gd name="T108" fmla="*/ 108 w 110"/>
                <a:gd name="T109" fmla="*/ 24 h 295"/>
                <a:gd name="T110" fmla="*/ 105 w 110"/>
                <a:gd name="T111" fmla="*/ 17 h 295"/>
                <a:gd name="T112" fmla="*/ 102 w 110"/>
                <a:gd name="T113" fmla="*/ 13 h 295"/>
                <a:gd name="T114" fmla="*/ 100 w 110"/>
                <a:gd name="T115" fmla="*/ 9 h 295"/>
                <a:gd name="T116" fmla="*/ 95 w 110"/>
                <a:gd name="T117" fmla="*/ 6 h 295"/>
                <a:gd name="T118" fmla="*/ 90 w 110"/>
                <a:gd name="T119" fmla="*/ 3 h 295"/>
                <a:gd name="T120" fmla="*/ 84 w 110"/>
                <a:gd name="T121" fmla="*/ 2 h 295"/>
                <a:gd name="T122" fmla="*/ 73 w 110"/>
                <a:gd name="T123" fmla="*/ 0 h 295"/>
                <a:gd name="T124" fmla="*/ 73 w 110"/>
                <a:gd name="T125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0" h="295">
                  <a:moveTo>
                    <a:pt x="73" y="0"/>
                  </a:moveTo>
                  <a:lnTo>
                    <a:pt x="73" y="0"/>
                  </a:lnTo>
                  <a:lnTo>
                    <a:pt x="67" y="2"/>
                  </a:lnTo>
                  <a:lnTo>
                    <a:pt x="61" y="4"/>
                  </a:lnTo>
                  <a:lnTo>
                    <a:pt x="57" y="7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4" y="57"/>
                  </a:lnTo>
                  <a:lnTo>
                    <a:pt x="41" y="83"/>
                  </a:lnTo>
                  <a:lnTo>
                    <a:pt x="37" y="108"/>
                  </a:lnTo>
                  <a:lnTo>
                    <a:pt x="33" y="132"/>
                  </a:lnTo>
                  <a:lnTo>
                    <a:pt x="26" y="157"/>
                  </a:lnTo>
                  <a:lnTo>
                    <a:pt x="17" y="181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3" y="245"/>
                  </a:lnTo>
                  <a:lnTo>
                    <a:pt x="7" y="265"/>
                  </a:lnTo>
                  <a:lnTo>
                    <a:pt x="11" y="273"/>
                  </a:lnTo>
                  <a:lnTo>
                    <a:pt x="16" y="280"/>
                  </a:lnTo>
                  <a:lnTo>
                    <a:pt x="21" y="288"/>
                  </a:lnTo>
                  <a:lnTo>
                    <a:pt x="28" y="292"/>
                  </a:lnTo>
                  <a:lnTo>
                    <a:pt x="28" y="292"/>
                  </a:lnTo>
                  <a:lnTo>
                    <a:pt x="36" y="295"/>
                  </a:lnTo>
                  <a:lnTo>
                    <a:pt x="44" y="295"/>
                  </a:lnTo>
                  <a:lnTo>
                    <a:pt x="51" y="295"/>
                  </a:lnTo>
                  <a:lnTo>
                    <a:pt x="58" y="293"/>
                  </a:lnTo>
                  <a:lnTo>
                    <a:pt x="65" y="290"/>
                  </a:lnTo>
                  <a:lnTo>
                    <a:pt x="71" y="286"/>
                  </a:lnTo>
                  <a:lnTo>
                    <a:pt x="77" y="282"/>
                  </a:lnTo>
                  <a:lnTo>
                    <a:pt x="81" y="276"/>
                  </a:lnTo>
                  <a:lnTo>
                    <a:pt x="81" y="276"/>
                  </a:lnTo>
                  <a:lnTo>
                    <a:pt x="83" y="270"/>
                  </a:lnTo>
                  <a:lnTo>
                    <a:pt x="84" y="266"/>
                  </a:lnTo>
                  <a:lnTo>
                    <a:pt x="84" y="262"/>
                  </a:lnTo>
                  <a:lnTo>
                    <a:pt x="84" y="258"/>
                  </a:lnTo>
                  <a:lnTo>
                    <a:pt x="81" y="249"/>
                  </a:lnTo>
                  <a:lnTo>
                    <a:pt x="77" y="242"/>
                  </a:lnTo>
                  <a:lnTo>
                    <a:pt x="71" y="235"/>
                  </a:lnTo>
                  <a:lnTo>
                    <a:pt x="68" y="226"/>
                  </a:lnTo>
                  <a:lnTo>
                    <a:pt x="67" y="222"/>
                  </a:lnTo>
                  <a:lnTo>
                    <a:pt x="67" y="218"/>
                  </a:lnTo>
                  <a:lnTo>
                    <a:pt x="68" y="214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81" y="188"/>
                  </a:lnTo>
                  <a:lnTo>
                    <a:pt x="90" y="167"/>
                  </a:lnTo>
                  <a:lnTo>
                    <a:pt x="98" y="145"/>
                  </a:lnTo>
                  <a:lnTo>
                    <a:pt x="102" y="122"/>
                  </a:lnTo>
                  <a:lnTo>
                    <a:pt x="107" y="98"/>
                  </a:lnTo>
                  <a:lnTo>
                    <a:pt x="110" y="74"/>
                  </a:lnTo>
                  <a:lnTo>
                    <a:pt x="110" y="50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5" y="17"/>
                  </a:lnTo>
                  <a:lnTo>
                    <a:pt x="102" y="13"/>
                  </a:lnTo>
                  <a:lnTo>
                    <a:pt x="100" y="9"/>
                  </a:lnTo>
                  <a:lnTo>
                    <a:pt x="95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3" y="0"/>
                  </a:lnTo>
                  <a:lnTo>
                    <a:pt x="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" name="Freeform 1249"/>
            <p:cNvSpPr>
              <a:spLocks/>
            </p:cNvSpPr>
            <p:nvPr/>
          </p:nvSpPr>
          <p:spPr bwMode="auto">
            <a:xfrm>
              <a:off x="7382" y="2317"/>
              <a:ext cx="375" cy="548"/>
            </a:xfrm>
            <a:custGeom>
              <a:avLst/>
              <a:gdLst>
                <a:gd name="T0" fmla="*/ 306 w 375"/>
                <a:gd name="T1" fmla="*/ 3 h 548"/>
                <a:gd name="T2" fmla="*/ 296 w 375"/>
                <a:gd name="T3" fmla="*/ 17 h 548"/>
                <a:gd name="T4" fmla="*/ 292 w 375"/>
                <a:gd name="T5" fmla="*/ 63 h 548"/>
                <a:gd name="T6" fmla="*/ 303 w 375"/>
                <a:gd name="T7" fmla="*/ 214 h 548"/>
                <a:gd name="T8" fmla="*/ 305 w 375"/>
                <a:gd name="T9" fmla="*/ 323 h 548"/>
                <a:gd name="T10" fmla="*/ 295 w 375"/>
                <a:gd name="T11" fmla="*/ 329 h 548"/>
                <a:gd name="T12" fmla="*/ 284 w 375"/>
                <a:gd name="T13" fmla="*/ 325 h 548"/>
                <a:gd name="T14" fmla="*/ 239 w 375"/>
                <a:gd name="T15" fmla="*/ 278 h 548"/>
                <a:gd name="T16" fmla="*/ 235 w 375"/>
                <a:gd name="T17" fmla="*/ 268 h 548"/>
                <a:gd name="T18" fmla="*/ 215 w 375"/>
                <a:gd name="T19" fmla="*/ 258 h 548"/>
                <a:gd name="T20" fmla="*/ 184 w 375"/>
                <a:gd name="T21" fmla="*/ 255 h 548"/>
                <a:gd name="T22" fmla="*/ 167 w 375"/>
                <a:gd name="T23" fmla="*/ 264 h 548"/>
                <a:gd name="T24" fmla="*/ 130 w 375"/>
                <a:gd name="T25" fmla="*/ 268 h 548"/>
                <a:gd name="T26" fmla="*/ 87 w 375"/>
                <a:gd name="T27" fmla="*/ 279 h 548"/>
                <a:gd name="T28" fmla="*/ 27 w 375"/>
                <a:gd name="T29" fmla="*/ 309 h 548"/>
                <a:gd name="T30" fmla="*/ 8 w 375"/>
                <a:gd name="T31" fmla="*/ 363 h 548"/>
                <a:gd name="T32" fmla="*/ 0 w 375"/>
                <a:gd name="T33" fmla="*/ 409 h 548"/>
                <a:gd name="T34" fmla="*/ 6 w 375"/>
                <a:gd name="T35" fmla="*/ 441 h 548"/>
                <a:gd name="T36" fmla="*/ 25 w 375"/>
                <a:gd name="T37" fmla="*/ 480 h 548"/>
                <a:gd name="T38" fmla="*/ 29 w 375"/>
                <a:gd name="T39" fmla="*/ 495 h 548"/>
                <a:gd name="T40" fmla="*/ 40 w 375"/>
                <a:gd name="T41" fmla="*/ 505 h 548"/>
                <a:gd name="T42" fmla="*/ 60 w 375"/>
                <a:gd name="T43" fmla="*/ 508 h 548"/>
                <a:gd name="T44" fmla="*/ 133 w 375"/>
                <a:gd name="T45" fmla="*/ 541 h 548"/>
                <a:gd name="T46" fmla="*/ 192 w 375"/>
                <a:gd name="T47" fmla="*/ 548 h 548"/>
                <a:gd name="T48" fmla="*/ 222 w 375"/>
                <a:gd name="T49" fmla="*/ 544 h 548"/>
                <a:gd name="T50" fmla="*/ 241 w 375"/>
                <a:gd name="T51" fmla="*/ 532 h 548"/>
                <a:gd name="T52" fmla="*/ 261 w 375"/>
                <a:gd name="T53" fmla="*/ 508 h 548"/>
                <a:gd name="T54" fmla="*/ 278 w 375"/>
                <a:gd name="T55" fmla="*/ 508 h 548"/>
                <a:gd name="T56" fmla="*/ 301 w 375"/>
                <a:gd name="T57" fmla="*/ 522 h 548"/>
                <a:gd name="T58" fmla="*/ 325 w 375"/>
                <a:gd name="T59" fmla="*/ 544 h 548"/>
                <a:gd name="T60" fmla="*/ 336 w 375"/>
                <a:gd name="T61" fmla="*/ 547 h 548"/>
                <a:gd name="T62" fmla="*/ 363 w 375"/>
                <a:gd name="T63" fmla="*/ 538 h 548"/>
                <a:gd name="T64" fmla="*/ 375 w 375"/>
                <a:gd name="T65" fmla="*/ 525 h 548"/>
                <a:gd name="T66" fmla="*/ 370 w 375"/>
                <a:gd name="T67" fmla="*/ 504 h 548"/>
                <a:gd name="T68" fmla="*/ 356 w 375"/>
                <a:gd name="T69" fmla="*/ 464 h 548"/>
                <a:gd name="T70" fmla="*/ 355 w 375"/>
                <a:gd name="T71" fmla="*/ 443 h 548"/>
                <a:gd name="T72" fmla="*/ 365 w 375"/>
                <a:gd name="T73" fmla="*/ 325 h 548"/>
                <a:gd name="T74" fmla="*/ 363 w 375"/>
                <a:gd name="T75" fmla="*/ 204 h 548"/>
                <a:gd name="T76" fmla="*/ 356 w 375"/>
                <a:gd name="T77" fmla="*/ 126 h 548"/>
                <a:gd name="T78" fmla="*/ 345 w 375"/>
                <a:gd name="T79" fmla="*/ 42 h 548"/>
                <a:gd name="T80" fmla="*/ 336 w 375"/>
                <a:gd name="T81" fmla="*/ 10 h 548"/>
                <a:gd name="T82" fmla="*/ 318 w 375"/>
                <a:gd name="T83" fmla="*/ 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548">
                  <a:moveTo>
                    <a:pt x="311" y="0"/>
                  </a:moveTo>
                  <a:lnTo>
                    <a:pt x="311" y="0"/>
                  </a:lnTo>
                  <a:lnTo>
                    <a:pt x="306" y="3"/>
                  </a:lnTo>
                  <a:lnTo>
                    <a:pt x="303" y="5"/>
                  </a:lnTo>
                  <a:lnTo>
                    <a:pt x="299" y="10"/>
                  </a:lnTo>
                  <a:lnTo>
                    <a:pt x="296" y="17"/>
                  </a:lnTo>
                  <a:lnTo>
                    <a:pt x="292" y="23"/>
                  </a:lnTo>
                  <a:lnTo>
                    <a:pt x="292" y="23"/>
                  </a:lnTo>
                  <a:lnTo>
                    <a:pt x="292" y="63"/>
                  </a:lnTo>
                  <a:lnTo>
                    <a:pt x="293" y="101"/>
                  </a:lnTo>
                  <a:lnTo>
                    <a:pt x="301" y="177"/>
                  </a:lnTo>
                  <a:lnTo>
                    <a:pt x="303" y="214"/>
                  </a:lnTo>
                  <a:lnTo>
                    <a:pt x="306" y="251"/>
                  </a:lnTo>
                  <a:lnTo>
                    <a:pt x="306" y="288"/>
                  </a:lnTo>
                  <a:lnTo>
                    <a:pt x="305" y="323"/>
                  </a:lnTo>
                  <a:lnTo>
                    <a:pt x="305" y="323"/>
                  </a:lnTo>
                  <a:lnTo>
                    <a:pt x="299" y="329"/>
                  </a:lnTo>
                  <a:lnTo>
                    <a:pt x="295" y="329"/>
                  </a:lnTo>
                  <a:lnTo>
                    <a:pt x="292" y="330"/>
                  </a:lnTo>
                  <a:lnTo>
                    <a:pt x="292" y="330"/>
                  </a:lnTo>
                  <a:lnTo>
                    <a:pt x="284" y="325"/>
                  </a:lnTo>
                  <a:lnTo>
                    <a:pt x="276" y="320"/>
                  </a:lnTo>
                  <a:lnTo>
                    <a:pt x="264" y="308"/>
                  </a:lnTo>
                  <a:lnTo>
                    <a:pt x="239" y="278"/>
                  </a:lnTo>
                  <a:lnTo>
                    <a:pt x="239" y="273"/>
                  </a:lnTo>
                  <a:lnTo>
                    <a:pt x="239" y="273"/>
                  </a:lnTo>
                  <a:lnTo>
                    <a:pt x="235" y="268"/>
                  </a:lnTo>
                  <a:lnTo>
                    <a:pt x="228" y="264"/>
                  </a:lnTo>
                  <a:lnTo>
                    <a:pt x="222" y="261"/>
                  </a:lnTo>
                  <a:lnTo>
                    <a:pt x="215" y="258"/>
                  </a:lnTo>
                  <a:lnTo>
                    <a:pt x="208" y="255"/>
                  </a:lnTo>
                  <a:lnTo>
                    <a:pt x="200" y="255"/>
                  </a:lnTo>
                  <a:lnTo>
                    <a:pt x="184" y="255"/>
                  </a:lnTo>
                  <a:lnTo>
                    <a:pt x="184" y="255"/>
                  </a:lnTo>
                  <a:lnTo>
                    <a:pt x="175" y="261"/>
                  </a:lnTo>
                  <a:lnTo>
                    <a:pt x="167" y="264"/>
                  </a:lnTo>
                  <a:lnTo>
                    <a:pt x="158" y="266"/>
                  </a:lnTo>
                  <a:lnTo>
                    <a:pt x="150" y="266"/>
                  </a:lnTo>
                  <a:lnTo>
                    <a:pt x="13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87" y="279"/>
                  </a:lnTo>
                  <a:lnTo>
                    <a:pt x="63" y="291"/>
                  </a:lnTo>
                  <a:lnTo>
                    <a:pt x="39" y="302"/>
                  </a:lnTo>
                  <a:lnTo>
                    <a:pt x="27" y="309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8" y="363"/>
                  </a:lnTo>
                  <a:lnTo>
                    <a:pt x="3" y="386"/>
                  </a:lnTo>
                  <a:lnTo>
                    <a:pt x="0" y="409"/>
                  </a:lnTo>
                  <a:lnTo>
                    <a:pt x="0" y="409"/>
                  </a:lnTo>
                  <a:lnTo>
                    <a:pt x="0" y="421"/>
                  </a:lnTo>
                  <a:lnTo>
                    <a:pt x="2" y="431"/>
                  </a:lnTo>
                  <a:lnTo>
                    <a:pt x="6" y="441"/>
                  </a:lnTo>
                  <a:lnTo>
                    <a:pt x="10" y="451"/>
                  </a:lnTo>
                  <a:lnTo>
                    <a:pt x="20" y="470"/>
                  </a:lnTo>
                  <a:lnTo>
                    <a:pt x="25" y="480"/>
                  </a:lnTo>
                  <a:lnTo>
                    <a:pt x="27" y="490"/>
                  </a:lnTo>
                  <a:lnTo>
                    <a:pt x="27" y="490"/>
                  </a:lnTo>
                  <a:lnTo>
                    <a:pt x="29" y="495"/>
                  </a:lnTo>
                  <a:lnTo>
                    <a:pt x="32" y="500"/>
                  </a:lnTo>
                  <a:lnTo>
                    <a:pt x="36" y="503"/>
                  </a:lnTo>
                  <a:lnTo>
                    <a:pt x="40" y="505"/>
                  </a:lnTo>
                  <a:lnTo>
                    <a:pt x="50" y="508"/>
                  </a:lnTo>
                  <a:lnTo>
                    <a:pt x="60" y="508"/>
                  </a:lnTo>
                  <a:lnTo>
                    <a:pt x="60" y="508"/>
                  </a:lnTo>
                  <a:lnTo>
                    <a:pt x="96" y="527"/>
                  </a:lnTo>
                  <a:lnTo>
                    <a:pt x="114" y="534"/>
                  </a:lnTo>
                  <a:lnTo>
                    <a:pt x="133" y="541"/>
                  </a:lnTo>
                  <a:lnTo>
                    <a:pt x="151" y="545"/>
                  </a:lnTo>
                  <a:lnTo>
                    <a:pt x="171" y="548"/>
                  </a:lnTo>
                  <a:lnTo>
                    <a:pt x="192" y="548"/>
                  </a:lnTo>
                  <a:lnTo>
                    <a:pt x="215" y="547"/>
                  </a:lnTo>
                  <a:lnTo>
                    <a:pt x="215" y="547"/>
                  </a:lnTo>
                  <a:lnTo>
                    <a:pt x="222" y="544"/>
                  </a:lnTo>
                  <a:lnTo>
                    <a:pt x="229" y="541"/>
                  </a:lnTo>
                  <a:lnTo>
                    <a:pt x="235" y="537"/>
                  </a:lnTo>
                  <a:lnTo>
                    <a:pt x="241" y="532"/>
                  </a:lnTo>
                  <a:lnTo>
                    <a:pt x="249" y="521"/>
                  </a:lnTo>
                  <a:lnTo>
                    <a:pt x="261" y="508"/>
                  </a:lnTo>
                  <a:lnTo>
                    <a:pt x="261" y="508"/>
                  </a:lnTo>
                  <a:lnTo>
                    <a:pt x="266" y="507"/>
                  </a:lnTo>
                  <a:lnTo>
                    <a:pt x="274" y="507"/>
                  </a:lnTo>
                  <a:lnTo>
                    <a:pt x="278" y="508"/>
                  </a:lnTo>
                  <a:lnTo>
                    <a:pt x="284" y="510"/>
                  </a:lnTo>
                  <a:lnTo>
                    <a:pt x="292" y="515"/>
                  </a:lnTo>
                  <a:lnTo>
                    <a:pt x="301" y="522"/>
                  </a:lnTo>
                  <a:lnTo>
                    <a:pt x="308" y="531"/>
                  </a:lnTo>
                  <a:lnTo>
                    <a:pt x="316" y="538"/>
                  </a:lnTo>
                  <a:lnTo>
                    <a:pt x="325" y="544"/>
                  </a:lnTo>
                  <a:lnTo>
                    <a:pt x="330" y="545"/>
                  </a:lnTo>
                  <a:lnTo>
                    <a:pt x="336" y="547"/>
                  </a:lnTo>
                  <a:lnTo>
                    <a:pt x="336" y="547"/>
                  </a:lnTo>
                  <a:lnTo>
                    <a:pt x="348" y="545"/>
                  </a:lnTo>
                  <a:lnTo>
                    <a:pt x="359" y="541"/>
                  </a:lnTo>
                  <a:lnTo>
                    <a:pt x="363" y="538"/>
                  </a:lnTo>
                  <a:lnTo>
                    <a:pt x="369" y="535"/>
                  </a:lnTo>
                  <a:lnTo>
                    <a:pt x="372" y="531"/>
                  </a:lnTo>
                  <a:lnTo>
                    <a:pt x="375" y="525"/>
                  </a:lnTo>
                  <a:lnTo>
                    <a:pt x="375" y="525"/>
                  </a:lnTo>
                  <a:lnTo>
                    <a:pt x="373" y="515"/>
                  </a:lnTo>
                  <a:lnTo>
                    <a:pt x="370" y="504"/>
                  </a:lnTo>
                  <a:lnTo>
                    <a:pt x="363" y="484"/>
                  </a:lnTo>
                  <a:lnTo>
                    <a:pt x="359" y="474"/>
                  </a:lnTo>
                  <a:lnTo>
                    <a:pt x="356" y="464"/>
                  </a:lnTo>
                  <a:lnTo>
                    <a:pt x="355" y="454"/>
                  </a:lnTo>
                  <a:lnTo>
                    <a:pt x="355" y="443"/>
                  </a:lnTo>
                  <a:lnTo>
                    <a:pt x="355" y="443"/>
                  </a:lnTo>
                  <a:lnTo>
                    <a:pt x="359" y="404"/>
                  </a:lnTo>
                  <a:lnTo>
                    <a:pt x="363" y="366"/>
                  </a:lnTo>
                  <a:lnTo>
                    <a:pt x="365" y="325"/>
                  </a:lnTo>
                  <a:lnTo>
                    <a:pt x="366" y="285"/>
                  </a:lnTo>
                  <a:lnTo>
                    <a:pt x="365" y="244"/>
                  </a:lnTo>
                  <a:lnTo>
                    <a:pt x="363" y="204"/>
                  </a:lnTo>
                  <a:lnTo>
                    <a:pt x="360" y="164"/>
                  </a:lnTo>
                  <a:lnTo>
                    <a:pt x="356" y="126"/>
                  </a:lnTo>
                  <a:lnTo>
                    <a:pt x="356" y="126"/>
                  </a:lnTo>
                  <a:lnTo>
                    <a:pt x="352" y="97"/>
                  </a:lnTo>
                  <a:lnTo>
                    <a:pt x="348" y="70"/>
                  </a:lnTo>
                  <a:lnTo>
                    <a:pt x="345" y="42"/>
                  </a:lnTo>
                  <a:lnTo>
                    <a:pt x="339" y="13"/>
                  </a:lnTo>
                  <a:lnTo>
                    <a:pt x="339" y="13"/>
                  </a:lnTo>
                  <a:lnTo>
                    <a:pt x="336" y="10"/>
                  </a:lnTo>
                  <a:lnTo>
                    <a:pt x="333" y="7"/>
                  </a:lnTo>
                  <a:lnTo>
                    <a:pt x="326" y="5"/>
                  </a:lnTo>
                  <a:lnTo>
                    <a:pt x="318" y="3"/>
                  </a:lnTo>
                  <a:lnTo>
                    <a:pt x="311" y="0"/>
                  </a:lnTo>
                  <a:lnTo>
                    <a:pt x="3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1250"/>
            <p:cNvSpPr>
              <a:spLocks/>
            </p:cNvSpPr>
            <p:nvPr/>
          </p:nvSpPr>
          <p:spPr bwMode="auto">
            <a:xfrm>
              <a:off x="7461" y="2618"/>
              <a:ext cx="166" cy="203"/>
            </a:xfrm>
            <a:custGeom>
              <a:avLst/>
              <a:gdLst>
                <a:gd name="T0" fmla="*/ 143 w 166"/>
                <a:gd name="T1" fmla="*/ 25 h 203"/>
                <a:gd name="T2" fmla="*/ 143 w 166"/>
                <a:gd name="T3" fmla="*/ 25 h 203"/>
                <a:gd name="T4" fmla="*/ 146 w 166"/>
                <a:gd name="T5" fmla="*/ 41 h 203"/>
                <a:gd name="T6" fmla="*/ 150 w 166"/>
                <a:gd name="T7" fmla="*/ 55 h 203"/>
                <a:gd name="T8" fmla="*/ 153 w 166"/>
                <a:gd name="T9" fmla="*/ 62 h 203"/>
                <a:gd name="T10" fmla="*/ 156 w 166"/>
                <a:gd name="T11" fmla="*/ 69 h 203"/>
                <a:gd name="T12" fmla="*/ 160 w 166"/>
                <a:gd name="T13" fmla="*/ 75 h 203"/>
                <a:gd name="T14" fmla="*/ 166 w 166"/>
                <a:gd name="T15" fmla="*/ 81 h 203"/>
                <a:gd name="T16" fmla="*/ 166 w 166"/>
                <a:gd name="T17" fmla="*/ 81 h 203"/>
                <a:gd name="T18" fmla="*/ 165 w 166"/>
                <a:gd name="T19" fmla="*/ 102 h 203"/>
                <a:gd name="T20" fmla="*/ 162 w 166"/>
                <a:gd name="T21" fmla="*/ 125 h 203"/>
                <a:gd name="T22" fmla="*/ 153 w 166"/>
                <a:gd name="T23" fmla="*/ 169 h 203"/>
                <a:gd name="T24" fmla="*/ 153 w 166"/>
                <a:gd name="T25" fmla="*/ 169 h 203"/>
                <a:gd name="T26" fmla="*/ 146 w 166"/>
                <a:gd name="T27" fmla="*/ 180 h 203"/>
                <a:gd name="T28" fmla="*/ 136 w 166"/>
                <a:gd name="T29" fmla="*/ 189 h 203"/>
                <a:gd name="T30" fmla="*/ 126 w 166"/>
                <a:gd name="T31" fmla="*/ 197 h 203"/>
                <a:gd name="T32" fmla="*/ 113 w 166"/>
                <a:gd name="T33" fmla="*/ 202 h 203"/>
                <a:gd name="T34" fmla="*/ 113 w 166"/>
                <a:gd name="T35" fmla="*/ 202 h 203"/>
                <a:gd name="T36" fmla="*/ 99 w 166"/>
                <a:gd name="T37" fmla="*/ 203 h 203"/>
                <a:gd name="T38" fmla="*/ 85 w 166"/>
                <a:gd name="T39" fmla="*/ 202 h 203"/>
                <a:gd name="T40" fmla="*/ 71 w 166"/>
                <a:gd name="T41" fmla="*/ 199 h 203"/>
                <a:gd name="T42" fmla="*/ 58 w 166"/>
                <a:gd name="T43" fmla="*/ 193 h 203"/>
                <a:gd name="T44" fmla="*/ 47 w 166"/>
                <a:gd name="T45" fmla="*/ 187 h 203"/>
                <a:gd name="T46" fmla="*/ 35 w 166"/>
                <a:gd name="T47" fmla="*/ 179 h 203"/>
                <a:gd name="T48" fmla="*/ 25 w 166"/>
                <a:gd name="T49" fmla="*/ 169 h 203"/>
                <a:gd name="T50" fmla="*/ 18 w 166"/>
                <a:gd name="T51" fmla="*/ 157 h 203"/>
                <a:gd name="T52" fmla="*/ 18 w 166"/>
                <a:gd name="T53" fmla="*/ 157 h 203"/>
                <a:gd name="T54" fmla="*/ 11 w 166"/>
                <a:gd name="T55" fmla="*/ 146 h 203"/>
                <a:gd name="T56" fmla="*/ 5 w 166"/>
                <a:gd name="T57" fmla="*/ 132 h 203"/>
                <a:gd name="T58" fmla="*/ 1 w 166"/>
                <a:gd name="T59" fmla="*/ 116 h 203"/>
                <a:gd name="T60" fmla="*/ 0 w 166"/>
                <a:gd name="T61" fmla="*/ 102 h 203"/>
                <a:gd name="T62" fmla="*/ 0 w 166"/>
                <a:gd name="T63" fmla="*/ 86 h 203"/>
                <a:gd name="T64" fmla="*/ 1 w 166"/>
                <a:gd name="T65" fmla="*/ 71 h 203"/>
                <a:gd name="T66" fmla="*/ 5 w 166"/>
                <a:gd name="T67" fmla="*/ 56 h 203"/>
                <a:gd name="T68" fmla="*/ 12 w 166"/>
                <a:gd name="T69" fmla="*/ 44 h 203"/>
                <a:gd name="T70" fmla="*/ 12 w 166"/>
                <a:gd name="T71" fmla="*/ 44 h 203"/>
                <a:gd name="T72" fmla="*/ 20 w 166"/>
                <a:gd name="T73" fmla="*/ 32 h 203"/>
                <a:gd name="T74" fmla="*/ 30 w 166"/>
                <a:gd name="T75" fmla="*/ 24 h 203"/>
                <a:gd name="T76" fmla="*/ 41 w 166"/>
                <a:gd name="T77" fmla="*/ 17 h 203"/>
                <a:gd name="T78" fmla="*/ 54 w 166"/>
                <a:gd name="T79" fmla="*/ 9 h 203"/>
                <a:gd name="T80" fmla="*/ 68 w 166"/>
                <a:gd name="T81" fmla="*/ 5 h 203"/>
                <a:gd name="T82" fmla="*/ 82 w 166"/>
                <a:gd name="T83" fmla="*/ 2 h 203"/>
                <a:gd name="T84" fmla="*/ 96 w 166"/>
                <a:gd name="T85" fmla="*/ 0 h 203"/>
                <a:gd name="T86" fmla="*/ 109 w 166"/>
                <a:gd name="T87" fmla="*/ 0 h 203"/>
                <a:gd name="T88" fmla="*/ 109 w 166"/>
                <a:gd name="T89" fmla="*/ 0 h 203"/>
                <a:gd name="T90" fmla="*/ 121 w 166"/>
                <a:gd name="T91" fmla="*/ 4 h 203"/>
                <a:gd name="T92" fmla="*/ 129 w 166"/>
                <a:gd name="T93" fmla="*/ 9 h 203"/>
                <a:gd name="T94" fmla="*/ 138 w 166"/>
                <a:gd name="T95" fmla="*/ 17 h 203"/>
                <a:gd name="T96" fmla="*/ 143 w 166"/>
                <a:gd name="T97" fmla="*/ 25 h 203"/>
                <a:gd name="T98" fmla="*/ 143 w 166"/>
                <a:gd name="T99" fmla="*/ 2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6" h="203">
                  <a:moveTo>
                    <a:pt x="143" y="25"/>
                  </a:moveTo>
                  <a:lnTo>
                    <a:pt x="143" y="25"/>
                  </a:lnTo>
                  <a:lnTo>
                    <a:pt x="146" y="41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6" y="69"/>
                  </a:lnTo>
                  <a:lnTo>
                    <a:pt x="160" y="75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5" y="102"/>
                  </a:lnTo>
                  <a:lnTo>
                    <a:pt x="162" y="125"/>
                  </a:lnTo>
                  <a:lnTo>
                    <a:pt x="153" y="169"/>
                  </a:lnTo>
                  <a:lnTo>
                    <a:pt x="153" y="169"/>
                  </a:lnTo>
                  <a:lnTo>
                    <a:pt x="146" y="180"/>
                  </a:lnTo>
                  <a:lnTo>
                    <a:pt x="136" y="189"/>
                  </a:lnTo>
                  <a:lnTo>
                    <a:pt x="126" y="197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99" y="203"/>
                  </a:lnTo>
                  <a:lnTo>
                    <a:pt x="85" y="202"/>
                  </a:lnTo>
                  <a:lnTo>
                    <a:pt x="71" y="199"/>
                  </a:lnTo>
                  <a:lnTo>
                    <a:pt x="58" y="193"/>
                  </a:lnTo>
                  <a:lnTo>
                    <a:pt x="47" y="187"/>
                  </a:lnTo>
                  <a:lnTo>
                    <a:pt x="35" y="179"/>
                  </a:lnTo>
                  <a:lnTo>
                    <a:pt x="25" y="169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1" y="146"/>
                  </a:lnTo>
                  <a:lnTo>
                    <a:pt x="5" y="132"/>
                  </a:lnTo>
                  <a:lnTo>
                    <a:pt x="1" y="116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1" y="71"/>
                  </a:lnTo>
                  <a:lnTo>
                    <a:pt x="5" y="5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20" y="32"/>
                  </a:lnTo>
                  <a:lnTo>
                    <a:pt x="30" y="24"/>
                  </a:lnTo>
                  <a:lnTo>
                    <a:pt x="41" y="17"/>
                  </a:lnTo>
                  <a:lnTo>
                    <a:pt x="54" y="9"/>
                  </a:lnTo>
                  <a:lnTo>
                    <a:pt x="68" y="5"/>
                  </a:lnTo>
                  <a:lnTo>
                    <a:pt x="82" y="2"/>
                  </a:lnTo>
                  <a:lnTo>
                    <a:pt x="9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21" y="4"/>
                  </a:lnTo>
                  <a:lnTo>
                    <a:pt x="129" y="9"/>
                  </a:lnTo>
                  <a:lnTo>
                    <a:pt x="138" y="17"/>
                  </a:lnTo>
                  <a:lnTo>
                    <a:pt x="143" y="25"/>
                  </a:lnTo>
                  <a:lnTo>
                    <a:pt x="143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1251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" name="Freeform 1252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1253"/>
            <p:cNvSpPr>
              <a:spLocks noEditPoints="1"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  <a:gd name="T18" fmla="*/ 200 w 535"/>
                <a:gd name="T19" fmla="*/ 322 h 541"/>
                <a:gd name="T20" fmla="*/ 299 w 535"/>
                <a:gd name="T21" fmla="*/ 322 h 541"/>
                <a:gd name="T22" fmla="*/ 252 w 535"/>
                <a:gd name="T23" fmla="*/ 137 h 541"/>
                <a:gd name="T24" fmla="*/ 200 w 535"/>
                <a:gd name="T25" fmla="*/ 32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  <a:close/>
                  <a:moveTo>
                    <a:pt x="200" y="322"/>
                  </a:moveTo>
                  <a:lnTo>
                    <a:pt x="299" y="322"/>
                  </a:lnTo>
                  <a:lnTo>
                    <a:pt x="252" y="137"/>
                  </a:lnTo>
                  <a:lnTo>
                    <a:pt x="200" y="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" name="Freeform 1254"/>
            <p:cNvSpPr>
              <a:spLocks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1255"/>
            <p:cNvSpPr>
              <a:spLocks/>
            </p:cNvSpPr>
            <p:nvPr/>
          </p:nvSpPr>
          <p:spPr bwMode="auto">
            <a:xfrm>
              <a:off x="6986" y="1551"/>
              <a:ext cx="99" cy="185"/>
            </a:xfrm>
            <a:custGeom>
              <a:avLst/>
              <a:gdLst>
                <a:gd name="T0" fmla="*/ 0 w 99"/>
                <a:gd name="T1" fmla="*/ 185 h 185"/>
                <a:gd name="T2" fmla="*/ 99 w 99"/>
                <a:gd name="T3" fmla="*/ 185 h 185"/>
                <a:gd name="T4" fmla="*/ 52 w 99"/>
                <a:gd name="T5" fmla="*/ 0 h 185"/>
                <a:gd name="T6" fmla="*/ 0 w 99"/>
                <a:gd name="T7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85">
                  <a:moveTo>
                    <a:pt x="0" y="185"/>
                  </a:moveTo>
                  <a:lnTo>
                    <a:pt x="99" y="185"/>
                  </a:lnTo>
                  <a:lnTo>
                    <a:pt x="52" y="0"/>
                  </a:lnTo>
                  <a:lnTo>
                    <a:pt x="0" y="18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1256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1257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1258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  <a:gd name="T52" fmla="*/ 166 w 166"/>
                <a:gd name="T53" fmla="*/ 5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  <a:lnTo>
                    <a:pt x="166" y="54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" name="Freeform 1259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3323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26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2192000" cy="10668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529"/>
            <a:ext cx="10515600" cy="1057275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2" y="1196208"/>
            <a:ext cx="10698724" cy="497912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302" y="6330820"/>
            <a:ext cx="571500" cy="365125"/>
          </a:xfrm>
        </p:spPr>
        <p:txBody>
          <a:bodyPr/>
          <a:lstStyle/>
          <a:p>
            <a:fld id="{AEE12407-35E7-4E87-8757-FD495B64908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0" name="Group 363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>
            <a:off x="11500626" y="6215063"/>
            <a:ext cx="585788" cy="538162"/>
            <a:chOff x="5907" y="1132"/>
            <a:chExt cx="2151" cy="1976"/>
          </a:xfrm>
        </p:grpSpPr>
        <p:sp>
          <p:nvSpPr>
            <p:cNvPr id="11" name="Freeform 364"/>
            <p:cNvSpPr>
              <a:spLocks/>
            </p:cNvSpPr>
            <p:nvPr/>
          </p:nvSpPr>
          <p:spPr bwMode="auto">
            <a:xfrm>
              <a:off x="5966" y="2117"/>
              <a:ext cx="2028" cy="0"/>
            </a:xfrm>
            <a:custGeom>
              <a:avLst/>
              <a:gdLst>
                <a:gd name="T0" fmla="*/ 0 w 2028"/>
                <a:gd name="T1" fmla="*/ 2028 w 2028"/>
                <a:gd name="T2" fmla="*/ 0 w 202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28">
                  <a:moveTo>
                    <a:pt x="0" y="0"/>
                  </a:moveTo>
                  <a:lnTo>
                    <a:pt x="202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Line 365"/>
            <p:cNvSpPr>
              <a:spLocks noChangeShapeType="1"/>
            </p:cNvSpPr>
            <p:nvPr/>
          </p:nvSpPr>
          <p:spPr bwMode="auto">
            <a:xfrm>
              <a:off x="5966" y="2117"/>
              <a:ext cx="202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Rectangle 366"/>
            <p:cNvSpPr>
              <a:spLocks noChangeArrowheads="1"/>
            </p:cNvSpPr>
            <p:nvPr/>
          </p:nvSpPr>
          <p:spPr bwMode="auto">
            <a:xfrm>
              <a:off x="5968" y="1194"/>
              <a:ext cx="2030" cy="1853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367"/>
            <p:cNvSpPr>
              <a:spLocks noEditPoints="1"/>
            </p:cNvSpPr>
            <p:nvPr/>
          </p:nvSpPr>
          <p:spPr bwMode="auto">
            <a:xfrm>
              <a:off x="5907" y="1132"/>
              <a:ext cx="2151" cy="1976"/>
            </a:xfrm>
            <a:custGeom>
              <a:avLst/>
              <a:gdLst>
                <a:gd name="T0" fmla="*/ 0 w 2151"/>
                <a:gd name="T1" fmla="*/ 1976 h 1976"/>
                <a:gd name="T2" fmla="*/ 2151 w 2151"/>
                <a:gd name="T3" fmla="*/ 1976 h 1976"/>
                <a:gd name="T4" fmla="*/ 2151 w 2151"/>
                <a:gd name="T5" fmla="*/ 0 h 1976"/>
                <a:gd name="T6" fmla="*/ 0 w 2151"/>
                <a:gd name="T7" fmla="*/ 0 h 1976"/>
                <a:gd name="T8" fmla="*/ 0 w 2151"/>
                <a:gd name="T9" fmla="*/ 1976 h 1976"/>
                <a:gd name="T10" fmla="*/ 123 w 2151"/>
                <a:gd name="T11" fmla="*/ 1854 h 1976"/>
                <a:gd name="T12" fmla="*/ 123 w 2151"/>
                <a:gd name="T13" fmla="*/ 1854 h 1976"/>
                <a:gd name="T14" fmla="*/ 123 w 2151"/>
                <a:gd name="T15" fmla="*/ 1046 h 1976"/>
                <a:gd name="T16" fmla="*/ 2030 w 2151"/>
                <a:gd name="T17" fmla="*/ 1046 h 1976"/>
                <a:gd name="T18" fmla="*/ 2030 w 2151"/>
                <a:gd name="T19" fmla="*/ 1046 h 1976"/>
                <a:gd name="T20" fmla="*/ 2030 w 2151"/>
                <a:gd name="T21" fmla="*/ 1854 h 1976"/>
                <a:gd name="T22" fmla="*/ 2030 w 2151"/>
                <a:gd name="T23" fmla="*/ 1854 h 1976"/>
                <a:gd name="T24" fmla="*/ 123 w 2151"/>
                <a:gd name="T25" fmla="*/ 1854 h 1976"/>
                <a:gd name="T26" fmla="*/ 123 w 2151"/>
                <a:gd name="T27" fmla="*/ 1854 h 1976"/>
                <a:gd name="T28" fmla="*/ 2030 w 2151"/>
                <a:gd name="T29" fmla="*/ 123 h 1976"/>
                <a:gd name="T30" fmla="*/ 2030 w 2151"/>
                <a:gd name="T31" fmla="*/ 123 h 1976"/>
                <a:gd name="T32" fmla="*/ 2030 w 2151"/>
                <a:gd name="T33" fmla="*/ 924 h 1976"/>
                <a:gd name="T34" fmla="*/ 123 w 2151"/>
                <a:gd name="T35" fmla="*/ 924 h 1976"/>
                <a:gd name="T36" fmla="*/ 123 w 2151"/>
                <a:gd name="T37" fmla="*/ 924 h 1976"/>
                <a:gd name="T38" fmla="*/ 123 w 2151"/>
                <a:gd name="T39" fmla="*/ 123 h 1976"/>
                <a:gd name="T40" fmla="*/ 123 w 2151"/>
                <a:gd name="T41" fmla="*/ 123 h 1976"/>
                <a:gd name="T42" fmla="*/ 2030 w 2151"/>
                <a:gd name="T43" fmla="*/ 123 h 1976"/>
                <a:gd name="T44" fmla="*/ 2030 w 2151"/>
                <a:gd name="T45" fmla="*/ 123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51" h="1976">
                  <a:moveTo>
                    <a:pt x="0" y="1976"/>
                  </a:moveTo>
                  <a:lnTo>
                    <a:pt x="2151" y="1976"/>
                  </a:lnTo>
                  <a:lnTo>
                    <a:pt x="2151" y="0"/>
                  </a:lnTo>
                  <a:lnTo>
                    <a:pt x="0" y="0"/>
                  </a:lnTo>
                  <a:lnTo>
                    <a:pt x="0" y="1976"/>
                  </a:lnTo>
                  <a:close/>
                  <a:moveTo>
                    <a:pt x="123" y="1854"/>
                  </a:moveTo>
                  <a:lnTo>
                    <a:pt x="123" y="1854"/>
                  </a:lnTo>
                  <a:lnTo>
                    <a:pt x="123" y="1046"/>
                  </a:lnTo>
                  <a:lnTo>
                    <a:pt x="2030" y="1046"/>
                  </a:lnTo>
                  <a:lnTo>
                    <a:pt x="2030" y="1046"/>
                  </a:lnTo>
                  <a:lnTo>
                    <a:pt x="2030" y="1854"/>
                  </a:lnTo>
                  <a:lnTo>
                    <a:pt x="2030" y="1854"/>
                  </a:lnTo>
                  <a:lnTo>
                    <a:pt x="123" y="1854"/>
                  </a:lnTo>
                  <a:lnTo>
                    <a:pt x="123" y="1854"/>
                  </a:lnTo>
                  <a:close/>
                  <a:moveTo>
                    <a:pt x="2030" y="123"/>
                  </a:moveTo>
                  <a:lnTo>
                    <a:pt x="2030" y="123"/>
                  </a:lnTo>
                  <a:lnTo>
                    <a:pt x="2030" y="924"/>
                  </a:lnTo>
                  <a:lnTo>
                    <a:pt x="123" y="924"/>
                  </a:lnTo>
                  <a:lnTo>
                    <a:pt x="123" y="924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2030" y="123"/>
                  </a:lnTo>
                  <a:lnTo>
                    <a:pt x="2030" y="123"/>
                  </a:lnTo>
                  <a:close/>
                </a:path>
              </a:pathLst>
            </a:custGeom>
            <a:solidFill>
              <a:srgbClr val="EF3E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368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64 h 587"/>
                <a:gd name="T34" fmla="*/ 953 w 1552"/>
                <a:gd name="T35" fmla="*/ 227 h 587"/>
                <a:gd name="T36" fmla="*/ 960 w 1552"/>
                <a:gd name="T37" fmla="*/ 419 h 587"/>
                <a:gd name="T38" fmla="*/ 968 w 1552"/>
                <a:gd name="T39" fmla="*/ 519 h 587"/>
                <a:gd name="T40" fmla="*/ 1034 w 1552"/>
                <a:gd name="T41" fmla="*/ 540 h 587"/>
                <a:gd name="T42" fmla="*/ 1039 w 1552"/>
                <a:gd name="T43" fmla="*/ 458 h 587"/>
                <a:gd name="T44" fmla="*/ 1039 w 1552"/>
                <a:gd name="T45" fmla="*/ 261 h 587"/>
                <a:gd name="T46" fmla="*/ 994 w 1552"/>
                <a:gd name="T47" fmla="*/ 69 h 587"/>
                <a:gd name="T48" fmla="*/ 936 w 1552"/>
                <a:gd name="T49" fmla="*/ 39 h 587"/>
                <a:gd name="T50" fmla="*/ 830 w 1552"/>
                <a:gd name="T51" fmla="*/ 196 h 587"/>
                <a:gd name="T52" fmla="*/ 786 w 1552"/>
                <a:gd name="T53" fmla="*/ 190 h 587"/>
                <a:gd name="T54" fmla="*/ 145 w 1552"/>
                <a:gd name="T55" fmla="*/ 250 h 587"/>
                <a:gd name="T56" fmla="*/ 15 w 1552"/>
                <a:gd name="T57" fmla="*/ 327 h 587"/>
                <a:gd name="T58" fmla="*/ 2 w 1552"/>
                <a:gd name="T59" fmla="*/ 471 h 587"/>
                <a:gd name="T60" fmla="*/ 32 w 1552"/>
                <a:gd name="T61" fmla="*/ 570 h 587"/>
                <a:gd name="T62" fmla="*/ 197 w 1552"/>
                <a:gd name="T63" fmla="*/ 579 h 587"/>
                <a:gd name="T64" fmla="*/ 244 w 1552"/>
                <a:gd name="T65" fmla="*/ 530 h 587"/>
                <a:gd name="T66" fmla="*/ 128 w 1552"/>
                <a:gd name="T67" fmla="*/ 542 h 587"/>
                <a:gd name="T68" fmla="*/ 76 w 1552"/>
                <a:gd name="T69" fmla="*/ 485 h 587"/>
                <a:gd name="T70" fmla="*/ 83 w 1552"/>
                <a:gd name="T71" fmla="*/ 333 h 587"/>
                <a:gd name="T72" fmla="*/ 156 w 1552"/>
                <a:gd name="T73" fmla="*/ 291 h 587"/>
                <a:gd name="T74" fmla="*/ 211 w 1552"/>
                <a:gd name="T75" fmla="*/ 276 h 587"/>
                <a:gd name="T76" fmla="*/ 773 w 1552"/>
                <a:gd name="T77" fmla="*/ 304 h 587"/>
                <a:gd name="T78" fmla="*/ 725 w 1552"/>
                <a:gd name="T79" fmla="*/ 509 h 587"/>
                <a:gd name="T80" fmla="*/ 776 w 1552"/>
                <a:gd name="T81" fmla="*/ 579 h 587"/>
                <a:gd name="T82" fmla="*/ 809 w 1552"/>
                <a:gd name="T83" fmla="*/ 542 h 587"/>
                <a:gd name="T84" fmla="*/ 806 w 1552"/>
                <a:gd name="T85" fmla="*/ 472 h 587"/>
                <a:gd name="T86" fmla="*/ 827 w 1552"/>
                <a:gd name="T87" fmla="*/ 297 h 587"/>
                <a:gd name="T88" fmla="*/ 1480 w 1552"/>
                <a:gd name="T89" fmla="*/ 37 h 587"/>
                <a:gd name="T90" fmla="*/ 1483 w 1552"/>
                <a:gd name="T91" fmla="*/ 320 h 587"/>
                <a:gd name="T92" fmla="*/ 1416 w 1552"/>
                <a:gd name="T93" fmla="*/ 310 h 587"/>
                <a:gd name="T94" fmla="*/ 1361 w 1552"/>
                <a:gd name="T95" fmla="*/ 287 h 587"/>
                <a:gd name="T96" fmla="*/ 1216 w 1552"/>
                <a:gd name="T97" fmla="*/ 334 h 587"/>
                <a:gd name="T98" fmla="*/ 1183 w 1552"/>
                <a:gd name="T99" fmla="*/ 473 h 587"/>
                <a:gd name="T100" fmla="*/ 1227 w 1552"/>
                <a:gd name="T101" fmla="*/ 540 h 587"/>
                <a:gd name="T102" fmla="*/ 1392 w 1552"/>
                <a:gd name="T103" fmla="*/ 579 h 587"/>
                <a:gd name="T104" fmla="*/ 1455 w 1552"/>
                <a:gd name="T105" fmla="*/ 540 h 587"/>
                <a:gd name="T106" fmla="*/ 1525 w 1552"/>
                <a:gd name="T107" fmla="*/ 577 h 587"/>
                <a:gd name="T108" fmla="*/ 1536 w 1552"/>
                <a:gd name="T109" fmla="*/ 506 h 587"/>
                <a:gd name="T110" fmla="*/ 1540 w 1552"/>
                <a:gd name="T111" fmla="*/ 236 h 587"/>
                <a:gd name="T112" fmla="*/ 1510 w 1552"/>
                <a:gd name="T113" fmla="*/ 39 h 587"/>
                <a:gd name="T114" fmla="*/ 1412 w 1552"/>
                <a:gd name="T115" fmla="*/ 402 h 587"/>
                <a:gd name="T116" fmla="*/ 1382 w 1552"/>
                <a:gd name="T117" fmla="*/ 530 h 587"/>
                <a:gd name="T118" fmla="*/ 1274 w 1552"/>
                <a:gd name="T119" fmla="*/ 490 h 587"/>
                <a:gd name="T120" fmla="*/ 1268 w 1552"/>
                <a:gd name="T121" fmla="*/ 377 h 587"/>
                <a:gd name="T122" fmla="*/ 1377 w 1552"/>
                <a:gd name="T123" fmla="*/ 337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noFill/>
            <a:ln w="0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369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370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371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  <a:gd name="T42" fmla="*/ 0 w 57"/>
                <a:gd name="T43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372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79 h 587"/>
                <a:gd name="T34" fmla="*/ 954 w 1552"/>
                <a:gd name="T35" fmla="*/ 298 h 587"/>
                <a:gd name="T36" fmla="*/ 958 w 1552"/>
                <a:gd name="T37" fmla="*/ 429 h 587"/>
                <a:gd name="T38" fmla="*/ 968 w 1552"/>
                <a:gd name="T39" fmla="*/ 519 h 587"/>
                <a:gd name="T40" fmla="*/ 1039 w 1552"/>
                <a:gd name="T41" fmla="*/ 537 h 587"/>
                <a:gd name="T42" fmla="*/ 1038 w 1552"/>
                <a:gd name="T43" fmla="*/ 445 h 587"/>
                <a:gd name="T44" fmla="*/ 1037 w 1552"/>
                <a:gd name="T45" fmla="*/ 249 h 587"/>
                <a:gd name="T46" fmla="*/ 994 w 1552"/>
                <a:gd name="T47" fmla="*/ 48 h 587"/>
                <a:gd name="T48" fmla="*/ 936 w 1552"/>
                <a:gd name="T49" fmla="*/ 39 h 587"/>
                <a:gd name="T50" fmla="*/ 833 w 1552"/>
                <a:gd name="T51" fmla="*/ 192 h 587"/>
                <a:gd name="T52" fmla="*/ 782 w 1552"/>
                <a:gd name="T53" fmla="*/ 196 h 587"/>
                <a:gd name="T54" fmla="*/ 133 w 1552"/>
                <a:gd name="T55" fmla="*/ 253 h 587"/>
                <a:gd name="T56" fmla="*/ 9 w 1552"/>
                <a:gd name="T57" fmla="*/ 335 h 587"/>
                <a:gd name="T58" fmla="*/ 5 w 1552"/>
                <a:gd name="T59" fmla="*/ 482 h 587"/>
                <a:gd name="T60" fmla="*/ 42 w 1552"/>
                <a:gd name="T61" fmla="*/ 574 h 587"/>
                <a:gd name="T62" fmla="*/ 211 w 1552"/>
                <a:gd name="T63" fmla="*/ 574 h 587"/>
                <a:gd name="T64" fmla="*/ 244 w 1552"/>
                <a:gd name="T65" fmla="*/ 530 h 587"/>
                <a:gd name="T66" fmla="*/ 118 w 1552"/>
                <a:gd name="T67" fmla="*/ 539 h 587"/>
                <a:gd name="T68" fmla="*/ 76 w 1552"/>
                <a:gd name="T69" fmla="*/ 485 h 587"/>
                <a:gd name="T70" fmla="*/ 89 w 1552"/>
                <a:gd name="T71" fmla="*/ 324 h 587"/>
                <a:gd name="T72" fmla="*/ 166 w 1552"/>
                <a:gd name="T73" fmla="*/ 286 h 587"/>
                <a:gd name="T74" fmla="*/ 213 w 1552"/>
                <a:gd name="T75" fmla="*/ 274 h 587"/>
                <a:gd name="T76" fmla="*/ 768 w 1552"/>
                <a:gd name="T77" fmla="*/ 314 h 587"/>
                <a:gd name="T78" fmla="*/ 728 w 1552"/>
                <a:gd name="T79" fmla="*/ 529 h 587"/>
                <a:gd name="T80" fmla="*/ 783 w 1552"/>
                <a:gd name="T81" fmla="*/ 577 h 587"/>
                <a:gd name="T82" fmla="*/ 806 w 1552"/>
                <a:gd name="T83" fmla="*/ 533 h 587"/>
                <a:gd name="T84" fmla="*/ 815 w 1552"/>
                <a:gd name="T85" fmla="*/ 451 h 587"/>
                <a:gd name="T86" fmla="*/ 825 w 1552"/>
                <a:gd name="T87" fmla="*/ 293 h 587"/>
                <a:gd name="T88" fmla="*/ 1476 w 1552"/>
                <a:gd name="T89" fmla="*/ 42 h 587"/>
                <a:gd name="T90" fmla="*/ 1482 w 1552"/>
                <a:gd name="T91" fmla="*/ 355 h 587"/>
                <a:gd name="T92" fmla="*/ 1416 w 1552"/>
                <a:gd name="T93" fmla="*/ 305 h 587"/>
                <a:gd name="T94" fmla="*/ 1352 w 1552"/>
                <a:gd name="T95" fmla="*/ 293 h 587"/>
                <a:gd name="T96" fmla="*/ 1204 w 1552"/>
                <a:gd name="T97" fmla="*/ 341 h 587"/>
                <a:gd name="T98" fmla="*/ 1187 w 1552"/>
                <a:gd name="T99" fmla="*/ 483 h 587"/>
                <a:gd name="T100" fmla="*/ 1237 w 1552"/>
                <a:gd name="T101" fmla="*/ 540 h 587"/>
                <a:gd name="T102" fmla="*/ 1399 w 1552"/>
                <a:gd name="T103" fmla="*/ 576 h 587"/>
                <a:gd name="T104" fmla="*/ 1461 w 1552"/>
                <a:gd name="T105" fmla="*/ 542 h 587"/>
                <a:gd name="T106" fmla="*/ 1536 w 1552"/>
                <a:gd name="T107" fmla="*/ 573 h 587"/>
                <a:gd name="T108" fmla="*/ 1533 w 1552"/>
                <a:gd name="T109" fmla="*/ 496 h 587"/>
                <a:gd name="T110" fmla="*/ 1537 w 1552"/>
                <a:gd name="T111" fmla="*/ 196 h 587"/>
                <a:gd name="T112" fmla="*/ 1503 w 1552"/>
                <a:gd name="T113" fmla="*/ 37 h 587"/>
                <a:gd name="T114" fmla="*/ 1416 w 1552"/>
                <a:gd name="T115" fmla="*/ 408 h 587"/>
                <a:gd name="T116" fmla="*/ 1369 w 1552"/>
                <a:gd name="T117" fmla="*/ 535 h 587"/>
                <a:gd name="T118" fmla="*/ 1274 w 1552"/>
                <a:gd name="T119" fmla="*/ 490 h 587"/>
                <a:gd name="T120" fmla="*/ 1276 w 1552"/>
                <a:gd name="T121" fmla="*/ 365 h 587"/>
                <a:gd name="T122" fmla="*/ 1385 w 1552"/>
                <a:gd name="T123" fmla="*/ 34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373"/>
            <p:cNvSpPr>
              <a:spLocks/>
            </p:cNvSpPr>
            <p:nvPr/>
          </p:nvSpPr>
          <p:spPr bwMode="auto">
            <a:xfrm>
              <a:off x="6526" y="2285"/>
              <a:ext cx="299" cy="549"/>
            </a:xfrm>
            <a:custGeom>
              <a:avLst/>
              <a:gdLst>
                <a:gd name="T0" fmla="*/ 97 w 299"/>
                <a:gd name="T1" fmla="*/ 84 h 549"/>
                <a:gd name="T2" fmla="*/ 114 w 299"/>
                <a:gd name="T3" fmla="*/ 197 h 549"/>
                <a:gd name="T4" fmla="*/ 125 w 299"/>
                <a:gd name="T5" fmla="*/ 241 h 549"/>
                <a:gd name="T6" fmla="*/ 118 w 299"/>
                <a:gd name="T7" fmla="*/ 280 h 549"/>
                <a:gd name="T8" fmla="*/ 122 w 299"/>
                <a:gd name="T9" fmla="*/ 304 h 549"/>
                <a:gd name="T10" fmla="*/ 196 w 299"/>
                <a:gd name="T11" fmla="*/ 301 h 549"/>
                <a:gd name="T12" fmla="*/ 243 w 299"/>
                <a:gd name="T13" fmla="*/ 310 h 549"/>
                <a:gd name="T14" fmla="*/ 272 w 299"/>
                <a:gd name="T15" fmla="*/ 325 h 549"/>
                <a:gd name="T16" fmla="*/ 292 w 299"/>
                <a:gd name="T17" fmla="*/ 355 h 549"/>
                <a:gd name="T18" fmla="*/ 297 w 299"/>
                <a:gd name="T19" fmla="*/ 421 h 549"/>
                <a:gd name="T20" fmla="*/ 296 w 299"/>
                <a:gd name="T21" fmla="*/ 489 h 549"/>
                <a:gd name="T22" fmla="*/ 286 w 299"/>
                <a:gd name="T23" fmla="*/ 519 h 549"/>
                <a:gd name="T24" fmla="*/ 276 w 299"/>
                <a:gd name="T25" fmla="*/ 535 h 549"/>
                <a:gd name="T26" fmla="*/ 258 w 299"/>
                <a:gd name="T27" fmla="*/ 546 h 549"/>
                <a:gd name="T28" fmla="*/ 236 w 299"/>
                <a:gd name="T29" fmla="*/ 547 h 549"/>
                <a:gd name="T30" fmla="*/ 223 w 299"/>
                <a:gd name="T31" fmla="*/ 540 h 549"/>
                <a:gd name="T32" fmla="*/ 218 w 299"/>
                <a:gd name="T33" fmla="*/ 523 h 549"/>
                <a:gd name="T34" fmla="*/ 225 w 299"/>
                <a:gd name="T35" fmla="*/ 493 h 549"/>
                <a:gd name="T36" fmla="*/ 232 w 299"/>
                <a:gd name="T37" fmla="*/ 446 h 549"/>
                <a:gd name="T38" fmla="*/ 229 w 299"/>
                <a:gd name="T39" fmla="*/ 398 h 549"/>
                <a:gd name="T40" fmla="*/ 216 w 299"/>
                <a:gd name="T41" fmla="*/ 372 h 549"/>
                <a:gd name="T42" fmla="*/ 198 w 299"/>
                <a:gd name="T43" fmla="*/ 352 h 549"/>
                <a:gd name="T44" fmla="*/ 159 w 299"/>
                <a:gd name="T45" fmla="*/ 340 h 549"/>
                <a:gd name="T46" fmla="*/ 118 w 299"/>
                <a:gd name="T47" fmla="*/ 341 h 549"/>
                <a:gd name="T48" fmla="*/ 108 w 299"/>
                <a:gd name="T49" fmla="*/ 355 h 549"/>
                <a:gd name="T50" fmla="*/ 97 w 299"/>
                <a:gd name="T51" fmla="*/ 388 h 549"/>
                <a:gd name="T52" fmla="*/ 94 w 299"/>
                <a:gd name="T53" fmla="*/ 445 h 549"/>
                <a:gd name="T54" fmla="*/ 94 w 299"/>
                <a:gd name="T55" fmla="*/ 492 h 549"/>
                <a:gd name="T56" fmla="*/ 90 w 299"/>
                <a:gd name="T57" fmla="*/ 519 h 549"/>
                <a:gd name="T58" fmla="*/ 77 w 299"/>
                <a:gd name="T59" fmla="*/ 542 h 549"/>
                <a:gd name="T60" fmla="*/ 61 w 299"/>
                <a:gd name="T61" fmla="*/ 549 h 549"/>
                <a:gd name="T62" fmla="*/ 38 w 299"/>
                <a:gd name="T63" fmla="*/ 544 h 549"/>
                <a:gd name="T64" fmla="*/ 23 w 299"/>
                <a:gd name="T65" fmla="*/ 532 h 549"/>
                <a:gd name="T66" fmla="*/ 19 w 299"/>
                <a:gd name="T67" fmla="*/ 503 h 549"/>
                <a:gd name="T68" fmla="*/ 26 w 299"/>
                <a:gd name="T69" fmla="*/ 436 h 549"/>
                <a:gd name="T70" fmla="*/ 21 w 299"/>
                <a:gd name="T71" fmla="*/ 395 h 549"/>
                <a:gd name="T72" fmla="*/ 7 w 299"/>
                <a:gd name="T73" fmla="*/ 370 h 549"/>
                <a:gd name="T74" fmla="*/ 0 w 299"/>
                <a:gd name="T75" fmla="*/ 358 h 549"/>
                <a:gd name="T76" fmla="*/ 16 w 299"/>
                <a:gd name="T77" fmla="*/ 344 h 549"/>
                <a:gd name="T78" fmla="*/ 37 w 299"/>
                <a:gd name="T79" fmla="*/ 331 h 549"/>
                <a:gd name="T80" fmla="*/ 43 w 299"/>
                <a:gd name="T81" fmla="*/ 320 h 549"/>
                <a:gd name="T82" fmla="*/ 51 w 299"/>
                <a:gd name="T83" fmla="*/ 305 h 549"/>
                <a:gd name="T84" fmla="*/ 67 w 299"/>
                <a:gd name="T85" fmla="*/ 276 h 549"/>
                <a:gd name="T86" fmla="*/ 71 w 299"/>
                <a:gd name="T87" fmla="*/ 241 h 549"/>
                <a:gd name="T88" fmla="*/ 65 w 299"/>
                <a:gd name="T89" fmla="*/ 224 h 549"/>
                <a:gd name="T90" fmla="*/ 57 w 299"/>
                <a:gd name="T91" fmla="*/ 190 h 549"/>
                <a:gd name="T92" fmla="*/ 57 w 299"/>
                <a:gd name="T93" fmla="*/ 146 h 549"/>
                <a:gd name="T94" fmla="*/ 50 w 299"/>
                <a:gd name="T95" fmla="*/ 121 h 549"/>
                <a:gd name="T96" fmla="*/ 37 w 299"/>
                <a:gd name="T97" fmla="*/ 74 h 549"/>
                <a:gd name="T98" fmla="*/ 33 w 299"/>
                <a:gd name="T99" fmla="*/ 32 h 549"/>
                <a:gd name="T100" fmla="*/ 41 w 299"/>
                <a:gd name="T101" fmla="*/ 11 h 549"/>
                <a:gd name="T102" fmla="*/ 54 w 299"/>
                <a:gd name="T103" fmla="*/ 0 h 549"/>
                <a:gd name="T104" fmla="*/ 77 w 299"/>
                <a:gd name="T105" fmla="*/ 15 h 549"/>
                <a:gd name="T106" fmla="*/ 87 w 299"/>
                <a:gd name="T107" fmla="*/ 44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9" h="549">
                  <a:moveTo>
                    <a:pt x="91" y="62"/>
                  </a:moveTo>
                  <a:lnTo>
                    <a:pt x="91" y="62"/>
                  </a:lnTo>
                  <a:lnTo>
                    <a:pt x="97" y="84"/>
                  </a:lnTo>
                  <a:lnTo>
                    <a:pt x="102" y="105"/>
                  </a:lnTo>
                  <a:lnTo>
                    <a:pt x="108" y="152"/>
                  </a:lnTo>
                  <a:lnTo>
                    <a:pt x="114" y="197"/>
                  </a:lnTo>
                  <a:lnTo>
                    <a:pt x="118" y="219"/>
                  </a:lnTo>
                  <a:lnTo>
                    <a:pt x="125" y="241"/>
                  </a:lnTo>
                  <a:lnTo>
                    <a:pt x="125" y="241"/>
                  </a:lnTo>
                  <a:lnTo>
                    <a:pt x="121" y="256"/>
                  </a:lnTo>
                  <a:lnTo>
                    <a:pt x="118" y="273"/>
                  </a:lnTo>
                  <a:lnTo>
                    <a:pt x="118" y="280"/>
                  </a:lnTo>
                  <a:lnTo>
                    <a:pt x="118" y="288"/>
                  </a:lnTo>
                  <a:lnTo>
                    <a:pt x="120" y="296"/>
                  </a:lnTo>
                  <a:lnTo>
                    <a:pt x="122" y="304"/>
                  </a:lnTo>
                  <a:lnTo>
                    <a:pt x="122" y="304"/>
                  </a:lnTo>
                  <a:lnTo>
                    <a:pt x="171" y="301"/>
                  </a:lnTo>
                  <a:lnTo>
                    <a:pt x="196" y="301"/>
                  </a:lnTo>
                  <a:lnTo>
                    <a:pt x="221" y="304"/>
                  </a:lnTo>
                  <a:lnTo>
                    <a:pt x="232" y="305"/>
                  </a:lnTo>
                  <a:lnTo>
                    <a:pt x="243" y="310"/>
                  </a:lnTo>
                  <a:lnTo>
                    <a:pt x="253" y="314"/>
                  </a:lnTo>
                  <a:lnTo>
                    <a:pt x="263" y="318"/>
                  </a:lnTo>
                  <a:lnTo>
                    <a:pt x="272" y="325"/>
                  </a:lnTo>
                  <a:lnTo>
                    <a:pt x="279" y="334"/>
                  </a:lnTo>
                  <a:lnTo>
                    <a:pt x="286" y="344"/>
                  </a:lnTo>
                  <a:lnTo>
                    <a:pt x="292" y="355"/>
                  </a:lnTo>
                  <a:lnTo>
                    <a:pt x="292" y="355"/>
                  </a:lnTo>
                  <a:lnTo>
                    <a:pt x="296" y="398"/>
                  </a:lnTo>
                  <a:lnTo>
                    <a:pt x="297" y="421"/>
                  </a:lnTo>
                  <a:lnTo>
                    <a:pt x="299" y="445"/>
                  </a:lnTo>
                  <a:lnTo>
                    <a:pt x="299" y="468"/>
                  </a:lnTo>
                  <a:lnTo>
                    <a:pt x="296" y="489"/>
                  </a:lnTo>
                  <a:lnTo>
                    <a:pt x="293" y="499"/>
                  </a:lnTo>
                  <a:lnTo>
                    <a:pt x="290" y="510"/>
                  </a:lnTo>
                  <a:lnTo>
                    <a:pt x="286" y="519"/>
                  </a:lnTo>
                  <a:lnTo>
                    <a:pt x="280" y="529"/>
                  </a:lnTo>
                  <a:lnTo>
                    <a:pt x="280" y="529"/>
                  </a:lnTo>
                  <a:lnTo>
                    <a:pt x="276" y="535"/>
                  </a:lnTo>
                  <a:lnTo>
                    <a:pt x="270" y="539"/>
                  </a:lnTo>
                  <a:lnTo>
                    <a:pt x="263" y="543"/>
                  </a:lnTo>
                  <a:lnTo>
                    <a:pt x="258" y="546"/>
                  </a:lnTo>
                  <a:lnTo>
                    <a:pt x="250" y="547"/>
                  </a:lnTo>
                  <a:lnTo>
                    <a:pt x="243" y="547"/>
                  </a:lnTo>
                  <a:lnTo>
                    <a:pt x="236" y="547"/>
                  </a:lnTo>
                  <a:lnTo>
                    <a:pt x="229" y="546"/>
                  </a:lnTo>
                  <a:lnTo>
                    <a:pt x="229" y="546"/>
                  </a:lnTo>
                  <a:lnTo>
                    <a:pt x="223" y="540"/>
                  </a:lnTo>
                  <a:lnTo>
                    <a:pt x="221" y="536"/>
                  </a:lnTo>
                  <a:lnTo>
                    <a:pt x="219" y="530"/>
                  </a:lnTo>
                  <a:lnTo>
                    <a:pt x="218" y="523"/>
                  </a:lnTo>
                  <a:lnTo>
                    <a:pt x="219" y="512"/>
                  </a:lnTo>
                  <a:lnTo>
                    <a:pt x="221" y="499"/>
                  </a:lnTo>
                  <a:lnTo>
                    <a:pt x="225" y="493"/>
                  </a:lnTo>
                  <a:lnTo>
                    <a:pt x="225" y="493"/>
                  </a:lnTo>
                  <a:lnTo>
                    <a:pt x="229" y="463"/>
                  </a:lnTo>
                  <a:lnTo>
                    <a:pt x="232" y="446"/>
                  </a:lnTo>
                  <a:lnTo>
                    <a:pt x="232" y="431"/>
                  </a:lnTo>
                  <a:lnTo>
                    <a:pt x="232" y="414"/>
                  </a:lnTo>
                  <a:lnTo>
                    <a:pt x="229" y="398"/>
                  </a:lnTo>
                  <a:lnTo>
                    <a:pt x="223" y="385"/>
                  </a:lnTo>
                  <a:lnTo>
                    <a:pt x="221" y="378"/>
                  </a:lnTo>
                  <a:lnTo>
                    <a:pt x="216" y="372"/>
                  </a:lnTo>
                  <a:lnTo>
                    <a:pt x="216" y="372"/>
                  </a:lnTo>
                  <a:lnTo>
                    <a:pt x="208" y="361"/>
                  </a:lnTo>
                  <a:lnTo>
                    <a:pt x="198" y="352"/>
                  </a:lnTo>
                  <a:lnTo>
                    <a:pt x="186" y="347"/>
                  </a:lnTo>
                  <a:lnTo>
                    <a:pt x="174" y="342"/>
                  </a:lnTo>
                  <a:lnTo>
                    <a:pt x="159" y="340"/>
                  </a:lnTo>
                  <a:lnTo>
                    <a:pt x="147" y="338"/>
                  </a:lnTo>
                  <a:lnTo>
                    <a:pt x="132" y="340"/>
                  </a:lnTo>
                  <a:lnTo>
                    <a:pt x="118" y="341"/>
                  </a:lnTo>
                  <a:lnTo>
                    <a:pt x="118" y="341"/>
                  </a:lnTo>
                  <a:lnTo>
                    <a:pt x="112" y="348"/>
                  </a:lnTo>
                  <a:lnTo>
                    <a:pt x="108" y="355"/>
                  </a:lnTo>
                  <a:lnTo>
                    <a:pt x="104" y="362"/>
                  </a:lnTo>
                  <a:lnTo>
                    <a:pt x="101" y="371"/>
                  </a:lnTo>
                  <a:lnTo>
                    <a:pt x="97" y="388"/>
                  </a:lnTo>
                  <a:lnTo>
                    <a:pt x="94" y="405"/>
                  </a:lnTo>
                  <a:lnTo>
                    <a:pt x="94" y="425"/>
                  </a:lnTo>
                  <a:lnTo>
                    <a:pt x="94" y="445"/>
                  </a:lnTo>
                  <a:lnTo>
                    <a:pt x="94" y="483"/>
                  </a:lnTo>
                  <a:lnTo>
                    <a:pt x="94" y="483"/>
                  </a:lnTo>
                  <a:lnTo>
                    <a:pt x="94" y="492"/>
                  </a:lnTo>
                  <a:lnTo>
                    <a:pt x="94" y="500"/>
                  </a:lnTo>
                  <a:lnTo>
                    <a:pt x="93" y="510"/>
                  </a:lnTo>
                  <a:lnTo>
                    <a:pt x="90" y="519"/>
                  </a:lnTo>
                  <a:lnTo>
                    <a:pt x="87" y="527"/>
                  </a:lnTo>
                  <a:lnTo>
                    <a:pt x="83" y="535"/>
                  </a:lnTo>
                  <a:lnTo>
                    <a:pt x="77" y="542"/>
                  </a:lnTo>
                  <a:lnTo>
                    <a:pt x="70" y="547"/>
                  </a:lnTo>
                  <a:lnTo>
                    <a:pt x="70" y="547"/>
                  </a:lnTo>
                  <a:lnTo>
                    <a:pt x="61" y="549"/>
                  </a:lnTo>
                  <a:lnTo>
                    <a:pt x="53" y="547"/>
                  </a:lnTo>
                  <a:lnTo>
                    <a:pt x="46" y="547"/>
                  </a:lnTo>
                  <a:lnTo>
                    <a:pt x="38" y="544"/>
                  </a:lnTo>
                  <a:lnTo>
                    <a:pt x="33" y="542"/>
                  </a:lnTo>
                  <a:lnTo>
                    <a:pt x="27" y="537"/>
                  </a:lnTo>
                  <a:lnTo>
                    <a:pt x="23" y="532"/>
                  </a:lnTo>
                  <a:lnTo>
                    <a:pt x="19" y="525"/>
                  </a:lnTo>
                  <a:lnTo>
                    <a:pt x="19" y="525"/>
                  </a:lnTo>
                  <a:lnTo>
                    <a:pt x="19" y="503"/>
                  </a:lnTo>
                  <a:lnTo>
                    <a:pt x="20" y="482"/>
                  </a:lnTo>
                  <a:lnTo>
                    <a:pt x="23" y="459"/>
                  </a:lnTo>
                  <a:lnTo>
                    <a:pt x="26" y="436"/>
                  </a:lnTo>
                  <a:lnTo>
                    <a:pt x="26" y="415"/>
                  </a:lnTo>
                  <a:lnTo>
                    <a:pt x="24" y="405"/>
                  </a:lnTo>
                  <a:lnTo>
                    <a:pt x="21" y="395"/>
                  </a:lnTo>
                  <a:lnTo>
                    <a:pt x="19" y="387"/>
                  </a:lnTo>
                  <a:lnTo>
                    <a:pt x="14" y="377"/>
                  </a:lnTo>
                  <a:lnTo>
                    <a:pt x="7" y="370"/>
                  </a:lnTo>
                  <a:lnTo>
                    <a:pt x="0" y="362"/>
                  </a:lnTo>
                  <a:lnTo>
                    <a:pt x="0" y="362"/>
                  </a:lnTo>
                  <a:lnTo>
                    <a:pt x="0" y="358"/>
                  </a:lnTo>
                  <a:lnTo>
                    <a:pt x="3" y="354"/>
                  </a:lnTo>
                  <a:lnTo>
                    <a:pt x="7" y="348"/>
                  </a:lnTo>
                  <a:lnTo>
                    <a:pt x="16" y="344"/>
                  </a:lnTo>
                  <a:lnTo>
                    <a:pt x="23" y="340"/>
                  </a:lnTo>
                  <a:lnTo>
                    <a:pt x="31" y="337"/>
                  </a:lnTo>
                  <a:lnTo>
                    <a:pt x="37" y="331"/>
                  </a:lnTo>
                  <a:lnTo>
                    <a:pt x="40" y="328"/>
                  </a:lnTo>
                  <a:lnTo>
                    <a:pt x="41" y="324"/>
                  </a:lnTo>
                  <a:lnTo>
                    <a:pt x="43" y="320"/>
                  </a:lnTo>
                  <a:lnTo>
                    <a:pt x="43" y="314"/>
                  </a:lnTo>
                  <a:lnTo>
                    <a:pt x="43" y="314"/>
                  </a:lnTo>
                  <a:lnTo>
                    <a:pt x="51" y="305"/>
                  </a:lnTo>
                  <a:lnTo>
                    <a:pt x="58" y="296"/>
                  </a:lnTo>
                  <a:lnTo>
                    <a:pt x="64" y="286"/>
                  </a:lnTo>
                  <a:lnTo>
                    <a:pt x="67" y="276"/>
                  </a:lnTo>
                  <a:lnTo>
                    <a:pt x="70" y="264"/>
                  </a:lnTo>
                  <a:lnTo>
                    <a:pt x="71" y="253"/>
                  </a:lnTo>
                  <a:lnTo>
                    <a:pt x="71" y="241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5" y="224"/>
                  </a:lnTo>
                  <a:lnTo>
                    <a:pt x="63" y="219"/>
                  </a:lnTo>
                  <a:lnTo>
                    <a:pt x="58" y="205"/>
                  </a:lnTo>
                  <a:lnTo>
                    <a:pt x="57" y="190"/>
                  </a:lnTo>
                  <a:lnTo>
                    <a:pt x="57" y="176"/>
                  </a:lnTo>
                  <a:lnTo>
                    <a:pt x="58" y="160"/>
                  </a:lnTo>
                  <a:lnTo>
                    <a:pt x="57" y="146"/>
                  </a:lnTo>
                  <a:lnTo>
                    <a:pt x="56" y="133"/>
                  </a:lnTo>
                  <a:lnTo>
                    <a:pt x="53" y="126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41" y="91"/>
                  </a:lnTo>
                  <a:lnTo>
                    <a:pt x="37" y="74"/>
                  </a:lnTo>
                  <a:lnTo>
                    <a:pt x="33" y="57"/>
                  </a:lnTo>
                  <a:lnTo>
                    <a:pt x="33" y="41"/>
                  </a:lnTo>
                  <a:lnTo>
                    <a:pt x="33" y="32"/>
                  </a:lnTo>
                  <a:lnTo>
                    <a:pt x="36" y="25"/>
                  </a:lnTo>
                  <a:lnTo>
                    <a:pt x="37" y="18"/>
                  </a:lnTo>
                  <a:lnTo>
                    <a:pt x="41" y="11"/>
                  </a:lnTo>
                  <a:lnTo>
                    <a:pt x="47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3"/>
                  </a:lnTo>
                  <a:lnTo>
                    <a:pt x="71" y="8"/>
                  </a:lnTo>
                  <a:lnTo>
                    <a:pt x="77" y="15"/>
                  </a:lnTo>
                  <a:lnTo>
                    <a:pt x="81" y="24"/>
                  </a:lnTo>
                  <a:lnTo>
                    <a:pt x="84" y="34"/>
                  </a:lnTo>
                  <a:lnTo>
                    <a:pt x="87" y="44"/>
                  </a:lnTo>
                  <a:lnTo>
                    <a:pt x="91" y="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374"/>
            <p:cNvSpPr>
              <a:spLocks/>
            </p:cNvSpPr>
            <p:nvPr/>
          </p:nvSpPr>
          <p:spPr bwMode="auto">
            <a:xfrm>
              <a:off x="7126" y="2317"/>
              <a:ext cx="131" cy="511"/>
            </a:xfrm>
            <a:custGeom>
              <a:avLst/>
              <a:gdLst>
                <a:gd name="T0" fmla="*/ 15 w 131"/>
                <a:gd name="T1" fmla="*/ 7 h 511"/>
                <a:gd name="T2" fmla="*/ 3 w 131"/>
                <a:gd name="T3" fmla="*/ 17 h 511"/>
                <a:gd name="T4" fmla="*/ 0 w 131"/>
                <a:gd name="T5" fmla="*/ 32 h 511"/>
                <a:gd name="T6" fmla="*/ 2 w 131"/>
                <a:gd name="T7" fmla="*/ 63 h 511"/>
                <a:gd name="T8" fmla="*/ 10 w 131"/>
                <a:gd name="T9" fmla="*/ 77 h 511"/>
                <a:gd name="T10" fmla="*/ 22 w 131"/>
                <a:gd name="T11" fmla="*/ 110 h 511"/>
                <a:gd name="T12" fmla="*/ 27 w 131"/>
                <a:gd name="T13" fmla="*/ 143 h 511"/>
                <a:gd name="T14" fmla="*/ 32 w 131"/>
                <a:gd name="T15" fmla="*/ 195 h 511"/>
                <a:gd name="T16" fmla="*/ 36 w 131"/>
                <a:gd name="T17" fmla="*/ 301 h 511"/>
                <a:gd name="T18" fmla="*/ 39 w 131"/>
                <a:gd name="T19" fmla="*/ 335 h 511"/>
                <a:gd name="T20" fmla="*/ 46 w 131"/>
                <a:gd name="T21" fmla="*/ 352 h 511"/>
                <a:gd name="T22" fmla="*/ 43 w 131"/>
                <a:gd name="T23" fmla="*/ 369 h 511"/>
                <a:gd name="T24" fmla="*/ 39 w 131"/>
                <a:gd name="T25" fmla="*/ 387 h 511"/>
                <a:gd name="T26" fmla="*/ 39 w 131"/>
                <a:gd name="T27" fmla="*/ 407 h 511"/>
                <a:gd name="T28" fmla="*/ 43 w 131"/>
                <a:gd name="T29" fmla="*/ 416 h 511"/>
                <a:gd name="T30" fmla="*/ 46 w 131"/>
                <a:gd name="T31" fmla="*/ 436 h 511"/>
                <a:gd name="T32" fmla="*/ 46 w 131"/>
                <a:gd name="T33" fmla="*/ 467 h 511"/>
                <a:gd name="T34" fmla="*/ 47 w 131"/>
                <a:gd name="T35" fmla="*/ 487 h 511"/>
                <a:gd name="T36" fmla="*/ 53 w 131"/>
                <a:gd name="T37" fmla="*/ 494 h 511"/>
                <a:gd name="T38" fmla="*/ 66 w 131"/>
                <a:gd name="T39" fmla="*/ 505 h 511"/>
                <a:gd name="T40" fmla="*/ 83 w 131"/>
                <a:gd name="T41" fmla="*/ 511 h 511"/>
                <a:gd name="T42" fmla="*/ 103 w 131"/>
                <a:gd name="T43" fmla="*/ 511 h 511"/>
                <a:gd name="T44" fmla="*/ 113 w 131"/>
                <a:gd name="T45" fmla="*/ 508 h 511"/>
                <a:gd name="T46" fmla="*/ 124 w 131"/>
                <a:gd name="T47" fmla="*/ 501 h 511"/>
                <a:gd name="T48" fmla="*/ 130 w 131"/>
                <a:gd name="T49" fmla="*/ 491 h 511"/>
                <a:gd name="T50" fmla="*/ 131 w 131"/>
                <a:gd name="T51" fmla="*/ 480 h 511"/>
                <a:gd name="T52" fmla="*/ 126 w 131"/>
                <a:gd name="T53" fmla="*/ 453 h 511"/>
                <a:gd name="T54" fmla="*/ 118 w 131"/>
                <a:gd name="T55" fmla="*/ 426 h 511"/>
                <a:gd name="T56" fmla="*/ 117 w 131"/>
                <a:gd name="T57" fmla="*/ 413 h 511"/>
                <a:gd name="T58" fmla="*/ 116 w 131"/>
                <a:gd name="T59" fmla="*/ 384 h 511"/>
                <a:gd name="T60" fmla="*/ 121 w 131"/>
                <a:gd name="T61" fmla="*/ 299 h 511"/>
                <a:gd name="T62" fmla="*/ 123 w 131"/>
                <a:gd name="T63" fmla="*/ 256 h 511"/>
                <a:gd name="T64" fmla="*/ 118 w 131"/>
                <a:gd name="T65" fmla="*/ 229 h 511"/>
                <a:gd name="T66" fmla="*/ 110 w 131"/>
                <a:gd name="T67" fmla="*/ 204 h 511"/>
                <a:gd name="T68" fmla="*/ 104 w 131"/>
                <a:gd name="T69" fmla="*/ 191 h 511"/>
                <a:gd name="T70" fmla="*/ 97 w 131"/>
                <a:gd name="T71" fmla="*/ 145 h 511"/>
                <a:gd name="T72" fmla="*/ 80 w 131"/>
                <a:gd name="T73" fmla="*/ 81 h 511"/>
                <a:gd name="T74" fmla="*/ 73 w 131"/>
                <a:gd name="T75" fmla="*/ 37 h 511"/>
                <a:gd name="T76" fmla="*/ 73 w 131"/>
                <a:gd name="T77" fmla="*/ 16 h 511"/>
                <a:gd name="T78" fmla="*/ 62 w 131"/>
                <a:gd name="T79" fmla="*/ 3 h 511"/>
                <a:gd name="T80" fmla="*/ 47 w 131"/>
                <a:gd name="T81" fmla="*/ 0 h 511"/>
                <a:gd name="T82" fmla="*/ 30 w 131"/>
                <a:gd name="T83" fmla="*/ 2 h 511"/>
                <a:gd name="T84" fmla="*/ 15 w 131"/>
                <a:gd name="T85" fmla="*/ 7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" h="511">
                  <a:moveTo>
                    <a:pt x="15" y="7"/>
                  </a:moveTo>
                  <a:lnTo>
                    <a:pt x="15" y="7"/>
                  </a:lnTo>
                  <a:lnTo>
                    <a:pt x="9" y="12"/>
                  </a:lnTo>
                  <a:lnTo>
                    <a:pt x="3" y="17"/>
                  </a:lnTo>
                  <a:lnTo>
                    <a:pt x="2" y="23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10" y="77"/>
                  </a:lnTo>
                  <a:lnTo>
                    <a:pt x="16" y="93"/>
                  </a:lnTo>
                  <a:lnTo>
                    <a:pt x="22" y="110"/>
                  </a:lnTo>
                  <a:lnTo>
                    <a:pt x="25" y="126"/>
                  </a:lnTo>
                  <a:lnTo>
                    <a:pt x="27" y="143"/>
                  </a:lnTo>
                  <a:lnTo>
                    <a:pt x="30" y="160"/>
                  </a:lnTo>
                  <a:lnTo>
                    <a:pt x="32" y="195"/>
                  </a:lnTo>
                  <a:lnTo>
                    <a:pt x="33" y="266"/>
                  </a:lnTo>
                  <a:lnTo>
                    <a:pt x="36" y="301"/>
                  </a:lnTo>
                  <a:lnTo>
                    <a:pt x="39" y="335"/>
                  </a:lnTo>
                  <a:lnTo>
                    <a:pt x="39" y="335"/>
                  </a:lnTo>
                  <a:lnTo>
                    <a:pt x="44" y="343"/>
                  </a:lnTo>
                  <a:lnTo>
                    <a:pt x="46" y="352"/>
                  </a:lnTo>
                  <a:lnTo>
                    <a:pt x="46" y="360"/>
                  </a:lnTo>
                  <a:lnTo>
                    <a:pt x="43" y="369"/>
                  </a:lnTo>
                  <a:lnTo>
                    <a:pt x="40" y="377"/>
                  </a:lnTo>
                  <a:lnTo>
                    <a:pt x="39" y="387"/>
                  </a:lnTo>
                  <a:lnTo>
                    <a:pt x="37" y="39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43" y="416"/>
                  </a:lnTo>
                  <a:lnTo>
                    <a:pt x="44" y="426"/>
                  </a:lnTo>
                  <a:lnTo>
                    <a:pt x="46" y="436"/>
                  </a:lnTo>
                  <a:lnTo>
                    <a:pt x="46" y="446"/>
                  </a:lnTo>
                  <a:lnTo>
                    <a:pt x="46" y="467"/>
                  </a:lnTo>
                  <a:lnTo>
                    <a:pt x="46" y="477"/>
                  </a:lnTo>
                  <a:lnTo>
                    <a:pt x="47" y="487"/>
                  </a:lnTo>
                  <a:lnTo>
                    <a:pt x="47" y="487"/>
                  </a:lnTo>
                  <a:lnTo>
                    <a:pt x="53" y="494"/>
                  </a:lnTo>
                  <a:lnTo>
                    <a:pt x="59" y="501"/>
                  </a:lnTo>
                  <a:lnTo>
                    <a:pt x="66" y="505"/>
                  </a:lnTo>
                  <a:lnTo>
                    <a:pt x="74" y="510"/>
                  </a:lnTo>
                  <a:lnTo>
                    <a:pt x="83" y="511"/>
                  </a:lnTo>
                  <a:lnTo>
                    <a:pt x="93" y="511"/>
                  </a:lnTo>
                  <a:lnTo>
                    <a:pt x="103" y="511"/>
                  </a:lnTo>
                  <a:lnTo>
                    <a:pt x="113" y="508"/>
                  </a:lnTo>
                  <a:lnTo>
                    <a:pt x="113" y="508"/>
                  </a:lnTo>
                  <a:lnTo>
                    <a:pt x="118" y="505"/>
                  </a:lnTo>
                  <a:lnTo>
                    <a:pt x="124" y="501"/>
                  </a:lnTo>
                  <a:lnTo>
                    <a:pt x="127" y="497"/>
                  </a:lnTo>
                  <a:lnTo>
                    <a:pt x="130" y="491"/>
                  </a:lnTo>
                  <a:lnTo>
                    <a:pt x="131" y="485"/>
                  </a:lnTo>
                  <a:lnTo>
                    <a:pt x="131" y="480"/>
                  </a:lnTo>
                  <a:lnTo>
                    <a:pt x="130" y="467"/>
                  </a:lnTo>
                  <a:lnTo>
                    <a:pt x="126" y="453"/>
                  </a:lnTo>
                  <a:lnTo>
                    <a:pt x="123" y="439"/>
                  </a:lnTo>
                  <a:lnTo>
                    <a:pt x="118" y="426"/>
                  </a:lnTo>
                  <a:lnTo>
                    <a:pt x="117" y="413"/>
                  </a:lnTo>
                  <a:lnTo>
                    <a:pt x="117" y="413"/>
                  </a:lnTo>
                  <a:lnTo>
                    <a:pt x="116" y="399"/>
                  </a:lnTo>
                  <a:lnTo>
                    <a:pt x="116" y="384"/>
                  </a:lnTo>
                  <a:lnTo>
                    <a:pt x="117" y="356"/>
                  </a:lnTo>
                  <a:lnTo>
                    <a:pt x="121" y="299"/>
                  </a:lnTo>
                  <a:lnTo>
                    <a:pt x="123" y="271"/>
                  </a:lnTo>
                  <a:lnTo>
                    <a:pt x="123" y="256"/>
                  </a:lnTo>
                  <a:lnTo>
                    <a:pt x="121" y="244"/>
                  </a:lnTo>
                  <a:lnTo>
                    <a:pt x="118" y="229"/>
                  </a:lnTo>
                  <a:lnTo>
                    <a:pt x="116" y="217"/>
                  </a:lnTo>
                  <a:lnTo>
                    <a:pt x="110" y="204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1" y="168"/>
                  </a:lnTo>
                  <a:lnTo>
                    <a:pt x="97" y="145"/>
                  </a:lnTo>
                  <a:lnTo>
                    <a:pt x="86" y="103"/>
                  </a:lnTo>
                  <a:lnTo>
                    <a:pt x="80" y="81"/>
                  </a:lnTo>
                  <a:lnTo>
                    <a:pt x="76" y="60"/>
                  </a:lnTo>
                  <a:lnTo>
                    <a:pt x="73" y="37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67" y="9"/>
                  </a:lnTo>
                  <a:lnTo>
                    <a:pt x="62" y="3"/>
                  </a:lnTo>
                  <a:lnTo>
                    <a:pt x="54" y="2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0" y="2"/>
                  </a:lnTo>
                  <a:lnTo>
                    <a:pt x="22" y="5"/>
                  </a:lnTo>
                  <a:lnTo>
                    <a:pt x="15" y="7"/>
                  </a:lnTo>
                  <a:lnTo>
                    <a:pt x="15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375"/>
            <p:cNvSpPr>
              <a:spLocks/>
            </p:cNvSpPr>
            <p:nvPr/>
          </p:nvSpPr>
          <p:spPr bwMode="auto">
            <a:xfrm>
              <a:off x="6983" y="2462"/>
              <a:ext cx="57" cy="35"/>
            </a:xfrm>
            <a:custGeom>
              <a:avLst/>
              <a:gdLst>
                <a:gd name="T0" fmla="*/ 0 w 57"/>
                <a:gd name="T1" fmla="*/ 28 h 35"/>
                <a:gd name="T2" fmla="*/ 0 w 57"/>
                <a:gd name="T3" fmla="*/ 28 h 35"/>
                <a:gd name="T4" fmla="*/ 10 w 57"/>
                <a:gd name="T5" fmla="*/ 30 h 35"/>
                <a:gd name="T6" fmla="*/ 18 w 57"/>
                <a:gd name="T7" fmla="*/ 33 h 35"/>
                <a:gd name="T8" fmla="*/ 28 w 57"/>
                <a:gd name="T9" fmla="*/ 35 h 35"/>
                <a:gd name="T10" fmla="*/ 38 w 57"/>
                <a:gd name="T11" fmla="*/ 32 h 35"/>
                <a:gd name="T12" fmla="*/ 38 w 57"/>
                <a:gd name="T13" fmla="*/ 32 h 35"/>
                <a:gd name="T14" fmla="*/ 45 w 57"/>
                <a:gd name="T15" fmla="*/ 28 h 35"/>
                <a:gd name="T16" fmla="*/ 52 w 57"/>
                <a:gd name="T17" fmla="*/ 19 h 35"/>
                <a:gd name="T18" fmla="*/ 55 w 57"/>
                <a:gd name="T19" fmla="*/ 15 h 35"/>
                <a:gd name="T20" fmla="*/ 57 w 57"/>
                <a:gd name="T21" fmla="*/ 10 h 35"/>
                <a:gd name="T22" fmla="*/ 55 w 57"/>
                <a:gd name="T23" fmla="*/ 5 h 35"/>
                <a:gd name="T24" fmla="*/ 54 w 57"/>
                <a:gd name="T25" fmla="*/ 0 h 35"/>
                <a:gd name="T26" fmla="*/ 54 w 57"/>
                <a:gd name="T27" fmla="*/ 0 h 35"/>
                <a:gd name="T28" fmla="*/ 37 w 57"/>
                <a:gd name="T29" fmla="*/ 2 h 35"/>
                <a:gd name="T30" fmla="*/ 30 w 57"/>
                <a:gd name="T31" fmla="*/ 3 h 35"/>
                <a:gd name="T32" fmla="*/ 21 w 57"/>
                <a:gd name="T33" fmla="*/ 6 h 35"/>
                <a:gd name="T34" fmla="*/ 14 w 57"/>
                <a:gd name="T35" fmla="*/ 9 h 35"/>
                <a:gd name="T36" fmla="*/ 8 w 57"/>
                <a:gd name="T37" fmla="*/ 13 h 35"/>
                <a:gd name="T38" fmla="*/ 4 w 57"/>
                <a:gd name="T39" fmla="*/ 19 h 35"/>
                <a:gd name="T40" fmla="*/ 0 w 57"/>
                <a:gd name="T41" fmla="*/ 28 h 35"/>
                <a:gd name="T42" fmla="*/ 0 w 57"/>
                <a:gd name="T43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5">
                  <a:moveTo>
                    <a:pt x="0" y="28"/>
                  </a:moveTo>
                  <a:lnTo>
                    <a:pt x="0" y="28"/>
                  </a:lnTo>
                  <a:lnTo>
                    <a:pt x="10" y="30"/>
                  </a:lnTo>
                  <a:lnTo>
                    <a:pt x="18" y="33"/>
                  </a:lnTo>
                  <a:lnTo>
                    <a:pt x="28" y="35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5" y="28"/>
                  </a:lnTo>
                  <a:lnTo>
                    <a:pt x="52" y="19"/>
                  </a:lnTo>
                  <a:lnTo>
                    <a:pt x="55" y="15"/>
                  </a:lnTo>
                  <a:lnTo>
                    <a:pt x="57" y="10"/>
                  </a:lnTo>
                  <a:lnTo>
                    <a:pt x="55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8" y="13"/>
                  </a:lnTo>
                  <a:lnTo>
                    <a:pt x="4" y="19"/>
                  </a:lnTo>
                  <a:lnTo>
                    <a:pt x="0" y="28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" name="Freeform 376"/>
            <p:cNvSpPr>
              <a:spLocks/>
            </p:cNvSpPr>
            <p:nvPr/>
          </p:nvSpPr>
          <p:spPr bwMode="auto">
            <a:xfrm>
              <a:off x="6205" y="2532"/>
              <a:ext cx="251" cy="340"/>
            </a:xfrm>
            <a:custGeom>
              <a:avLst/>
              <a:gdLst>
                <a:gd name="T0" fmla="*/ 207 w 251"/>
                <a:gd name="T1" fmla="*/ 6 h 340"/>
                <a:gd name="T2" fmla="*/ 180 w 251"/>
                <a:gd name="T3" fmla="*/ 2 h 340"/>
                <a:gd name="T4" fmla="*/ 156 w 251"/>
                <a:gd name="T5" fmla="*/ 2 h 340"/>
                <a:gd name="T6" fmla="*/ 133 w 251"/>
                <a:gd name="T7" fmla="*/ 6 h 340"/>
                <a:gd name="T8" fmla="*/ 110 w 251"/>
                <a:gd name="T9" fmla="*/ 16 h 340"/>
                <a:gd name="T10" fmla="*/ 69 w 251"/>
                <a:gd name="T11" fmla="*/ 39 h 340"/>
                <a:gd name="T12" fmla="*/ 28 w 251"/>
                <a:gd name="T13" fmla="*/ 64 h 340"/>
                <a:gd name="T14" fmla="*/ 21 w 251"/>
                <a:gd name="T15" fmla="*/ 73 h 340"/>
                <a:gd name="T16" fmla="*/ 9 w 251"/>
                <a:gd name="T17" fmla="*/ 88 h 340"/>
                <a:gd name="T18" fmla="*/ 4 w 251"/>
                <a:gd name="T19" fmla="*/ 107 h 340"/>
                <a:gd name="T20" fmla="*/ 0 w 251"/>
                <a:gd name="T21" fmla="*/ 137 h 340"/>
                <a:gd name="T22" fmla="*/ 1 w 251"/>
                <a:gd name="T23" fmla="*/ 181 h 340"/>
                <a:gd name="T24" fmla="*/ 2 w 251"/>
                <a:gd name="T25" fmla="*/ 224 h 340"/>
                <a:gd name="T26" fmla="*/ 5 w 251"/>
                <a:gd name="T27" fmla="*/ 235 h 340"/>
                <a:gd name="T28" fmla="*/ 7 w 251"/>
                <a:gd name="T29" fmla="*/ 273 h 340"/>
                <a:gd name="T30" fmla="*/ 11 w 251"/>
                <a:gd name="T31" fmla="*/ 296 h 340"/>
                <a:gd name="T32" fmla="*/ 19 w 251"/>
                <a:gd name="T33" fmla="*/ 312 h 340"/>
                <a:gd name="T34" fmla="*/ 24 w 251"/>
                <a:gd name="T35" fmla="*/ 317 h 340"/>
                <a:gd name="T36" fmla="*/ 42 w 251"/>
                <a:gd name="T37" fmla="*/ 327 h 340"/>
                <a:gd name="T38" fmla="*/ 62 w 251"/>
                <a:gd name="T39" fmla="*/ 334 h 340"/>
                <a:gd name="T40" fmla="*/ 106 w 251"/>
                <a:gd name="T41" fmla="*/ 340 h 340"/>
                <a:gd name="T42" fmla="*/ 153 w 251"/>
                <a:gd name="T43" fmla="*/ 339 h 340"/>
                <a:gd name="T44" fmla="*/ 197 w 251"/>
                <a:gd name="T45" fmla="*/ 332 h 340"/>
                <a:gd name="T46" fmla="*/ 211 w 251"/>
                <a:gd name="T47" fmla="*/ 327 h 340"/>
                <a:gd name="T48" fmla="*/ 237 w 251"/>
                <a:gd name="T49" fmla="*/ 313 h 340"/>
                <a:gd name="T50" fmla="*/ 248 w 251"/>
                <a:gd name="T51" fmla="*/ 305 h 340"/>
                <a:gd name="T52" fmla="*/ 251 w 251"/>
                <a:gd name="T53" fmla="*/ 293 h 340"/>
                <a:gd name="T54" fmla="*/ 247 w 251"/>
                <a:gd name="T55" fmla="*/ 285 h 340"/>
                <a:gd name="T56" fmla="*/ 244 w 251"/>
                <a:gd name="T57" fmla="*/ 283 h 340"/>
                <a:gd name="T58" fmla="*/ 207 w 251"/>
                <a:gd name="T59" fmla="*/ 285 h 340"/>
                <a:gd name="T60" fmla="*/ 173 w 251"/>
                <a:gd name="T61" fmla="*/ 293 h 340"/>
                <a:gd name="T62" fmla="*/ 162 w 251"/>
                <a:gd name="T63" fmla="*/ 296 h 340"/>
                <a:gd name="T64" fmla="*/ 139 w 251"/>
                <a:gd name="T65" fmla="*/ 296 h 340"/>
                <a:gd name="T66" fmla="*/ 118 w 251"/>
                <a:gd name="T67" fmla="*/ 292 h 340"/>
                <a:gd name="T68" fmla="*/ 98 w 251"/>
                <a:gd name="T69" fmla="*/ 283 h 340"/>
                <a:gd name="T70" fmla="*/ 88 w 251"/>
                <a:gd name="T71" fmla="*/ 278 h 340"/>
                <a:gd name="T72" fmla="*/ 78 w 251"/>
                <a:gd name="T73" fmla="*/ 259 h 340"/>
                <a:gd name="T74" fmla="*/ 75 w 251"/>
                <a:gd name="T75" fmla="*/ 243 h 340"/>
                <a:gd name="T76" fmla="*/ 76 w 251"/>
                <a:gd name="T77" fmla="*/ 238 h 340"/>
                <a:gd name="T78" fmla="*/ 75 w 251"/>
                <a:gd name="T79" fmla="*/ 194 h 340"/>
                <a:gd name="T80" fmla="*/ 72 w 251"/>
                <a:gd name="T81" fmla="*/ 148 h 340"/>
                <a:gd name="T82" fmla="*/ 74 w 251"/>
                <a:gd name="T83" fmla="*/ 115 h 340"/>
                <a:gd name="T84" fmla="*/ 79 w 251"/>
                <a:gd name="T85" fmla="*/ 95 h 340"/>
                <a:gd name="T86" fmla="*/ 89 w 251"/>
                <a:gd name="T87" fmla="*/ 77 h 340"/>
                <a:gd name="T88" fmla="*/ 96 w 251"/>
                <a:gd name="T89" fmla="*/ 68 h 340"/>
                <a:gd name="T90" fmla="*/ 103 w 251"/>
                <a:gd name="T91" fmla="*/ 60 h 340"/>
                <a:gd name="T92" fmla="*/ 123 w 251"/>
                <a:gd name="T93" fmla="*/ 51 h 340"/>
                <a:gd name="T94" fmla="*/ 145 w 251"/>
                <a:gd name="T95" fmla="*/ 47 h 340"/>
                <a:gd name="T96" fmla="*/ 166 w 251"/>
                <a:gd name="T97" fmla="*/ 39 h 340"/>
                <a:gd name="T98" fmla="*/ 173 w 251"/>
                <a:gd name="T99" fmla="*/ 31 h 340"/>
                <a:gd name="T100" fmla="*/ 179 w 251"/>
                <a:gd name="T101" fmla="*/ 29 h 340"/>
                <a:gd name="T102" fmla="*/ 199 w 251"/>
                <a:gd name="T103" fmla="*/ 31 h 340"/>
                <a:gd name="T104" fmla="*/ 209 w 251"/>
                <a:gd name="T105" fmla="*/ 30 h 340"/>
                <a:gd name="T106" fmla="*/ 213 w 251"/>
                <a:gd name="T107" fmla="*/ 27 h 340"/>
                <a:gd name="T108" fmla="*/ 207 w 251"/>
                <a:gd name="T109" fmla="*/ 6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1" h="340">
                  <a:moveTo>
                    <a:pt x="207" y="6"/>
                  </a:moveTo>
                  <a:lnTo>
                    <a:pt x="207" y="6"/>
                  </a:lnTo>
                  <a:lnTo>
                    <a:pt x="193" y="3"/>
                  </a:lnTo>
                  <a:lnTo>
                    <a:pt x="180" y="2"/>
                  </a:lnTo>
                  <a:lnTo>
                    <a:pt x="167" y="0"/>
                  </a:lnTo>
                  <a:lnTo>
                    <a:pt x="156" y="2"/>
                  </a:lnTo>
                  <a:lnTo>
                    <a:pt x="145" y="3"/>
                  </a:lnTo>
                  <a:lnTo>
                    <a:pt x="133" y="6"/>
                  </a:lnTo>
                  <a:lnTo>
                    <a:pt x="122" y="10"/>
                  </a:lnTo>
                  <a:lnTo>
                    <a:pt x="110" y="16"/>
                  </a:lnTo>
                  <a:lnTo>
                    <a:pt x="89" y="26"/>
                  </a:lnTo>
                  <a:lnTo>
                    <a:pt x="69" y="39"/>
                  </a:lnTo>
                  <a:lnTo>
                    <a:pt x="49" y="5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1" y="73"/>
                  </a:lnTo>
                  <a:lnTo>
                    <a:pt x="15" y="80"/>
                  </a:lnTo>
                  <a:lnTo>
                    <a:pt x="9" y="88"/>
                  </a:lnTo>
                  <a:lnTo>
                    <a:pt x="7" y="98"/>
                  </a:lnTo>
                  <a:lnTo>
                    <a:pt x="4" y="107"/>
                  </a:lnTo>
                  <a:lnTo>
                    <a:pt x="1" y="117"/>
                  </a:lnTo>
                  <a:lnTo>
                    <a:pt x="0" y="137"/>
                  </a:lnTo>
                  <a:lnTo>
                    <a:pt x="1" y="158"/>
                  </a:lnTo>
                  <a:lnTo>
                    <a:pt x="1" y="181"/>
                  </a:lnTo>
                  <a:lnTo>
                    <a:pt x="2" y="202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5" y="235"/>
                  </a:lnTo>
                  <a:lnTo>
                    <a:pt x="7" y="248"/>
                  </a:lnTo>
                  <a:lnTo>
                    <a:pt x="7" y="273"/>
                  </a:lnTo>
                  <a:lnTo>
                    <a:pt x="8" y="285"/>
                  </a:lnTo>
                  <a:lnTo>
                    <a:pt x="11" y="296"/>
                  </a:lnTo>
                  <a:lnTo>
                    <a:pt x="15" y="307"/>
                  </a:lnTo>
                  <a:lnTo>
                    <a:pt x="19" y="312"/>
                  </a:lnTo>
                  <a:lnTo>
                    <a:pt x="24" y="317"/>
                  </a:lnTo>
                  <a:lnTo>
                    <a:pt x="24" y="317"/>
                  </a:lnTo>
                  <a:lnTo>
                    <a:pt x="32" y="323"/>
                  </a:lnTo>
                  <a:lnTo>
                    <a:pt x="42" y="327"/>
                  </a:lnTo>
                  <a:lnTo>
                    <a:pt x="51" y="332"/>
                  </a:lnTo>
                  <a:lnTo>
                    <a:pt x="62" y="334"/>
                  </a:lnTo>
                  <a:lnTo>
                    <a:pt x="83" y="339"/>
                  </a:lnTo>
                  <a:lnTo>
                    <a:pt x="106" y="340"/>
                  </a:lnTo>
                  <a:lnTo>
                    <a:pt x="130" y="340"/>
                  </a:lnTo>
                  <a:lnTo>
                    <a:pt x="153" y="339"/>
                  </a:lnTo>
                  <a:lnTo>
                    <a:pt x="176" y="336"/>
                  </a:lnTo>
                  <a:lnTo>
                    <a:pt x="197" y="332"/>
                  </a:lnTo>
                  <a:lnTo>
                    <a:pt x="197" y="332"/>
                  </a:lnTo>
                  <a:lnTo>
                    <a:pt x="211" y="327"/>
                  </a:lnTo>
                  <a:lnTo>
                    <a:pt x="224" y="320"/>
                  </a:lnTo>
                  <a:lnTo>
                    <a:pt x="237" y="313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51" y="299"/>
                  </a:lnTo>
                  <a:lnTo>
                    <a:pt x="251" y="293"/>
                  </a:lnTo>
                  <a:lnTo>
                    <a:pt x="250" y="288"/>
                  </a:lnTo>
                  <a:lnTo>
                    <a:pt x="247" y="285"/>
                  </a:lnTo>
                  <a:lnTo>
                    <a:pt x="244" y="283"/>
                  </a:lnTo>
                  <a:lnTo>
                    <a:pt x="244" y="283"/>
                  </a:lnTo>
                  <a:lnTo>
                    <a:pt x="226" y="283"/>
                  </a:lnTo>
                  <a:lnTo>
                    <a:pt x="207" y="285"/>
                  </a:lnTo>
                  <a:lnTo>
                    <a:pt x="190" y="288"/>
                  </a:lnTo>
                  <a:lnTo>
                    <a:pt x="173" y="293"/>
                  </a:lnTo>
                  <a:lnTo>
                    <a:pt x="173" y="293"/>
                  </a:lnTo>
                  <a:lnTo>
                    <a:pt x="162" y="296"/>
                  </a:lnTo>
                  <a:lnTo>
                    <a:pt x="150" y="296"/>
                  </a:lnTo>
                  <a:lnTo>
                    <a:pt x="139" y="296"/>
                  </a:lnTo>
                  <a:lnTo>
                    <a:pt x="128" y="295"/>
                  </a:lnTo>
                  <a:lnTo>
                    <a:pt x="118" y="292"/>
                  </a:lnTo>
                  <a:lnTo>
                    <a:pt x="108" y="288"/>
                  </a:lnTo>
                  <a:lnTo>
                    <a:pt x="98" y="283"/>
                  </a:lnTo>
                  <a:lnTo>
                    <a:pt x="88" y="278"/>
                  </a:lnTo>
                  <a:lnTo>
                    <a:pt x="88" y="278"/>
                  </a:lnTo>
                  <a:lnTo>
                    <a:pt x="82" y="269"/>
                  </a:lnTo>
                  <a:lnTo>
                    <a:pt x="78" y="259"/>
                  </a:lnTo>
                  <a:lnTo>
                    <a:pt x="75" y="249"/>
                  </a:lnTo>
                  <a:lnTo>
                    <a:pt x="75" y="243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6" y="216"/>
                  </a:lnTo>
                  <a:lnTo>
                    <a:pt x="75" y="194"/>
                  </a:lnTo>
                  <a:lnTo>
                    <a:pt x="74" y="171"/>
                  </a:lnTo>
                  <a:lnTo>
                    <a:pt x="72" y="148"/>
                  </a:lnTo>
                  <a:lnTo>
                    <a:pt x="74" y="125"/>
                  </a:lnTo>
                  <a:lnTo>
                    <a:pt x="74" y="115"/>
                  </a:lnTo>
                  <a:lnTo>
                    <a:pt x="76" y="105"/>
                  </a:lnTo>
                  <a:lnTo>
                    <a:pt x="79" y="95"/>
                  </a:lnTo>
                  <a:lnTo>
                    <a:pt x="83" y="86"/>
                  </a:lnTo>
                  <a:lnTo>
                    <a:pt x="89" y="77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101" y="64"/>
                  </a:lnTo>
                  <a:lnTo>
                    <a:pt x="103" y="60"/>
                  </a:lnTo>
                  <a:lnTo>
                    <a:pt x="113" y="54"/>
                  </a:lnTo>
                  <a:lnTo>
                    <a:pt x="123" y="51"/>
                  </a:lnTo>
                  <a:lnTo>
                    <a:pt x="135" y="49"/>
                  </a:lnTo>
                  <a:lnTo>
                    <a:pt x="145" y="47"/>
                  </a:lnTo>
                  <a:lnTo>
                    <a:pt x="156" y="44"/>
                  </a:lnTo>
                  <a:lnTo>
                    <a:pt x="166" y="39"/>
                  </a:lnTo>
                  <a:lnTo>
                    <a:pt x="170" y="36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9" y="29"/>
                  </a:lnTo>
                  <a:lnTo>
                    <a:pt x="186" y="29"/>
                  </a:lnTo>
                  <a:lnTo>
                    <a:pt x="199" y="31"/>
                  </a:lnTo>
                  <a:lnTo>
                    <a:pt x="204" y="31"/>
                  </a:lnTo>
                  <a:lnTo>
                    <a:pt x="209" y="30"/>
                  </a:lnTo>
                  <a:lnTo>
                    <a:pt x="211" y="29"/>
                  </a:lnTo>
                  <a:lnTo>
                    <a:pt x="213" y="27"/>
                  </a:lnTo>
                  <a:lnTo>
                    <a:pt x="213" y="19"/>
                  </a:lnTo>
                  <a:lnTo>
                    <a:pt x="207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" name="Freeform 377"/>
            <p:cNvSpPr>
              <a:spLocks/>
            </p:cNvSpPr>
            <p:nvPr/>
          </p:nvSpPr>
          <p:spPr bwMode="auto">
            <a:xfrm>
              <a:off x="6930" y="2569"/>
              <a:ext cx="110" cy="295"/>
            </a:xfrm>
            <a:custGeom>
              <a:avLst/>
              <a:gdLst>
                <a:gd name="T0" fmla="*/ 73 w 110"/>
                <a:gd name="T1" fmla="*/ 0 h 295"/>
                <a:gd name="T2" fmla="*/ 73 w 110"/>
                <a:gd name="T3" fmla="*/ 0 h 295"/>
                <a:gd name="T4" fmla="*/ 67 w 110"/>
                <a:gd name="T5" fmla="*/ 2 h 295"/>
                <a:gd name="T6" fmla="*/ 61 w 110"/>
                <a:gd name="T7" fmla="*/ 4 h 295"/>
                <a:gd name="T8" fmla="*/ 57 w 110"/>
                <a:gd name="T9" fmla="*/ 7 h 295"/>
                <a:gd name="T10" fmla="*/ 54 w 110"/>
                <a:gd name="T11" fmla="*/ 12 h 295"/>
                <a:gd name="T12" fmla="*/ 48 w 110"/>
                <a:gd name="T13" fmla="*/ 20 h 295"/>
                <a:gd name="T14" fmla="*/ 43 w 110"/>
                <a:gd name="T15" fmla="*/ 30 h 295"/>
                <a:gd name="T16" fmla="*/ 43 w 110"/>
                <a:gd name="T17" fmla="*/ 30 h 295"/>
                <a:gd name="T18" fmla="*/ 44 w 110"/>
                <a:gd name="T19" fmla="*/ 57 h 295"/>
                <a:gd name="T20" fmla="*/ 41 w 110"/>
                <a:gd name="T21" fmla="*/ 83 h 295"/>
                <a:gd name="T22" fmla="*/ 37 w 110"/>
                <a:gd name="T23" fmla="*/ 108 h 295"/>
                <a:gd name="T24" fmla="*/ 33 w 110"/>
                <a:gd name="T25" fmla="*/ 132 h 295"/>
                <a:gd name="T26" fmla="*/ 26 w 110"/>
                <a:gd name="T27" fmla="*/ 157 h 295"/>
                <a:gd name="T28" fmla="*/ 17 w 110"/>
                <a:gd name="T29" fmla="*/ 181 h 295"/>
                <a:gd name="T30" fmla="*/ 0 w 110"/>
                <a:gd name="T31" fmla="*/ 225 h 295"/>
                <a:gd name="T32" fmla="*/ 0 w 110"/>
                <a:gd name="T33" fmla="*/ 225 h 295"/>
                <a:gd name="T34" fmla="*/ 3 w 110"/>
                <a:gd name="T35" fmla="*/ 245 h 295"/>
                <a:gd name="T36" fmla="*/ 7 w 110"/>
                <a:gd name="T37" fmla="*/ 265 h 295"/>
                <a:gd name="T38" fmla="*/ 11 w 110"/>
                <a:gd name="T39" fmla="*/ 273 h 295"/>
                <a:gd name="T40" fmla="*/ 16 w 110"/>
                <a:gd name="T41" fmla="*/ 280 h 295"/>
                <a:gd name="T42" fmla="*/ 21 w 110"/>
                <a:gd name="T43" fmla="*/ 288 h 295"/>
                <a:gd name="T44" fmla="*/ 28 w 110"/>
                <a:gd name="T45" fmla="*/ 292 h 295"/>
                <a:gd name="T46" fmla="*/ 28 w 110"/>
                <a:gd name="T47" fmla="*/ 292 h 295"/>
                <a:gd name="T48" fmla="*/ 36 w 110"/>
                <a:gd name="T49" fmla="*/ 295 h 295"/>
                <a:gd name="T50" fmla="*/ 44 w 110"/>
                <a:gd name="T51" fmla="*/ 295 h 295"/>
                <a:gd name="T52" fmla="*/ 51 w 110"/>
                <a:gd name="T53" fmla="*/ 295 h 295"/>
                <a:gd name="T54" fmla="*/ 58 w 110"/>
                <a:gd name="T55" fmla="*/ 293 h 295"/>
                <a:gd name="T56" fmla="*/ 65 w 110"/>
                <a:gd name="T57" fmla="*/ 290 h 295"/>
                <a:gd name="T58" fmla="*/ 71 w 110"/>
                <a:gd name="T59" fmla="*/ 286 h 295"/>
                <a:gd name="T60" fmla="*/ 77 w 110"/>
                <a:gd name="T61" fmla="*/ 282 h 295"/>
                <a:gd name="T62" fmla="*/ 81 w 110"/>
                <a:gd name="T63" fmla="*/ 276 h 295"/>
                <a:gd name="T64" fmla="*/ 81 w 110"/>
                <a:gd name="T65" fmla="*/ 276 h 295"/>
                <a:gd name="T66" fmla="*/ 83 w 110"/>
                <a:gd name="T67" fmla="*/ 270 h 295"/>
                <a:gd name="T68" fmla="*/ 84 w 110"/>
                <a:gd name="T69" fmla="*/ 266 h 295"/>
                <a:gd name="T70" fmla="*/ 84 w 110"/>
                <a:gd name="T71" fmla="*/ 262 h 295"/>
                <a:gd name="T72" fmla="*/ 84 w 110"/>
                <a:gd name="T73" fmla="*/ 258 h 295"/>
                <a:gd name="T74" fmla="*/ 81 w 110"/>
                <a:gd name="T75" fmla="*/ 249 h 295"/>
                <a:gd name="T76" fmla="*/ 77 w 110"/>
                <a:gd name="T77" fmla="*/ 242 h 295"/>
                <a:gd name="T78" fmla="*/ 71 w 110"/>
                <a:gd name="T79" fmla="*/ 235 h 295"/>
                <a:gd name="T80" fmla="*/ 68 w 110"/>
                <a:gd name="T81" fmla="*/ 226 h 295"/>
                <a:gd name="T82" fmla="*/ 67 w 110"/>
                <a:gd name="T83" fmla="*/ 222 h 295"/>
                <a:gd name="T84" fmla="*/ 67 w 110"/>
                <a:gd name="T85" fmla="*/ 218 h 295"/>
                <a:gd name="T86" fmla="*/ 68 w 110"/>
                <a:gd name="T87" fmla="*/ 214 h 295"/>
                <a:gd name="T88" fmla="*/ 70 w 110"/>
                <a:gd name="T89" fmla="*/ 209 h 295"/>
                <a:gd name="T90" fmla="*/ 70 w 110"/>
                <a:gd name="T91" fmla="*/ 209 h 295"/>
                <a:gd name="T92" fmla="*/ 81 w 110"/>
                <a:gd name="T93" fmla="*/ 188 h 295"/>
                <a:gd name="T94" fmla="*/ 90 w 110"/>
                <a:gd name="T95" fmla="*/ 167 h 295"/>
                <a:gd name="T96" fmla="*/ 98 w 110"/>
                <a:gd name="T97" fmla="*/ 145 h 295"/>
                <a:gd name="T98" fmla="*/ 102 w 110"/>
                <a:gd name="T99" fmla="*/ 122 h 295"/>
                <a:gd name="T100" fmla="*/ 107 w 110"/>
                <a:gd name="T101" fmla="*/ 98 h 295"/>
                <a:gd name="T102" fmla="*/ 110 w 110"/>
                <a:gd name="T103" fmla="*/ 74 h 295"/>
                <a:gd name="T104" fmla="*/ 110 w 110"/>
                <a:gd name="T105" fmla="*/ 50 h 295"/>
                <a:gd name="T106" fmla="*/ 108 w 110"/>
                <a:gd name="T107" fmla="*/ 24 h 295"/>
                <a:gd name="T108" fmla="*/ 108 w 110"/>
                <a:gd name="T109" fmla="*/ 24 h 295"/>
                <a:gd name="T110" fmla="*/ 105 w 110"/>
                <a:gd name="T111" fmla="*/ 17 h 295"/>
                <a:gd name="T112" fmla="*/ 102 w 110"/>
                <a:gd name="T113" fmla="*/ 13 h 295"/>
                <a:gd name="T114" fmla="*/ 100 w 110"/>
                <a:gd name="T115" fmla="*/ 9 h 295"/>
                <a:gd name="T116" fmla="*/ 95 w 110"/>
                <a:gd name="T117" fmla="*/ 6 h 295"/>
                <a:gd name="T118" fmla="*/ 90 w 110"/>
                <a:gd name="T119" fmla="*/ 3 h 295"/>
                <a:gd name="T120" fmla="*/ 84 w 110"/>
                <a:gd name="T121" fmla="*/ 2 h 295"/>
                <a:gd name="T122" fmla="*/ 73 w 110"/>
                <a:gd name="T123" fmla="*/ 0 h 295"/>
                <a:gd name="T124" fmla="*/ 73 w 110"/>
                <a:gd name="T125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0" h="295">
                  <a:moveTo>
                    <a:pt x="73" y="0"/>
                  </a:moveTo>
                  <a:lnTo>
                    <a:pt x="73" y="0"/>
                  </a:lnTo>
                  <a:lnTo>
                    <a:pt x="67" y="2"/>
                  </a:lnTo>
                  <a:lnTo>
                    <a:pt x="61" y="4"/>
                  </a:lnTo>
                  <a:lnTo>
                    <a:pt x="57" y="7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4" y="57"/>
                  </a:lnTo>
                  <a:lnTo>
                    <a:pt x="41" y="83"/>
                  </a:lnTo>
                  <a:lnTo>
                    <a:pt x="37" y="108"/>
                  </a:lnTo>
                  <a:lnTo>
                    <a:pt x="33" y="132"/>
                  </a:lnTo>
                  <a:lnTo>
                    <a:pt x="26" y="157"/>
                  </a:lnTo>
                  <a:lnTo>
                    <a:pt x="17" y="181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3" y="245"/>
                  </a:lnTo>
                  <a:lnTo>
                    <a:pt x="7" y="265"/>
                  </a:lnTo>
                  <a:lnTo>
                    <a:pt x="11" y="273"/>
                  </a:lnTo>
                  <a:lnTo>
                    <a:pt x="16" y="280"/>
                  </a:lnTo>
                  <a:lnTo>
                    <a:pt x="21" y="288"/>
                  </a:lnTo>
                  <a:lnTo>
                    <a:pt x="28" y="292"/>
                  </a:lnTo>
                  <a:lnTo>
                    <a:pt x="28" y="292"/>
                  </a:lnTo>
                  <a:lnTo>
                    <a:pt x="36" y="295"/>
                  </a:lnTo>
                  <a:lnTo>
                    <a:pt x="44" y="295"/>
                  </a:lnTo>
                  <a:lnTo>
                    <a:pt x="51" y="295"/>
                  </a:lnTo>
                  <a:lnTo>
                    <a:pt x="58" y="293"/>
                  </a:lnTo>
                  <a:lnTo>
                    <a:pt x="65" y="290"/>
                  </a:lnTo>
                  <a:lnTo>
                    <a:pt x="71" y="286"/>
                  </a:lnTo>
                  <a:lnTo>
                    <a:pt x="77" y="282"/>
                  </a:lnTo>
                  <a:lnTo>
                    <a:pt x="81" y="276"/>
                  </a:lnTo>
                  <a:lnTo>
                    <a:pt x="81" y="276"/>
                  </a:lnTo>
                  <a:lnTo>
                    <a:pt x="83" y="270"/>
                  </a:lnTo>
                  <a:lnTo>
                    <a:pt x="84" y="266"/>
                  </a:lnTo>
                  <a:lnTo>
                    <a:pt x="84" y="262"/>
                  </a:lnTo>
                  <a:lnTo>
                    <a:pt x="84" y="258"/>
                  </a:lnTo>
                  <a:lnTo>
                    <a:pt x="81" y="249"/>
                  </a:lnTo>
                  <a:lnTo>
                    <a:pt x="77" y="242"/>
                  </a:lnTo>
                  <a:lnTo>
                    <a:pt x="71" y="235"/>
                  </a:lnTo>
                  <a:lnTo>
                    <a:pt x="68" y="226"/>
                  </a:lnTo>
                  <a:lnTo>
                    <a:pt x="67" y="222"/>
                  </a:lnTo>
                  <a:lnTo>
                    <a:pt x="67" y="218"/>
                  </a:lnTo>
                  <a:lnTo>
                    <a:pt x="68" y="214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81" y="188"/>
                  </a:lnTo>
                  <a:lnTo>
                    <a:pt x="90" y="167"/>
                  </a:lnTo>
                  <a:lnTo>
                    <a:pt x="98" y="145"/>
                  </a:lnTo>
                  <a:lnTo>
                    <a:pt x="102" y="122"/>
                  </a:lnTo>
                  <a:lnTo>
                    <a:pt x="107" y="98"/>
                  </a:lnTo>
                  <a:lnTo>
                    <a:pt x="110" y="74"/>
                  </a:lnTo>
                  <a:lnTo>
                    <a:pt x="110" y="50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5" y="17"/>
                  </a:lnTo>
                  <a:lnTo>
                    <a:pt x="102" y="13"/>
                  </a:lnTo>
                  <a:lnTo>
                    <a:pt x="100" y="9"/>
                  </a:lnTo>
                  <a:lnTo>
                    <a:pt x="95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3" y="0"/>
                  </a:lnTo>
                  <a:lnTo>
                    <a:pt x="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378"/>
            <p:cNvSpPr>
              <a:spLocks/>
            </p:cNvSpPr>
            <p:nvPr/>
          </p:nvSpPr>
          <p:spPr bwMode="auto">
            <a:xfrm>
              <a:off x="7382" y="2317"/>
              <a:ext cx="375" cy="548"/>
            </a:xfrm>
            <a:custGeom>
              <a:avLst/>
              <a:gdLst>
                <a:gd name="T0" fmla="*/ 306 w 375"/>
                <a:gd name="T1" fmla="*/ 3 h 548"/>
                <a:gd name="T2" fmla="*/ 296 w 375"/>
                <a:gd name="T3" fmla="*/ 17 h 548"/>
                <a:gd name="T4" fmla="*/ 292 w 375"/>
                <a:gd name="T5" fmla="*/ 63 h 548"/>
                <a:gd name="T6" fmla="*/ 303 w 375"/>
                <a:gd name="T7" fmla="*/ 214 h 548"/>
                <a:gd name="T8" fmla="*/ 305 w 375"/>
                <a:gd name="T9" fmla="*/ 323 h 548"/>
                <a:gd name="T10" fmla="*/ 295 w 375"/>
                <a:gd name="T11" fmla="*/ 329 h 548"/>
                <a:gd name="T12" fmla="*/ 284 w 375"/>
                <a:gd name="T13" fmla="*/ 325 h 548"/>
                <a:gd name="T14" fmla="*/ 239 w 375"/>
                <a:gd name="T15" fmla="*/ 278 h 548"/>
                <a:gd name="T16" fmla="*/ 235 w 375"/>
                <a:gd name="T17" fmla="*/ 268 h 548"/>
                <a:gd name="T18" fmla="*/ 215 w 375"/>
                <a:gd name="T19" fmla="*/ 258 h 548"/>
                <a:gd name="T20" fmla="*/ 184 w 375"/>
                <a:gd name="T21" fmla="*/ 255 h 548"/>
                <a:gd name="T22" fmla="*/ 167 w 375"/>
                <a:gd name="T23" fmla="*/ 264 h 548"/>
                <a:gd name="T24" fmla="*/ 130 w 375"/>
                <a:gd name="T25" fmla="*/ 268 h 548"/>
                <a:gd name="T26" fmla="*/ 87 w 375"/>
                <a:gd name="T27" fmla="*/ 279 h 548"/>
                <a:gd name="T28" fmla="*/ 27 w 375"/>
                <a:gd name="T29" fmla="*/ 309 h 548"/>
                <a:gd name="T30" fmla="*/ 8 w 375"/>
                <a:gd name="T31" fmla="*/ 363 h 548"/>
                <a:gd name="T32" fmla="*/ 0 w 375"/>
                <a:gd name="T33" fmla="*/ 409 h 548"/>
                <a:gd name="T34" fmla="*/ 6 w 375"/>
                <a:gd name="T35" fmla="*/ 441 h 548"/>
                <a:gd name="T36" fmla="*/ 25 w 375"/>
                <a:gd name="T37" fmla="*/ 480 h 548"/>
                <a:gd name="T38" fmla="*/ 29 w 375"/>
                <a:gd name="T39" fmla="*/ 495 h 548"/>
                <a:gd name="T40" fmla="*/ 40 w 375"/>
                <a:gd name="T41" fmla="*/ 505 h 548"/>
                <a:gd name="T42" fmla="*/ 60 w 375"/>
                <a:gd name="T43" fmla="*/ 508 h 548"/>
                <a:gd name="T44" fmla="*/ 133 w 375"/>
                <a:gd name="T45" fmla="*/ 541 h 548"/>
                <a:gd name="T46" fmla="*/ 192 w 375"/>
                <a:gd name="T47" fmla="*/ 548 h 548"/>
                <a:gd name="T48" fmla="*/ 222 w 375"/>
                <a:gd name="T49" fmla="*/ 544 h 548"/>
                <a:gd name="T50" fmla="*/ 241 w 375"/>
                <a:gd name="T51" fmla="*/ 532 h 548"/>
                <a:gd name="T52" fmla="*/ 261 w 375"/>
                <a:gd name="T53" fmla="*/ 508 h 548"/>
                <a:gd name="T54" fmla="*/ 278 w 375"/>
                <a:gd name="T55" fmla="*/ 508 h 548"/>
                <a:gd name="T56" fmla="*/ 301 w 375"/>
                <a:gd name="T57" fmla="*/ 522 h 548"/>
                <a:gd name="T58" fmla="*/ 325 w 375"/>
                <a:gd name="T59" fmla="*/ 544 h 548"/>
                <a:gd name="T60" fmla="*/ 336 w 375"/>
                <a:gd name="T61" fmla="*/ 547 h 548"/>
                <a:gd name="T62" fmla="*/ 363 w 375"/>
                <a:gd name="T63" fmla="*/ 538 h 548"/>
                <a:gd name="T64" fmla="*/ 375 w 375"/>
                <a:gd name="T65" fmla="*/ 525 h 548"/>
                <a:gd name="T66" fmla="*/ 370 w 375"/>
                <a:gd name="T67" fmla="*/ 504 h 548"/>
                <a:gd name="T68" fmla="*/ 356 w 375"/>
                <a:gd name="T69" fmla="*/ 464 h 548"/>
                <a:gd name="T70" fmla="*/ 355 w 375"/>
                <a:gd name="T71" fmla="*/ 443 h 548"/>
                <a:gd name="T72" fmla="*/ 365 w 375"/>
                <a:gd name="T73" fmla="*/ 325 h 548"/>
                <a:gd name="T74" fmla="*/ 363 w 375"/>
                <a:gd name="T75" fmla="*/ 204 h 548"/>
                <a:gd name="T76" fmla="*/ 356 w 375"/>
                <a:gd name="T77" fmla="*/ 126 h 548"/>
                <a:gd name="T78" fmla="*/ 345 w 375"/>
                <a:gd name="T79" fmla="*/ 42 h 548"/>
                <a:gd name="T80" fmla="*/ 336 w 375"/>
                <a:gd name="T81" fmla="*/ 10 h 548"/>
                <a:gd name="T82" fmla="*/ 318 w 375"/>
                <a:gd name="T83" fmla="*/ 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548">
                  <a:moveTo>
                    <a:pt x="311" y="0"/>
                  </a:moveTo>
                  <a:lnTo>
                    <a:pt x="311" y="0"/>
                  </a:lnTo>
                  <a:lnTo>
                    <a:pt x="306" y="3"/>
                  </a:lnTo>
                  <a:lnTo>
                    <a:pt x="303" y="5"/>
                  </a:lnTo>
                  <a:lnTo>
                    <a:pt x="299" y="10"/>
                  </a:lnTo>
                  <a:lnTo>
                    <a:pt x="296" y="17"/>
                  </a:lnTo>
                  <a:lnTo>
                    <a:pt x="292" y="23"/>
                  </a:lnTo>
                  <a:lnTo>
                    <a:pt x="292" y="23"/>
                  </a:lnTo>
                  <a:lnTo>
                    <a:pt x="292" y="63"/>
                  </a:lnTo>
                  <a:lnTo>
                    <a:pt x="293" y="101"/>
                  </a:lnTo>
                  <a:lnTo>
                    <a:pt x="301" y="177"/>
                  </a:lnTo>
                  <a:lnTo>
                    <a:pt x="303" y="214"/>
                  </a:lnTo>
                  <a:lnTo>
                    <a:pt x="306" y="251"/>
                  </a:lnTo>
                  <a:lnTo>
                    <a:pt x="306" y="288"/>
                  </a:lnTo>
                  <a:lnTo>
                    <a:pt x="305" y="323"/>
                  </a:lnTo>
                  <a:lnTo>
                    <a:pt x="305" y="323"/>
                  </a:lnTo>
                  <a:lnTo>
                    <a:pt x="299" y="329"/>
                  </a:lnTo>
                  <a:lnTo>
                    <a:pt x="295" y="329"/>
                  </a:lnTo>
                  <a:lnTo>
                    <a:pt x="292" y="330"/>
                  </a:lnTo>
                  <a:lnTo>
                    <a:pt x="292" y="330"/>
                  </a:lnTo>
                  <a:lnTo>
                    <a:pt x="284" y="325"/>
                  </a:lnTo>
                  <a:lnTo>
                    <a:pt x="276" y="320"/>
                  </a:lnTo>
                  <a:lnTo>
                    <a:pt x="264" y="308"/>
                  </a:lnTo>
                  <a:lnTo>
                    <a:pt x="239" y="278"/>
                  </a:lnTo>
                  <a:lnTo>
                    <a:pt x="239" y="273"/>
                  </a:lnTo>
                  <a:lnTo>
                    <a:pt x="239" y="273"/>
                  </a:lnTo>
                  <a:lnTo>
                    <a:pt x="235" y="268"/>
                  </a:lnTo>
                  <a:lnTo>
                    <a:pt x="228" y="264"/>
                  </a:lnTo>
                  <a:lnTo>
                    <a:pt x="222" y="261"/>
                  </a:lnTo>
                  <a:lnTo>
                    <a:pt x="215" y="258"/>
                  </a:lnTo>
                  <a:lnTo>
                    <a:pt x="208" y="255"/>
                  </a:lnTo>
                  <a:lnTo>
                    <a:pt x="200" y="255"/>
                  </a:lnTo>
                  <a:lnTo>
                    <a:pt x="184" y="255"/>
                  </a:lnTo>
                  <a:lnTo>
                    <a:pt x="184" y="255"/>
                  </a:lnTo>
                  <a:lnTo>
                    <a:pt x="175" y="261"/>
                  </a:lnTo>
                  <a:lnTo>
                    <a:pt x="167" y="264"/>
                  </a:lnTo>
                  <a:lnTo>
                    <a:pt x="158" y="266"/>
                  </a:lnTo>
                  <a:lnTo>
                    <a:pt x="150" y="266"/>
                  </a:lnTo>
                  <a:lnTo>
                    <a:pt x="13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87" y="279"/>
                  </a:lnTo>
                  <a:lnTo>
                    <a:pt x="63" y="291"/>
                  </a:lnTo>
                  <a:lnTo>
                    <a:pt x="39" y="302"/>
                  </a:lnTo>
                  <a:lnTo>
                    <a:pt x="27" y="309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8" y="363"/>
                  </a:lnTo>
                  <a:lnTo>
                    <a:pt x="3" y="386"/>
                  </a:lnTo>
                  <a:lnTo>
                    <a:pt x="0" y="409"/>
                  </a:lnTo>
                  <a:lnTo>
                    <a:pt x="0" y="409"/>
                  </a:lnTo>
                  <a:lnTo>
                    <a:pt x="0" y="421"/>
                  </a:lnTo>
                  <a:lnTo>
                    <a:pt x="2" y="431"/>
                  </a:lnTo>
                  <a:lnTo>
                    <a:pt x="6" y="441"/>
                  </a:lnTo>
                  <a:lnTo>
                    <a:pt x="10" y="451"/>
                  </a:lnTo>
                  <a:lnTo>
                    <a:pt x="20" y="470"/>
                  </a:lnTo>
                  <a:lnTo>
                    <a:pt x="25" y="480"/>
                  </a:lnTo>
                  <a:lnTo>
                    <a:pt x="27" y="490"/>
                  </a:lnTo>
                  <a:lnTo>
                    <a:pt x="27" y="490"/>
                  </a:lnTo>
                  <a:lnTo>
                    <a:pt x="29" y="495"/>
                  </a:lnTo>
                  <a:lnTo>
                    <a:pt x="32" y="500"/>
                  </a:lnTo>
                  <a:lnTo>
                    <a:pt x="36" y="503"/>
                  </a:lnTo>
                  <a:lnTo>
                    <a:pt x="40" y="505"/>
                  </a:lnTo>
                  <a:lnTo>
                    <a:pt x="50" y="508"/>
                  </a:lnTo>
                  <a:lnTo>
                    <a:pt x="60" y="508"/>
                  </a:lnTo>
                  <a:lnTo>
                    <a:pt x="60" y="508"/>
                  </a:lnTo>
                  <a:lnTo>
                    <a:pt x="96" y="527"/>
                  </a:lnTo>
                  <a:lnTo>
                    <a:pt x="114" y="534"/>
                  </a:lnTo>
                  <a:lnTo>
                    <a:pt x="133" y="541"/>
                  </a:lnTo>
                  <a:lnTo>
                    <a:pt x="151" y="545"/>
                  </a:lnTo>
                  <a:lnTo>
                    <a:pt x="171" y="548"/>
                  </a:lnTo>
                  <a:lnTo>
                    <a:pt x="192" y="548"/>
                  </a:lnTo>
                  <a:lnTo>
                    <a:pt x="215" y="547"/>
                  </a:lnTo>
                  <a:lnTo>
                    <a:pt x="215" y="547"/>
                  </a:lnTo>
                  <a:lnTo>
                    <a:pt x="222" y="544"/>
                  </a:lnTo>
                  <a:lnTo>
                    <a:pt x="229" y="541"/>
                  </a:lnTo>
                  <a:lnTo>
                    <a:pt x="235" y="537"/>
                  </a:lnTo>
                  <a:lnTo>
                    <a:pt x="241" y="532"/>
                  </a:lnTo>
                  <a:lnTo>
                    <a:pt x="249" y="521"/>
                  </a:lnTo>
                  <a:lnTo>
                    <a:pt x="261" y="508"/>
                  </a:lnTo>
                  <a:lnTo>
                    <a:pt x="261" y="508"/>
                  </a:lnTo>
                  <a:lnTo>
                    <a:pt x="266" y="507"/>
                  </a:lnTo>
                  <a:lnTo>
                    <a:pt x="274" y="507"/>
                  </a:lnTo>
                  <a:lnTo>
                    <a:pt x="278" y="508"/>
                  </a:lnTo>
                  <a:lnTo>
                    <a:pt x="284" y="510"/>
                  </a:lnTo>
                  <a:lnTo>
                    <a:pt x="292" y="515"/>
                  </a:lnTo>
                  <a:lnTo>
                    <a:pt x="301" y="522"/>
                  </a:lnTo>
                  <a:lnTo>
                    <a:pt x="308" y="531"/>
                  </a:lnTo>
                  <a:lnTo>
                    <a:pt x="316" y="538"/>
                  </a:lnTo>
                  <a:lnTo>
                    <a:pt x="325" y="544"/>
                  </a:lnTo>
                  <a:lnTo>
                    <a:pt x="330" y="545"/>
                  </a:lnTo>
                  <a:lnTo>
                    <a:pt x="336" y="547"/>
                  </a:lnTo>
                  <a:lnTo>
                    <a:pt x="336" y="547"/>
                  </a:lnTo>
                  <a:lnTo>
                    <a:pt x="348" y="545"/>
                  </a:lnTo>
                  <a:lnTo>
                    <a:pt x="359" y="541"/>
                  </a:lnTo>
                  <a:lnTo>
                    <a:pt x="363" y="538"/>
                  </a:lnTo>
                  <a:lnTo>
                    <a:pt x="369" y="535"/>
                  </a:lnTo>
                  <a:lnTo>
                    <a:pt x="372" y="531"/>
                  </a:lnTo>
                  <a:lnTo>
                    <a:pt x="375" y="525"/>
                  </a:lnTo>
                  <a:lnTo>
                    <a:pt x="375" y="525"/>
                  </a:lnTo>
                  <a:lnTo>
                    <a:pt x="373" y="515"/>
                  </a:lnTo>
                  <a:lnTo>
                    <a:pt x="370" y="504"/>
                  </a:lnTo>
                  <a:lnTo>
                    <a:pt x="363" y="484"/>
                  </a:lnTo>
                  <a:lnTo>
                    <a:pt x="359" y="474"/>
                  </a:lnTo>
                  <a:lnTo>
                    <a:pt x="356" y="464"/>
                  </a:lnTo>
                  <a:lnTo>
                    <a:pt x="355" y="454"/>
                  </a:lnTo>
                  <a:lnTo>
                    <a:pt x="355" y="443"/>
                  </a:lnTo>
                  <a:lnTo>
                    <a:pt x="355" y="443"/>
                  </a:lnTo>
                  <a:lnTo>
                    <a:pt x="359" y="404"/>
                  </a:lnTo>
                  <a:lnTo>
                    <a:pt x="363" y="366"/>
                  </a:lnTo>
                  <a:lnTo>
                    <a:pt x="365" y="325"/>
                  </a:lnTo>
                  <a:lnTo>
                    <a:pt x="366" y="285"/>
                  </a:lnTo>
                  <a:lnTo>
                    <a:pt x="365" y="244"/>
                  </a:lnTo>
                  <a:lnTo>
                    <a:pt x="363" y="204"/>
                  </a:lnTo>
                  <a:lnTo>
                    <a:pt x="360" y="164"/>
                  </a:lnTo>
                  <a:lnTo>
                    <a:pt x="356" y="126"/>
                  </a:lnTo>
                  <a:lnTo>
                    <a:pt x="356" y="126"/>
                  </a:lnTo>
                  <a:lnTo>
                    <a:pt x="352" y="97"/>
                  </a:lnTo>
                  <a:lnTo>
                    <a:pt x="348" y="70"/>
                  </a:lnTo>
                  <a:lnTo>
                    <a:pt x="345" y="42"/>
                  </a:lnTo>
                  <a:lnTo>
                    <a:pt x="339" y="13"/>
                  </a:lnTo>
                  <a:lnTo>
                    <a:pt x="339" y="13"/>
                  </a:lnTo>
                  <a:lnTo>
                    <a:pt x="336" y="10"/>
                  </a:lnTo>
                  <a:lnTo>
                    <a:pt x="333" y="7"/>
                  </a:lnTo>
                  <a:lnTo>
                    <a:pt x="326" y="5"/>
                  </a:lnTo>
                  <a:lnTo>
                    <a:pt x="318" y="3"/>
                  </a:lnTo>
                  <a:lnTo>
                    <a:pt x="311" y="0"/>
                  </a:lnTo>
                  <a:lnTo>
                    <a:pt x="3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379"/>
            <p:cNvSpPr>
              <a:spLocks/>
            </p:cNvSpPr>
            <p:nvPr/>
          </p:nvSpPr>
          <p:spPr bwMode="auto">
            <a:xfrm>
              <a:off x="7461" y="2618"/>
              <a:ext cx="166" cy="203"/>
            </a:xfrm>
            <a:custGeom>
              <a:avLst/>
              <a:gdLst>
                <a:gd name="T0" fmla="*/ 143 w 166"/>
                <a:gd name="T1" fmla="*/ 25 h 203"/>
                <a:gd name="T2" fmla="*/ 143 w 166"/>
                <a:gd name="T3" fmla="*/ 25 h 203"/>
                <a:gd name="T4" fmla="*/ 146 w 166"/>
                <a:gd name="T5" fmla="*/ 41 h 203"/>
                <a:gd name="T6" fmla="*/ 150 w 166"/>
                <a:gd name="T7" fmla="*/ 55 h 203"/>
                <a:gd name="T8" fmla="*/ 153 w 166"/>
                <a:gd name="T9" fmla="*/ 62 h 203"/>
                <a:gd name="T10" fmla="*/ 156 w 166"/>
                <a:gd name="T11" fmla="*/ 69 h 203"/>
                <a:gd name="T12" fmla="*/ 160 w 166"/>
                <a:gd name="T13" fmla="*/ 75 h 203"/>
                <a:gd name="T14" fmla="*/ 166 w 166"/>
                <a:gd name="T15" fmla="*/ 81 h 203"/>
                <a:gd name="T16" fmla="*/ 166 w 166"/>
                <a:gd name="T17" fmla="*/ 81 h 203"/>
                <a:gd name="T18" fmla="*/ 165 w 166"/>
                <a:gd name="T19" fmla="*/ 102 h 203"/>
                <a:gd name="T20" fmla="*/ 162 w 166"/>
                <a:gd name="T21" fmla="*/ 125 h 203"/>
                <a:gd name="T22" fmla="*/ 153 w 166"/>
                <a:gd name="T23" fmla="*/ 169 h 203"/>
                <a:gd name="T24" fmla="*/ 153 w 166"/>
                <a:gd name="T25" fmla="*/ 169 h 203"/>
                <a:gd name="T26" fmla="*/ 146 w 166"/>
                <a:gd name="T27" fmla="*/ 180 h 203"/>
                <a:gd name="T28" fmla="*/ 136 w 166"/>
                <a:gd name="T29" fmla="*/ 189 h 203"/>
                <a:gd name="T30" fmla="*/ 126 w 166"/>
                <a:gd name="T31" fmla="*/ 197 h 203"/>
                <a:gd name="T32" fmla="*/ 113 w 166"/>
                <a:gd name="T33" fmla="*/ 202 h 203"/>
                <a:gd name="T34" fmla="*/ 113 w 166"/>
                <a:gd name="T35" fmla="*/ 202 h 203"/>
                <a:gd name="T36" fmla="*/ 99 w 166"/>
                <a:gd name="T37" fmla="*/ 203 h 203"/>
                <a:gd name="T38" fmla="*/ 85 w 166"/>
                <a:gd name="T39" fmla="*/ 202 h 203"/>
                <a:gd name="T40" fmla="*/ 71 w 166"/>
                <a:gd name="T41" fmla="*/ 199 h 203"/>
                <a:gd name="T42" fmla="*/ 58 w 166"/>
                <a:gd name="T43" fmla="*/ 193 h 203"/>
                <a:gd name="T44" fmla="*/ 47 w 166"/>
                <a:gd name="T45" fmla="*/ 187 h 203"/>
                <a:gd name="T46" fmla="*/ 35 w 166"/>
                <a:gd name="T47" fmla="*/ 179 h 203"/>
                <a:gd name="T48" fmla="*/ 25 w 166"/>
                <a:gd name="T49" fmla="*/ 169 h 203"/>
                <a:gd name="T50" fmla="*/ 18 w 166"/>
                <a:gd name="T51" fmla="*/ 157 h 203"/>
                <a:gd name="T52" fmla="*/ 18 w 166"/>
                <a:gd name="T53" fmla="*/ 157 h 203"/>
                <a:gd name="T54" fmla="*/ 11 w 166"/>
                <a:gd name="T55" fmla="*/ 146 h 203"/>
                <a:gd name="T56" fmla="*/ 5 w 166"/>
                <a:gd name="T57" fmla="*/ 132 h 203"/>
                <a:gd name="T58" fmla="*/ 1 w 166"/>
                <a:gd name="T59" fmla="*/ 116 h 203"/>
                <a:gd name="T60" fmla="*/ 0 w 166"/>
                <a:gd name="T61" fmla="*/ 102 h 203"/>
                <a:gd name="T62" fmla="*/ 0 w 166"/>
                <a:gd name="T63" fmla="*/ 86 h 203"/>
                <a:gd name="T64" fmla="*/ 1 w 166"/>
                <a:gd name="T65" fmla="*/ 71 h 203"/>
                <a:gd name="T66" fmla="*/ 5 w 166"/>
                <a:gd name="T67" fmla="*/ 56 h 203"/>
                <a:gd name="T68" fmla="*/ 12 w 166"/>
                <a:gd name="T69" fmla="*/ 44 h 203"/>
                <a:gd name="T70" fmla="*/ 12 w 166"/>
                <a:gd name="T71" fmla="*/ 44 h 203"/>
                <a:gd name="T72" fmla="*/ 20 w 166"/>
                <a:gd name="T73" fmla="*/ 32 h 203"/>
                <a:gd name="T74" fmla="*/ 30 w 166"/>
                <a:gd name="T75" fmla="*/ 24 h 203"/>
                <a:gd name="T76" fmla="*/ 41 w 166"/>
                <a:gd name="T77" fmla="*/ 17 h 203"/>
                <a:gd name="T78" fmla="*/ 54 w 166"/>
                <a:gd name="T79" fmla="*/ 9 h 203"/>
                <a:gd name="T80" fmla="*/ 68 w 166"/>
                <a:gd name="T81" fmla="*/ 5 h 203"/>
                <a:gd name="T82" fmla="*/ 82 w 166"/>
                <a:gd name="T83" fmla="*/ 2 h 203"/>
                <a:gd name="T84" fmla="*/ 96 w 166"/>
                <a:gd name="T85" fmla="*/ 0 h 203"/>
                <a:gd name="T86" fmla="*/ 109 w 166"/>
                <a:gd name="T87" fmla="*/ 0 h 203"/>
                <a:gd name="T88" fmla="*/ 109 w 166"/>
                <a:gd name="T89" fmla="*/ 0 h 203"/>
                <a:gd name="T90" fmla="*/ 121 w 166"/>
                <a:gd name="T91" fmla="*/ 4 h 203"/>
                <a:gd name="T92" fmla="*/ 129 w 166"/>
                <a:gd name="T93" fmla="*/ 9 h 203"/>
                <a:gd name="T94" fmla="*/ 138 w 166"/>
                <a:gd name="T95" fmla="*/ 17 h 203"/>
                <a:gd name="T96" fmla="*/ 143 w 166"/>
                <a:gd name="T97" fmla="*/ 25 h 203"/>
                <a:gd name="T98" fmla="*/ 143 w 166"/>
                <a:gd name="T99" fmla="*/ 2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6" h="203">
                  <a:moveTo>
                    <a:pt x="143" y="25"/>
                  </a:moveTo>
                  <a:lnTo>
                    <a:pt x="143" y="25"/>
                  </a:lnTo>
                  <a:lnTo>
                    <a:pt x="146" y="41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6" y="69"/>
                  </a:lnTo>
                  <a:lnTo>
                    <a:pt x="160" y="75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5" y="102"/>
                  </a:lnTo>
                  <a:lnTo>
                    <a:pt x="162" y="125"/>
                  </a:lnTo>
                  <a:lnTo>
                    <a:pt x="153" y="169"/>
                  </a:lnTo>
                  <a:lnTo>
                    <a:pt x="153" y="169"/>
                  </a:lnTo>
                  <a:lnTo>
                    <a:pt x="146" y="180"/>
                  </a:lnTo>
                  <a:lnTo>
                    <a:pt x="136" y="189"/>
                  </a:lnTo>
                  <a:lnTo>
                    <a:pt x="126" y="197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99" y="203"/>
                  </a:lnTo>
                  <a:lnTo>
                    <a:pt x="85" y="202"/>
                  </a:lnTo>
                  <a:lnTo>
                    <a:pt x="71" y="199"/>
                  </a:lnTo>
                  <a:lnTo>
                    <a:pt x="58" y="193"/>
                  </a:lnTo>
                  <a:lnTo>
                    <a:pt x="47" y="187"/>
                  </a:lnTo>
                  <a:lnTo>
                    <a:pt x="35" y="179"/>
                  </a:lnTo>
                  <a:lnTo>
                    <a:pt x="25" y="169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1" y="146"/>
                  </a:lnTo>
                  <a:lnTo>
                    <a:pt x="5" y="132"/>
                  </a:lnTo>
                  <a:lnTo>
                    <a:pt x="1" y="116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1" y="71"/>
                  </a:lnTo>
                  <a:lnTo>
                    <a:pt x="5" y="5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20" y="32"/>
                  </a:lnTo>
                  <a:lnTo>
                    <a:pt x="30" y="24"/>
                  </a:lnTo>
                  <a:lnTo>
                    <a:pt x="41" y="17"/>
                  </a:lnTo>
                  <a:lnTo>
                    <a:pt x="54" y="9"/>
                  </a:lnTo>
                  <a:lnTo>
                    <a:pt x="68" y="5"/>
                  </a:lnTo>
                  <a:lnTo>
                    <a:pt x="82" y="2"/>
                  </a:lnTo>
                  <a:lnTo>
                    <a:pt x="9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21" y="4"/>
                  </a:lnTo>
                  <a:lnTo>
                    <a:pt x="129" y="9"/>
                  </a:lnTo>
                  <a:lnTo>
                    <a:pt x="138" y="17"/>
                  </a:lnTo>
                  <a:lnTo>
                    <a:pt x="143" y="25"/>
                  </a:lnTo>
                  <a:lnTo>
                    <a:pt x="143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" name="Freeform 380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381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" name="Freeform 382"/>
            <p:cNvSpPr>
              <a:spLocks noEditPoints="1"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  <a:gd name="T18" fmla="*/ 200 w 535"/>
                <a:gd name="T19" fmla="*/ 322 h 541"/>
                <a:gd name="T20" fmla="*/ 299 w 535"/>
                <a:gd name="T21" fmla="*/ 322 h 541"/>
                <a:gd name="T22" fmla="*/ 252 w 535"/>
                <a:gd name="T23" fmla="*/ 137 h 541"/>
                <a:gd name="T24" fmla="*/ 200 w 535"/>
                <a:gd name="T25" fmla="*/ 32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  <a:close/>
                  <a:moveTo>
                    <a:pt x="200" y="322"/>
                  </a:moveTo>
                  <a:lnTo>
                    <a:pt x="299" y="322"/>
                  </a:lnTo>
                  <a:lnTo>
                    <a:pt x="252" y="137"/>
                  </a:lnTo>
                  <a:lnTo>
                    <a:pt x="200" y="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383"/>
            <p:cNvSpPr>
              <a:spLocks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384"/>
            <p:cNvSpPr>
              <a:spLocks/>
            </p:cNvSpPr>
            <p:nvPr/>
          </p:nvSpPr>
          <p:spPr bwMode="auto">
            <a:xfrm>
              <a:off x="6986" y="1551"/>
              <a:ext cx="99" cy="185"/>
            </a:xfrm>
            <a:custGeom>
              <a:avLst/>
              <a:gdLst>
                <a:gd name="T0" fmla="*/ 0 w 99"/>
                <a:gd name="T1" fmla="*/ 185 h 185"/>
                <a:gd name="T2" fmla="*/ 99 w 99"/>
                <a:gd name="T3" fmla="*/ 185 h 185"/>
                <a:gd name="T4" fmla="*/ 52 w 99"/>
                <a:gd name="T5" fmla="*/ 0 h 185"/>
                <a:gd name="T6" fmla="*/ 0 w 99"/>
                <a:gd name="T7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85">
                  <a:moveTo>
                    <a:pt x="0" y="185"/>
                  </a:moveTo>
                  <a:lnTo>
                    <a:pt x="99" y="185"/>
                  </a:lnTo>
                  <a:lnTo>
                    <a:pt x="52" y="0"/>
                  </a:lnTo>
                  <a:lnTo>
                    <a:pt x="0" y="18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385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386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" name="Freeform 387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  <a:gd name="T52" fmla="*/ 166 w 166"/>
                <a:gd name="T53" fmla="*/ 5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  <a:lnTo>
                    <a:pt x="166" y="54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" name="Freeform 388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pic>
        <p:nvPicPr>
          <p:cNvPr id="7" name="Picture 6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69492"/>
            <a:ext cx="12192000" cy="1205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753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26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2192000" cy="11811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181101"/>
            <a:ext cx="5181600" cy="499586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181101"/>
            <a:ext cx="5181600" cy="499586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8200" y="9529"/>
            <a:ext cx="10515600" cy="1057275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692"/>
            <a:ext cx="12192000" cy="1205784"/>
          </a:xfrm>
          <a:prstGeom prst="rect">
            <a:avLst/>
          </a:prstGeom>
        </p:spPr>
      </p:pic>
      <p:grpSp>
        <p:nvGrpSpPr>
          <p:cNvPr id="15" name="Group 363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11500626" y="6227763"/>
            <a:ext cx="585788" cy="538162"/>
            <a:chOff x="5907" y="1132"/>
            <a:chExt cx="2151" cy="1976"/>
          </a:xfrm>
        </p:grpSpPr>
        <p:sp>
          <p:nvSpPr>
            <p:cNvPr id="16" name="Freeform 364"/>
            <p:cNvSpPr>
              <a:spLocks/>
            </p:cNvSpPr>
            <p:nvPr/>
          </p:nvSpPr>
          <p:spPr bwMode="auto">
            <a:xfrm>
              <a:off x="5966" y="2117"/>
              <a:ext cx="2028" cy="0"/>
            </a:xfrm>
            <a:custGeom>
              <a:avLst/>
              <a:gdLst>
                <a:gd name="T0" fmla="*/ 0 w 2028"/>
                <a:gd name="T1" fmla="*/ 2028 w 2028"/>
                <a:gd name="T2" fmla="*/ 0 w 202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28">
                  <a:moveTo>
                    <a:pt x="0" y="0"/>
                  </a:moveTo>
                  <a:lnTo>
                    <a:pt x="202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Line 365"/>
            <p:cNvSpPr>
              <a:spLocks noChangeShapeType="1"/>
            </p:cNvSpPr>
            <p:nvPr/>
          </p:nvSpPr>
          <p:spPr bwMode="auto">
            <a:xfrm>
              <a:off x="5966" y="2117"/>
              <a:ext cx="202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Rectangle 366"/>
            <p:cNvSpPr>
              <a:spLocks noChangeArrowheads="1"/>
            </p:cNvSpPr>
            <p:nvPr/>
          </p:nvSpPr>
          <p:spPr bwMode="auto">
            <a:xfrm>
              <a:off x="5968" y="1194"/>
              <a:ext cx="2030" cy="1853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367"/>
            <p:cNvSpPr>
              <a:spLocks noEditPoints="1"/>
            </p:cNvSpPr>
            <p:nvPr/>
          </p:nvSpPr>
          <p:spPr bwMode="auto">
            <a:xfrm>
              <a:off x="5907" y="1132"/>
              <a:ext cx="2151" cy="1976"/>
            </a:xfrm>
            <a:custGeom>
              <a:avLst/>
              <a:gdLst>
                <a:gd name="T0" fmla="*/ 0 w 2151"/>
                <a:gd name="T1" fmla="*/ 1976 h 1976"/>
                <a:gd name="T2" fmla="*/ 2151 w 2151"/>
                <a:gd name="T3" fmla="*/ 1976 h 1976"/>
                <a:gd name="T4" fmla="*/ 2151 w 2151"/>
                <a:gd name="T5" fmla="*/ 0 h 1976"/>
                <a:gd name="T6" fmla="*/ 0 w 2151"/>
                <a:gd name="T7" fmla="*/ 0 h 1976"/>
                <a:gd name="T8" fmla="*/ 0 w 2151"/>
                <a:gd name="T9" fmla="*/ 1976 h 1976"/>
                <a:gd name="T10" fmla="*/ 123 w 2151"/>
                <a:gd name="T11" fmla="*/ 1854 h 1976"/>
                <a:gd name="T12" fmla="*/ 123 w 2151"/>
                <a:gd name="T13" fmla="*/ 1854 h 1976"/>
                <a:gd name="T14" fmla="*/ 123 w 2151"/>
                <a:gd name="T15" fmla="*/ 1046 h 1976"/>
                <a:gd name="T16" fmla="*/ 2030 w 2151"/>
                <a:gd name="T17" fmla="*/ 1046 h 1976"/>
                <a:gd name="T18" fmla="*/ 2030 w 2151"/>
                <a:gd name="T19" fmla="*/ 1046 h 1976"/>
                <a:gd name="T20" fmla="*/ 2030 w 2151"/>
                <a:gd name="T21" fmla="*/ 1854 h 1976"/>
                <a:gd name="T22" fmla="*/ 2030 w 2151"/>
                <a:gd name="T23" fmla="*/ 1854 h 1976"/>
                <a:gd name="T24" fmla="*/ 123 w 2151"/>
                <a:gd name="T25" fmla="*/ 1854 h 1976"/>
                <a:gd name="T26" fmla="*/ 123 w 2151"/>
                <a:gd name="T27" fmla="*/ 1854 h 1976"/>
                <a:gd name="T28" fmla="*/ 2030 w 2151"/>
                <a:gd name="T29" fmla="*/ 123 h 1976"/>
                <a:gd name="T30" fmla="*/ 2030 w 2151"/>
                <a:gd name="T31" fmla="*/ 123 h 1976"/>
                <a:gd name="T32" fmla="*/ 2030 w 2151"/>
                <a:gd name="T33" fmla="*/ 924 h 1976"/>
                <a:gd name="T34" fmla="*/ 123 w 2151"/>
                <a:gd name="T35" fmla="*/ 924 h 1976"/>
                <a:gd name="T36" fmla="*/ 123 w 2151"/>
                <a:gd name="T37" fmla="*/ 924 h 1976"/>
                <a:gd name="T38" fmla="*/ 123 w 2151"/>
                <a:gd name="T39" fmla="*/ 123 h 1976"/>
                <a:gd name="T40" fmla="*/ 123 w 2151"/>
                <a:gd name="T41" fmla="*/ 123 h 1976"/>
                <a:gd name="T42" fmla="*/ 2030 w 2151"/>
                <a:gd name="T43" fmla="*/ 123 h 1976"/>
                <a:gd name="T44" fmla="*/ 2030 w 2151"/>
                <a:gd name="T45" fmla="*/ 123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51" h="1976">
                  <a:moveTo>
                    <a:pt x="0" y="1976"/>
                  </a:moveTo>
                  <a:lnTo>
                    <a:pt x="2151" y="1976"/>
                  </a:lnTo>
                  <a:lnTo>
                    <a:pt x="2151" y="0"/>
                  </a:lnTo>
                  <a:lnTo>
                    <a:pt x="0" y="0"/>
                  </a:lnTo>
                  <a:lnTo>
                    <a:pt x="0" y="1976"/>
                  </a:lnTo>
                  <a:close/>
                  <a:moveTo>
                    <a:pt x="123" y="1854"/>
                  </a:moveTo>
                  <a:lnTo>
                    <a:pt x="123" y="1854"/>
                  </a:lnTo>
                  <a:lnTo>
                    <a:pt x="123" y="1046"/>
                  </a:lnTo>
                  <a:lnTo>
                    <a:pt x="2030" y="1046"/>
                  </a:lnTo>
                  <a:lnTo>
                    <a:pt x="2030" y="1046"/>
                  </a:lnTo>
                  <a:lnTo>
                    <a:pt x="2030" y="1854"/>
                  </a:lnTo>
                  <a:lnTo>
                    <a:pt x="2030" y="1854"/>
                  </a:lnTo>
                  <a:lnTo>
                    <a:pt x="123" y="1854"/>
                  </a:lnTo>
                  <a:lnTo>
                    <a:pt x="123" y="1854"/>
                  </a:lnTo>
                  <a:close/>
                  <a:moveTo>
                    <a:pt x="2030" y="123"/>
                  </a:moveTo>
                  <a:lnTo>
                    <a:pt x="2030" y="123"/>
                  </a:lnTo>
                  <a:lnTo>
                    <a:pt x="2030" y="924"/>
                  </a:lnTo>
                  <a:lnTo>
                    <a:pt x="123" y="924"/>
                  </a:lnTo>
                  <a:lnTo>
                    <a:pt x="123" y="924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2030" y="123"/>
                  </a:lnTo>
                  <a:lnTo>
                    <a:pt x="2030" y="123"/>
                  </a:lnTo>
                  <a:close/>
                </a:path>
              </a:pathLst>
            </a:custGeom>
            <a:solidFill>
              <a:srgbClr val="EF3E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368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64 h 587"/>
                <a:gd name="T34" fmla="*/ 953 w 1552"/>
                <a:gd name="T35" fmla="*/ 227 h 587"/>
                <a:gd name="T36" fmla="*/ 960 w 1552"/>
                <a:gd name="T37" fmla="*/ 419 h 587"/>
                <a:gd name="T38" fmla="*/ 968 w 1552"/>
                <a:gd name="T39" fmla="*/ 519 h 587"/>
                <a:gd name="T40" fmla="*/ 1034 w 1552"/>
                <a:gd name="T41" fmla="*/ 540 h 587"/>
                <a:gd name="T42" fmla="*/ 1039 w 1552"/>
                <a:gd name="T43" fmla="*/ 458 h 587"/>
                <a:gd name="T44" fmla="*/ 1039 w 1552"/>
                <a:gd name="T45" fmla="*/ 261 h 587"/>
                <a:gd name="T46" fmla="*/ 994 w 1552"/>
                <a:gd name="T47" fmla="*/ 69 h 587"/>
                <a:gd name="T48" fmla="*/ 936 w 1552"/>
                <a:gd name="T49" fmla="*/ 39 h 587"/>
                <a:gd name="T50" fmla="*/ 830 w 1552"/>
                <a:gd name="T51" fmla="*/ 196 h 587"/>
                <a:gd name="T52" fmla="*/ 786 w 1552"/>
                <a:gd name="T53" fmla="*/ 190 h 587"/>
                <a:gd name="T54" fmla="*/ 145 w 1552"/>
                <a:gd name="T55" fmla="*/ 250 h 587"/>
                <a:gd name="T56" fmla="*/ 15 w 1552"/>
                <a:gd name="T57" fmla="*/ 327 h 587"/>
                <a:gd name="T58" fmla="*/ 2 w 1552"/>
                <a:gd name="T59" fmla="*/ 471 h 587"/>
                <a:gd name="T60" fmla="*/ 32 w 1552"/>
                <a:gd name="T61" fmla="*/ 570 h 587"/>
                <a:gd name="T62" fmla="*/ 197 w 1552"/>
                <a:gd name="T63" fmla="*/ 579 h 587"/>
                <a:gd name="T64" fmla="*/ 244 w 1552"/>
                <a:gd name="T65" fmla="*/ 530 h 587"/>
                <a:gd name="T66" fmla="*/ 128 w 1552"/>
                <a:gd name="T67" fmla="*/ 542 h 587"/>
                <a:gd name="T68" fmla="*/ 76 w 1552"/>
                <a:gd name="T69" fmla="*/ 485 h 587"/>
                <a:gd name="T70" fmla="*/ 83 w 1552"/>
                <a:gd name="T71" fmla="*/ 333 h 587"/>
                <a:gd name="T72" fmla="*/ 156 w 1552"/>
                <a:gd name="T73" fmla="*/ 291 h 587"/>
                <a:gd name="T74" fmla="*/ 211 w 1552"/>
                <a:gd name="T75" fmla="*/ 276 h 587"/>
                <a:gd name="T76" fmla="*/ 773 w 1552"/>
                <a:gd name="T77" fmla="*/ 304 h 587"/>
                <a:gd name="T78" fmla="*/ 725 w 1552"/>
                <a:gd name="T79" fmla="*/ 509 h 587"/>
                <a:gd name="T80" fmla="*/ 776 w 1552"/>
                <a:gd name="T81" fmla="*/ 579 h 587"/>
                <a:gd name="T82" fmla="*/ 809 w 1552"/>
                <a:gd name="T83" fmla="*/ 542 h 587"/>
                <a:gd name="T84" fmla="*/ 806 w 1552"/>
                <a:gd name="T85" fmla="*/ 472 h 587"/>
                <a:gd name="T86" fmla="*/ 827 w 1552"/>
                <a:gd name="T87" fmla="*/ 297 h 587"/>
                <a:gd name="T88" fmla="*/ 1480 w 1552"/>
                <a:gd name="T89" fmla="*/ 37 h 587"/>
                <a:gd name="T90" fmla="*/ 1483 w 1552"/>
                <a:gd name="T91" fmla="*/ 320 h 587"/>
                <a:gd name="T92" fmla="*/ 1416 w 1552"/>
                <a:gd name="T93" fmla="*/ 310 h 587"/>
                <a:gd name="T94" fmla="*/ 1361 w 1552"/>
                <a:gd name="T95" fmla="*/ 287 h 587"/>
                <a:gd name="T96" fmla="*/ 1216 w 1552"/>
                <a:gd name="T97" fmla="*/ 334 h 587"/>
                <a:gd name="T98" fmla="*/ 1183 w 1552"/>
                <a:gd name="T99" fmla="*/ 473 h 587"/>
                <a:gd name="T100" fmla="*/ 1227 w 1552"/>
                <a:gd name="T101" fmla="*/ 540 h 587"/>
                <a:gd name="T102" fmla="*/ 1392 w 1552"/>
                <a:gd name="T103" fmla="*/ 579 h 587"/>
                <a:gd name="T104" fmla="*/ 1455 w 1552"/>
                <a:gd name="T105" fmla="*/ 540 h 587"/>
                <a:gd name="T106" fmla="*/ 1525 w 1552"/>
                <a:gd name="T107" fmla="*/ 577 h 587"/>
                <a:gd name="T108" fmla="*/ 1536 w 1552"/>
                <a:gd name="T109" fmla="*/ 506 h 587"/>
                <a:gd name="T110" fmla="*/ 1540 w 1552"/>
                <a:gd name="T111" fmla="*/ 236 h 587"/>
                <a:gd name="T112" fmla="*/ 1510 w 1552"/>
                <a:gd name="T113" fmla="*/ 39 h 587"/>
                <a:gd name="T114" fmla="*/ 1412 w 1552"/>
                <a:gd name="T115" fmla="*/ 402 h 587"/>
                <a:gd name="T116" fmla="*/ 1382 w 1552"/>
                <a:gd name="T117" fmla="*/ 530 h 587"/>
                <a:gd name="T118" fmla="*/ 1274 w 1552"/>
                <a:gd name="T119" fmla="*/ 490 h 587"/>
                <a:gd name="T120" fmla="*/ 1268 w 1552"/>
                <a:gd name="T121" fmla="*/ 377 h 587"/>
                <a:gd name="T122" fmla="*/ 1377 w 1552"/>
                <a:gd name="T123" fmla="*/ 337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noFill/>
            <a:ln w="0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369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370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" name="Freeform 371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  <a:gd name="T42" fmla="*/ 0 w 57"/>
                <a:gd name="T43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" name="Freeform 372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79 h 587"/>
                <a:gd name="T34" fmla="*/ 954 w 1552"/>
                <a:gd name="T35" fmla="*/ 298 h 587"/>
                <a:gd name="T36" fmla="*/ 958 w 1552"/>
                <a:gd name="T37" fmla="*/ 429 h 587"/>
                <a:gd name="T38" fmla="*/ 968 w 1552"/>
                <a:gd name="T39" fmla="*/ 519 h 587"/>
                <a:gd name="T40" fmla="*/ 1039 w 1552"/>
                <a:gd name="T41" fmla="*/ 537 h 587"/>
                <a:gd name="T42" fmla="*/ 1038 w 1552"/>
                <a:gd name="T43" fmla="*/ 445 h 587"/>
                <a:gd name="T44" fmla="*/ 1037 w 1552"/>
                <a:gd name="T45" fmla="*/ 249 h 587"/>
                <a:gd name="T46" fmla="*/ 994 w 1552"/>
                <a:gd name="T47" fmla="*/ 48 h 587"/>
                <a:gd name="T48" fmla="*/ 936 w 1552"/>
                <a:gd name="T49" fmla="*/ 39 h 587"/>
                <a:gd name="T50" fmla="*/ 833 w 1552"/>
                <a:gd name="T51" fmla="*/ 192 h 587"/>
                <a:gd name="T52" fmla="*/ 782 w 1552"/>
                <a:gd name="T53" fmla="*/ 196 h 587"/>
                <a:gd name="T54" fmla="*/ 133 w 1552"/>
                <a:gd name="T55" fmla="*/ 253 h 587"/>
                <a:gd name="T56" fmla="*/ 9 w 1552"/>
                <a:gd name="T57" fmla="*/ 335 h 587"/>
                <a:gd name="T58" fmla="*/ 5 w 1552"/>
                <a:gd name="T59" fmla="*/ 482 h 587"/>
                <a:gd name="T60" fmla="*/ 42 w 1552"/>
                <a:gd name="T61" fmla="*/ 574 h 587"/>
                <a:gd name="T62" fmla="*/ 211 w 1552"/>
                <a:gd name="T63" fmla="*/ 574 h 587"/>
                <a:gd name="T64" fmla="*/ 244 w 1552"/>
                <a:gd name="T65" fmla="*/ 530 h 587"/>
                <a:gd name="T66" fmla="*/ 118 w 1552"/>
                <a:gd name="T67" fmla="*/ 539 h 587"/>
                <a:gd name="T68" fmla="*/ 76 w 1552"/>
                <a:gd name="T69" fmla="*/ 485 h 587"/>
                <a:gd name="T70" fmla="*/ 89 w 1552"/>
                <a:gd name="T71" fmla="*/ 324 h 587"/>
                <a:gd name="T72" fmla="*/ 166 w 1552"/>
                <a:gd name="T73" fmla="*/ 286 h 587"/>
                <a:gd name="T74" fmla="*/ 213 w 1552"/>
                <a:gd name="T75" fmla="*/ 274 h 587"/>
                <a:gd name="T76" fmla="*/ 768 w 1552"/>
                <a:gd name="T77" fmla="*/ 314 h 587"/>
                <a:gd name="T78" fmla="*/ 728 w 1552"/>
                <a:gd name="T79" fmla="*/ 529 h 587"/>
                <a:gd name="T80" fmla="*/ 783 w 1552"/>
                <a:gd name="T81" fmla="*/ 577 h 587"/>
                <a:gd name="T82" fmla="*/ 806 w 1552"/>
                <a:gd name="T83" fmla="*/ 533 h 587"/>
                <a:gd name="T84" fmla="*/ 815 w 1552"/>
                <a:gd name="T85" fmla="*/ 451 h 587"/>
                <a:gd name="T86" fmla="*/ 825 w 1552"/>
                <a:gd name="T87" fmla="*/ 293 h 587"/>
                <a:gd name="T88" fmla="*/ 1476 w 1552"/>
                <a:gd name="T89" fmla="*/ 42 h 587"/>
                <a:gd name="T90" fmla="*/ 1482 w 1552"/>
                <a:gd name="T91" fmla="*/ 355 h 587"/>
                <a:gd name="T92" fmla="*/ 1416 w 1552"/>
                <a:gd name="T93" fmla="*/ 305 h 587"/>
                <a:gd name="T94" fmla="*/ 1352 w 1552"/>
                <a:gd name="T95" fmla="*/ 293 h 587"/>
                <a:gd name="T96" fmla="*/ 1204 w 1552"/>
                <a:gd name="T97" fmla="*/ 341 h 587"/>
                <a:gd name="T98" fmla="*/ 1187 w 1552"/>
                <a:gd name="T99" fmla="*/ 483 h 587"/>
                <a:gd name="T100" fmla="*/ 1237 w 1552"/>
                <a:gd name="T101" fmla="*/ 540 h 587"/>
                <a:gd name="T102" fmla="*/ 1399 w 1552"/>
                <a:gd name="T103" fmla="*/ 576 h 587"/>
                <a:gd name="T104" fmla="*/ 1461 w 1552"/>
                <a:gd name="T105" fmla="*/ 542 h 587"/>
                <a:gd name="T106" fmla="*/ 1536 w 1552"/>
                <a:gd name="T107" fmla="*/ 573 h 587"/>
                <a:gd name="T108" fmla="*/ 1533 w 1552"/>
                <a:gd name="T109" fmla="*/ 496 h 587"/>
                <a:gd name="T110" fmla="*/ 1537 w 1552"/>
                <a:gd name="T111" fmla="*/ 196 h 587"/>
                <a:gd name="T112" fmla="*/ 1503 w 1552"/>
                <a:gd name="T113" fmla="*/ 37 h 587"/>
                <a:gd name="T114" fmla="*/ 1416 w 1552"/>
                <a:gd name="T115" fmla="*/ 408 h 587"/>
                <a:gd name="T116" fmla="*/ 1369 w 1552"/>
                <a:gd name="T117" fmla="*/ 535 h 587"/>
                <a:gd name="T118" fmla="*/ 1274 w 1552"/>
                <a:gd name="T119" fmla="*/ 490 h 587"/>
                <a:gd name="T120" fmla="*/ 1276 w 1552"/>
                <a:gd name="T121" fmla="*/ 365 h 587"/>
                <a:gd name="T122" fmla="*/ 1385 w 1552"/>
                <a:gd name="T123" fmla="*/ 34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373"/>
            <p:cNvSpPr>
              <a:spLocks/>
            </p:cNvSpPr>
            <p:nvPr/>
          </p:nvSpPr>
          <p:spPr bwMode="auto">
            <a:xfrm>
              <a:off x="6526" y="2285"/>
              <a:ext cx="299" cy="549"/>
            </a:xfrm>
            <a:custGeom>
              <a:avLst/>
              <a:gdLst>
                <a:gd name="T0" fmla="*/ 97 w 299"/>
                <a:gd name="T1" fmla="*/ 84 h 549"/>
                <a:gd name="T2" fmla="*/ 114 w 299"/>
                <a:gd name="T3" fmla="*/ 197 h 549"/>
                <a:gd name="T4" fmla="*/ 125 w 299"/>
                <a:gd name="T5" fmla="*/ 241 h 549"/>
                <a:gd name="T6" fmla="*/ 118 w 299"/>
                <a:gd name="T7" fmla="*/ 280 h 549"/>
                <a:gd name="T8" fmla="*/ 122 w 299"/>
                <a:gd name="T9" fmla="*/ 304 h 549"/>
                <a:gd name="T10" fmla="*/ 196 w 299"/>
                <a:gd name="T11" fmla="*/ 301 h 549"/>
                <a:gd name="T12" fmla="*/ 243 w 299"/>
                <a:gd name="T13" fmla="*/ 310 h 549"/>
                <a:gd name="T14" fmla="*/ 272 w 299"/>
                <a:gd name="T15" fmla="*/ 325 h 549"/>
                <a:gd name="T16" fmla="*/ 292 w 299"/>
                <a:gd name="T17" fmla="*/ 355 h 549"/>
                <a:gd name="T18" fmla="*/ 297 w 299"/>
                <a:gd name="T19" fmla="*/ 421 h 549"/>
                <a:gd name="T20" fmla="*/ 296 w 299"/>
                <a:gd name="T21" fmla="*/ 489 h 549"/>
                <a:gd name="T22" fmla="*/ 286 w 299"/>
                <a:gd name="T23" fmla="*/ 519 h 549"/>
                <a:gd name="T24" fmla="*/ 276 w 299"/>
                <a:gd name="T25" fmla="*/ 535 h 549"/>
                <a:gd name="T26" fmla="*/ 258 w 299"/>
                <a:gd name="T27" fmla="*/ 546 h 549"/>
                <a:gd name="T28" fmla="*/ 236 w 299"/>
                <a:gd name="T29" fmla="*/ 547 h 549"/>
                <a:gd name="T30" fmla="*/ 223 w 299"/>
                <a:gd name="T31" fmla="*/ 540 h 549"/>
                <a:gd name="T32" fmla="*/ 218 w 299"/>
                <a:gd name="T33" fmla="*/ 523 h 549"/>
                <a:gd name="T34" fmla="*/ 225 w 299"/>
                <a:gd name="T35" fmla="*/ 493 h 549"/>
                <a:gd name="T36" fmla="*/ 232 w 299"/>
                <a:gd name="T37" fmla="*/ 446 h 549"/>
                <a:gd name="T38" fmla="*/ 229 w 299"/>
                <a:gd name="T39" fmla="*/ 398 h 549"/>
                <a:gd name="T40" fmla="*/ 216 w 299"/>
                <a:gd name="T41" fmla="*/ 372 h 549"/>
                <a:gd name="T42" fmla="*/ 198 w 299"/>
                <a:gd name="T43" fmla="*/ 352 h 549"/>
                <a:gd name="T44" fmla="*/ 159 w 299"/>
                <a:gd name="T45" fmla="*/ 340 h 549"/>
                <a:gd name="T46" fmla="*/ 118 w 299"/>
                <a:gd name="T47" fmla="*/ 341 h 549"/>
                <a:gd name="T48" fmla="*/ 108 w 299"/>
                <a:gd name="T49" fmla="*/ 355 h 549"/>
                <a:gd name="T50" fmla="*/ 97 w 299"/>
                <a:gd name="T51" fmla="*/ 388 h 549"/>
                <a:gd name="T52" fmla="*/ 94 w 299"/>
                <a:gd name="T53" fmla="*/ 445 h 549"/>
                <a:gd name="T54" fmla="*/ 94 w 299"/>
                <a:gd name="T55" fmla="*/ 492 h 549"/>
                <a:gd name="T56" fmla="*/ 90 w 299"/>
                <a:gd name="T57" fmla="*/ 519 h 549"/>
                <a:gd name="T58" fmla="*/ 77 w 299"/>
                <a:gd name="T59" fmla="*/ 542 h 549"/>
                <a:gd name="T60" fmla="*/ 61 w 299"/>
                <a:gd name="T61" fmla="*/ 549 h 549"/>
                <a:gd name="T62" fmla="*/ 38 w 299"/>
                <a:gd name="T63" fmla="*/ 544 h 549"/>
                <a:gd name="T64" fmla="*/ 23 w 299"/>
                <a:gd name="T65" fmla="*/ 532 h 549"/>
                <a:gd name="T66" fmla="*/ 19 w 299"/>
                <a:gd name="T67" fmla="*/ 503 h 549"/>
                <a:gd name="T68" fmla="*/ 26 w 299"/>
                <a:gd name="T69" fmla="*/ 436 h 549"/>
                <a:gd name="T70" fmla="*/ 21 w 299"/>
                <a:gd name="T71" fmla="*/ 395 h 549"/>
                <a:gd name="T72" fmla="*/ 7 w 299"/>
                <a:gd name="T73" fmla="*/ 370 h 549"/>
                <a:gd name="T74" fmla="*/ 0 w 299"/>
                <a:gd name="T75" fmla="*/ 358 h 549"/>
                <a:gd name="T76" fmla="*/ 16 w 299"/>
                <a:gd name="T77" fmla="*/ 344 h 549"/>
                <a:gd name="T78" fmla="*/ 37 w 299"/>
                <a:gd name="T79" fmla="*/ 331 h 549"/>
                <a:gd name="T80" fmla="*/ 43 w 299"/>
                <a:gd name="T81" fmla="*/ 320 h 549"/>
                <a:gd name="T82" fmla="*/ 51 w 299"/>
                <a:gd name="T83" fmla="*/ 305 h 549"/>
                <a:gd name="T84" fmla="*/ 67 w 299"/>
                <a:gd name="T85" fmla="*/ 276 h 549"/>
                <a:gd name="T86" fmla="*/ 71 w 299"/>
                <a:gd name="T87" fmla="*/ 241 h 549"/>
                <a:gd name="T88" fmla="*/ 65 w 299"/>
                <a:gd name="T89" fmla="*/ 224 h 549"/>
                <a:gd name="T90" fmla="*/ 57 w 299"/>
                <a:gd name="T91" fmla="*/ 190 h 549"/>
                <a:gd name="T92" fmla="*/ 57 w 299"/>
                <a:gd name="T93" fmla="*/ 146 h 549"/>
                <a:gd name="T94" fmla="*/ 50 w 299"/>
                <a:gd name="T95" fmla="*/ 121 h 549"/>
                <a:gd name="T96" fmla="*/ 37 w 299"/>
                <a:gd name="T97" fmla="*/ 74 h 549"/>
                <a:gd name="T98" fmla="*/ 33 w 299"/>
                <a:gd name="T99" fmla="*/ 32 h 549"/>
                <a:gd name="T100" fmla="*/ 41 w 299"/>
                <a:gd name="T101" fmla="*/ 11 h 549"/>
                <a:gd name="T102" fmla="*/ 54 w 299"/>
                <a:gd name="T103" fmla="*/ 0 h 549"/>
                <a:gd name="T104" fmla="*/ 77 w 299"/>
                <a:gd name="T105" fmla="*/ 15 h 549"/>
                <a:gd name="T106" fmla="*/ 87 w 299"/>
                <a:gd name="T107" fmla="*/ 44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9" h="549">
                  <a:moveTo>
                    <a:pt x="91" y="62"/>
                  </a:moveTo>
                  <a:lnTo>
                    <a:pt x="91" y="62"/>
                  </a:lnTo>
                  <a:lnTo>
                    <a:pt x="97" y="84"/>
                  </a:lnTo>
                  <a:lnTo>
                    <a:pt x="102" y="105"/>
                  </a:lnTo>
                  <a:lnTo>
                    <a:pt x="108" y="152"/>
                  </a:lnTo>
                  <a:lnTo>
                    <a:pt x="114" y="197"/>
                  </a:lnTo>
                  <a:lnTo>
                    <a:pt x="118" y="219"/>
                  </a:lnTo>
                  <a:lnTo>
                    <a:pt x="125" y="241"/>
                  </a:lnTo>
                  <a:lnTo>
                    <a:pt x="125" y="241"/>
                  </a:lnTo>
                  <a:lnTo>
                    <a:pt x="121" y="256"/>
                  </a:lnTo>
                  <a:lnTo>
                    <a:pt x="118" y="273"/>
                  </a:lnTo>
                  <a:lnTo>
                    <a:pt x="118" y="280"/>
                  </a:lnTo>
                  <a:lnTo>
                    <a:pt x="118" y="288"/>
                  </a:lnTo>
                  <a:lnTo>
                    <a:pt x="120" y="296"/>
                  </a:lnTo>
                  <a:lnTo>
                    <a:pt x="122" y="304"/>
                  </a:lnTo>
                  <a:lnTo>
                    <a:pt x="122" y="304"/>
                  </a:lnTo>
                  <a:lnTo>
                    <a:pt x="171" y="301"/>
                  </a:lnTo>
                  <a:lnTo>
                    <a:pt x="196" y="301"/>
                  </a:lnTo>
                  <a:lnTo>
                    <a:pt x="221" y="304"/>
                  </a:lnTo>
                  <a:lnTo>
                    <a:pt x="232" y="305"/>
                  </a:lnTo>
                  <a:lnTo>
                    <a:pt x="243" y="310"/>
                  </a:lnTo>
                  <a:lnTo>
                    <a:pt x="253" y="314"/>
                  </a:lnTo>
                  <a:lnTo>
                    <a:pt x="263" y="318"/>
                  </a:lnTo>
                  <a:lnTo>
                    <a:pt x="272" y="325"/>
                  </a:lnTo>
                  <a:lnTo>
                    <a:pt x="279" y="334"/>
                  </a:lnTo>
                  <a:lnTo>
                    <a:pt x="286" y="344"/>
                  </a:lnTo>
                  <a:lnTo>
                    <a:pt x="292" y="355"/>
                  </a:lnTo>
                  <a:lnTo>
                    <a:pt x="292" y="355"/>
                  </a:lnTo>
                  <a:lnTo>
                    <a:pt x="296" y="398"/>
                  </a:lnTo>
                  <a:lnTo>
                    <a:pt x="297" y="421"/>
                  </a:lnTo>
                  <a:lnTo>
                    <a:pt x="299" y="445"/>
                  </a:lnTo>
                  <a:lnTo>
                    <a:pt x="299" y="468"/>
                  </a:lnTo>
                  <a:lnTo>
                    <a:pt x="296" y="489"/>
                  </a:lnTo>
                  <a:lnTo>
                    <a:pt x="293" y="499"/>
                  </a:lnTo>
                  <a:lnTo>
                    <a:pt x="290" y="510"/>
                  </a:lnTo>
                  <a:lnTo>
                    <a:pt x="286" y="519"/>
                  </a:lnTo>
                  <a:lnTo>
                    <a:pt x="280" y="529"/>
                  </a:lnTo>
                  <a:lnTo>
                    <a:pt x="280" y="529"/>
                  </a:lnTo>
                  <a:lnTo>
                    <a:pt x="276" y="535"/>
                  </a:lnTo>
                  <a:lnTo>
                    <a:pt x="270" y="539"/>
                  </a:lnTo>
                  <a:lnTo>
                    <a:pt x="263" y="543"/>
                  </a:lnTo>
                  <a:lnTo>
                    <a:pt x="258" y="546"/>
                  </a:lnTo>
                  <a:lnTo>
                    <a:pt x="250" y="547"/>
                  </a:lnTo>
                  <a:lnTo>
                    <a:pt x="243" y="547"/>
                  </a:lnTo>
                  <a:lnTo>
                    <a:pt x="236" y="547"/>
                  </a:lnTo>
                  <a:lnTo>
                    <a:pt x="229" y="546"/>
                  </a:lnTo>
                  <a:lnTo>
                    <a:pt x="229" y="546"/>
                  </a:lnTo>
                  <a:lnTo>
                    <a:pt x="223" y="540"/>
                  </a:lnTo>
                  <a:lnTo>
                    <a:pt x="221" y="536"/>
                  </a:lnTo>
                  <a:lnTo>
                    <a:pt x="219" y="530"/>
                  </a:lnTo>
                  <a:lnTo>
                    <a:pt x="218" y="523"/>
                  </a:lnTo>
                  <a:lnTo>
                    <a:pt x="219" y="512"/>
                  </a:lnTo>
                  <a:lnTo>
                    <a:pt x="221" y="499"/>
                  </a:lnTo>
                  <a:lnTo>
                    <a:pt x="225" y="493"/>
                  </a:lnTo>
                  <a:lnTo>
                    <a:pt x="225" y="493"/>
                  </a:lnTo>
                  <a:lnTo>
                    <a:pt x="229" y="463"/>
                  </a:lnTo>
                  <a:lnTo>
                    <a:pt x="232" y="446"/>
                  </a:lnTo>
                  <a:lnTo>
                    <a:pt x="232" y="431"/>
                  </a:lnTo>
                  <a:lnTo>
                    <a:pt x="232" y="414"/>
                  </a:lnTo>
                  <a:lnTo>
                    <a:pt x="229" y="398"/>
                  </a:lnTo>
                  <a:lnTo>
                    <a:pt x="223" y="385"/>
                  </a:lnTo>
                  <a:lnTo>
                    <a:pt x="221" y="378"/>
                  </a:lnTo>
                  <a:lnTo>
                    <a:pt x="216" y="372"/>
                  </a:lnTo>
                  <a:lnTo>
                    <a:pt x="216" y="372"/>
                  </a:lnTo>
                  <a:lnTo>
                    <a:pt x="208" y="361"/>
                  </a:lnTo>
                  <a:lnTo>
                    <a:pt x="198" y="352"/>
                  </a:lnTo>
                  <a:lnTo>
                    <a:pt x="186" y="347"/>
                  </a:lnTo>
                  <a:lnTo>
                    <a:pt x="174" y="342"/>
                  </a:lnTo>
                  <a:lnTo>
                    <a:pt x="159" y="340"/>
                  </a:lnTo>
                  <a:lnTo>
                    <a:pt x="147" y="338"/>
                  </a:lnTo>
                  <a:lnTo>
                    <a:pt x="132" y="340"/>
                  </a:lnTo>
                  <a:lnTo>
                    <a:pt x="118" y="341"/>
                  </a:lnTo>
                  <a:lnTo>
                    <a:pt x="118" y="341"/>
                  </a:lnTo>
                  <a:lnTo>
                    <a:pt x="112" y="348"/>
                  </a:lnTo>
                  <a:lnTo>
                    <a:pt x="108" y="355"/>
                  </a:lnTo>
                  <a:lnTo>
                    <a:pt x="104" y="362"/>
                  </a:lnTo>
                  <a:lnTo>
                    <a:pt x="101" y="371"/>
                  </a:lnTo>
                  <a:lnTo>
                    <a:pt x="97" y="388"/>
                  </a:lnTo>
                  <a:lnTo>
                    <a:pt x="94" y="405"/>
                  </a:lnTo>
                  <a:lnTo>
                    <a:pt x="94" y="425"/>
                  </a:lnTo>
                  <a:lnTo>
                    <a:pt x="94" y="445"/>
                  </a:lnTo>
                  <a:lnTo>
                    <a:pt x="94" y="483"/>
                  </a:lnTo>
                  <a:lnTo>
                    <a:pt x="94" y="483"/>
                  </a:lnTo>
                  <a:lnTo>
                    <a:pt x="94" y="492"/>
                  </a:lnTo>
                  <a:lnTo>
                    <a:pt x="94" y="500"/>
                  </a:lnTo>
                  <a:lnTo>
                    <a:pt x="93" y="510"/>
                  </a:lnTo>
                  <a:lnTo>
                    <a:pt x="90" y="519"/>
                  </a:lnTo>
                  <a:lnTo>
                    <a:pt x="87" y="527"/>
                  </a:lnTo>
                  <a:lnTo>
                    <a:pt x="83" y="535"/>
                  </a:lnTo>
                  <a:lnTo>
                    <a:pt x="77" y="542"/>
                  </a:lnTo>
                  <a:lnTo>
                    <a:pt x="70" y="547"/>
                  </a:lnTo>
                  <a:lnTo>
                    <a:pt x="70" y="547"/>
                  </a:lnTo>
                  <a:lnTo>
                    <a:pt x="61" y="549"/>
                  </a:lnTo>
                  <a:lnTo>
                    <a:pt x="53" y="547"/>
                  </a:lnTo>
                  <a:lnTo>
                    <a:pt x="46" y="547"/>
                  </a:lnTo>
                  <a:lnTo>
                    <a:pt x="38" y="544"/>
                  </a:lnTo>
                  <a:lnTo>
                    <a:pt x="33" y="542"/>
                  </a:lnTo>
                  <a:lnTo>
                    <a:pt x="27" y="537"/>
                  </a:lnTo>
                  <a:lnTo>
                    <a:pt x="23" y="532"/>
                  </a:lnTo>
                  <a:lnTo>
                    <a:pt x="19" y="525"/>
                  </a:lnTo>
                  <a:lnTo>
                    <a:pt x="19" y="525"/>
                  </a:lnTo>
                  <a:lnTo>
                    <a:pt x="19" y="503"/>
                  </a:lnTo>
                  <a:lnTo>
                    <a:pt x="20" y="482"/>
                  </a:lnTo>
                  <a:lnTo>
                    <a:pt x="23" y="459"/>
                  </a:lnTo>
                  <a:lnTo>
                    <a:pt x="26" y="436"/>
                  </a:lnTo>
                  <a:lnTo>
                    <a:pt x="26" y="415"/>
                  </a:lnTo>
                  <a:lnTo>
                    <a:pt x="24" y="405"/>
                  </a:lnTo>
                  <a:lnTo>
                    <a:pt x="21" y="395"/>
                  </a:lnTo>
                  <a:lnTo>
                    <a:pt x="19" y="387"/>
                  </a:lnTo>
                  <a:lnTo>
                    <a:pt x="14" y="377"/>
                  </a:lnTo>
                  <a:lnTo>
                    <a:pt x="7" y="370"/>
                  </a:lnTo>
                  <a:lnTo>
                    <a:pt x="0" y="362"/>
                  </a:lnTo>
                  <a:lnTo>
                    <a:pt x="0" y="362"/>
                  </a:lnTo>
                  <a:lnTo>
                    <a:pt x="0" y="358"/>
                  </a:lnTo>
                  <a:lnTo>
                    <a:pt x="3" y="354"/>
                  </a:lnTo>
                  <a:lnTo>
                    <a:pt x="7" y="348"/>
                  </a:lnTo>
                  <a:lnTo>
                    <a:pt x="16" y="344"/>
                  </a:lnTo>
                  <a:lnTo>
                    <a:pt x="23" y="340"/>
                  </a:lnTo>
                  <a:lnTo>
                    <a:pt x="31" y="337"/>
                  </a:lnTo>
                  <a:lnTo>
                    <a:pt x="37" y="331"/>
                  </a:lnTo>
                  <a:lnTo>
                    <a:pt x="40" y="328"/>
                  </a:lnTo>
                  <a:lnTo>
                    <a:pt x="41" y="324"/>
                  </a:lnTo>
                  <a:lnTo>
                    <a:pt x="43" y="320"/>
                  </a:lnTo>
                  <a:lnTo>
                    <a:pt x="43" y="314"/>
                  </a:lnTo>
                  <a:lnTo>
                    <a:pt x="43" y="314"/>
                  </a:lnTo>
                  <a:lnTo>
                    <a:pt x="51" y="305"/>
                  </a:lnTo>
                  <a:lnTo>
                    <a:pt x="58" y="296"/>
                  </a:lnTo>
                  <a:lnTo>
                    <a:pt x="64" y="286"/>
                  </a:lnTo>
                  <a:lnTo>
                    <a:pt x="67" y="276"/>
                  </a:lnTo>
                  <a:lnTo>
                    <a:pt x="70" y="264"/>
                  </a:lnTo>
                  <a:lnTo>
                    <a:pt x="71" y="253"/>
                  </a:lnTo>
                  <a:lnTo>
                    <a:pt x="71" y="241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5" y="224"/>
                  </a:lnTo>
                  <a:lnTo>
                    <a:pt x="63" y="219"/>
                  </a:lnTo>
                  <a:lnTo>
                    <a:pt x="58" y="205"/>
                  </a:lnTo>
                  <a:lnTo>
                    <a:pt x="57" y="190"/>
                  </a:lnTo>
                  <a:lnTo>
                    <a:pt x="57" y="176"/>
                  </a:lnTo>
                  <a:lnTo>
                    <a:pt x="58" y="160"/>
                  </a:lnTo>
                  <a:lnTo>
                    <a:pt x="57" y="146"/>
                  </a:lnTo>
                  <a:lnTo>
                    <a:pt x="56" y="133"/>
                  </a:lnTo>
                  <a:lnTo>
                    <a:pt x="53" y="126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41" y="91"/>
                  </a:lnTo>
                  <a:lnTo>
                    <a:pt x="37" y="74"/>
                  </a:lnTo>
                  <a:lnTo>
                    <a:pt x="33" y="57"/>
                  </a:lnTo>
                  <a:lnTo>
                    <a:pt x="33" y="41"/>
                  </a:lnTo>
                  <a:lnTo>
                    <a:pt x="33" y="32"/>
                  </a:lnTo>
                  <a:lnTo>
                    <a:pt x="36" y="25"/>
                  </a:lnTo>
                  <a:lnTo>
                    <a:pt x="37" y="18"/>
                  </a:lnTo>
                  <a:lnTo>
                    <a:pt x="41" y="11"/>
                  </a:lnTo>
                  <a:lnTo>
                    <a:pt x="47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3"/>
                  </a:lnTo>
                  <a:lnTo>
                    <a:pt x="71" y="8"/>
                  </a:lnTo>
                  <a:lnTo>
                    <a:pt x="77" y="15"/>
                  </a:lnTo>
                  <a:lnTo>
                    <a:pt x="81" y="24"/>
                  </a:lnTo>
                  <a:lnTo>
                    <a:pt x="84" y="34"/>
                  </a:lnTo>
                  <a:lnTo>
                    <a:pt x="87" y="44"/>
                  </a:lnTo>
                  <a:lnTo>
                    <a:pt x="91" y="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374"/>
            <p:cNvSpPr>
              <a:spLocks/>
            </p:cNvSpPr>
            <p:nvPr/>
          </p:nvSpPr>
          <p:spPr bwMode="auto">
            <a:xfrm>
              <a:off x="7126" y="2317"/>
              <a:ext cx="131" cy="511"/>
            </a:xfrm>
            <a:custGeom>
              <a:avLst/>
              <a:gdLst>
                <a:gd name="T0" fmla="*/ 15 w 131"/>
                <a:gd name="T1" fmla="*/ 7 h 511"/>
                <a:gd name="T2" fmla="*/ 3 w 131"/>
                <a:gd name="T3" fmla="*/ 17 h 511"/>
                <a:gd name="T4" fmla="*/ 0 w 131"/>
                <a:gd name="T5" fmla="*/ 32 h 511"/>
                <a:gd name="T6" fmla="*/ 2 w 131"/>
                <a:gd name="T7" fmla="*/ 63 h 511"/>
                <a:gd name="T8" fmla="*/ 10 w 131"/>
                <a:gd name="T9" fmla="*/ 77 h 511"/>
                <a:gd name="T10" fmla="*/ 22 w 131"/>
                <a:gd name="T11" fmla="*/ 110 h 511"/>
                <a:gd name="T12" fmla="*/ 27 w 131"/>
                <a:gd name="T13" fmla="*/ 143 h 511"/>
                <a:gd name="T14" fmla="*/ 32 w 131"/>
                <a:gd name="T15" fmla="*/ 195 h 511"/>
                <a:gd name="T16" fmla="*/ 36 w 131"/>
                <a:gd name="T17" fmla="*/ 301 h 511"/>
                <a:gd name="T18" fmla="*/ 39 w 131"/>
                <a:gd name="T19" fmla="*/ 335 h 511"/>
                <a:gd name="T20" fmla="*/ 46 w 131"/>
                <a:gd name="T21" fmla="*/ 352 h 511"/>
                <a:gd name="T22" fmla="*/ 43 w 131"/>
                <a:gd name="T23" fmla="*/ 369 h 511"/>
                <a:gd name="T24" fmla="*/ 39 w 131"/>
                <a:gd name="T25" fmla="*/ 387 h 511"/>
                <a:gd name="T26" fmla="*/ 39 w 131"/>
                <a:gd name="T27" fmla="*/ 407 h 511"/>
                <a:gd name="T28" fmla="*/ 43 w 131"/>
                <a:gd name="T29" fmla="*/ 416 h 511"/>
                <a:gd name="T30" fmla="*/ 46 w 131"/>
                <a:gd name="T31" fmla="*/ 436 h 511"/>
                <a:gd name="T32" fmla="*/ 46 w 131"/>
                <a:gd name="T33" fmla="*/ 467 h 511"/>
                <a:gd name="T34" fmla="*/ 47 w 131"/>
                <a:gd name="T35" fmla="*/ 487 h 511"/>
                <a:gd name="T36" fmla="*/ 53 w 131"/>
                <a:gd name="T37" fmla="*/ 494 h 511"/>
                <a:gd name="T38" fmla="*/ 66 w 131"/>
                <a:gd name="T39" fmla="*/ 505 h 511"/>
                <a:gd name="T40" fmla="*/ 83 w 131"/>
                <a:gd name="T41" fmla="*/ 511 h 511"/>
                <a:gd name="T42" fmla="*/ 103 w 131"/>
                <a:gd name="T43" fmla="*/ 511 h 511"/>
                <a:gd name="T44" fmla="*/ 113 w 131"/>
                <a:gd name="T45" fmla="*/ 508 h 511"/>
                <a:gd name="T46" fmla="*/ 124 w 131"/>
                <a:gd name="T47" fmla="*/ 501 h 511"/>
                <a:gd name="T48" fmla="*/ 130 w 131"/>
                <a:gd name="T49" fmla="*/ 491 h 511"/>
                <a:gd name="T50" fmla="*/ 131 w 131"/>
                <a:gd name="T51" fmla="*/ 480 h 511"/>
                <a:gd name="T52" fmla="*/ 126 w 131"/>
                <a:gd name="T53" fmla="*/ 453 h 511"/>
                <a:gd name="T54" fmla="*/ 118 w 131"/>
                <a:gd name="T55" fmla="*/ 426 h 511"/>
                <a:gd name="T56" fmla="*/ 117 w 131"/>
                <a:gd name="T57" fmla="*/ 413 h 511"/>
                <a:gd name="T58" fmla="*/ 116 w 131"/>
                <a:gd name="T59" fmla="*/ 384 h 511"/>
                <a:gd name="T60" fmla="*/ 121 w 131"/>
                <a:gd name="T61" fmla="*/ 299 h 511"/>
                <a:gd name="T62" fmla="*/ 123 w 131"/>
                <a:gd name="T63" fmla="*/ 256 h 511"/>
                <a:gd name="T64" fmla="*/ 118 w 131"/>
                <a:gd name="T65" fmla="*/ 229 h 511"/>
                <a:gd name="T66" fmla="*/ 110 w 131"/>
                <a:gd name="T67" fmla="*/ 204 h 511"/>
                <a:gd name="T68" fmla="*/ 104 w 131"/>
                <a:gd name="T69" fmla="*/ 191 h 511"/>
                <a:gd name="T70" fmla="*/ 97 w 131"/>
                <a:gd name="T71" fmla="*/ 145 h 511"/>
                <a:gd name="T72" fmla="*/ 80 w 131"/>
                <a:gd name="T73" fmla="*/ 81 h 511"/>
                <a:gd name="T74" fmla="*/ 73 w 131"/>
                <a:gd name="T75" fmla="*/ 37 h 511"/>
                <a:gd name="T76" fmla="*/ 73 w 131"/>
                <a:gd name="T77" fmla="*/ 16 h 511"/>
                <a:gd name="T78" fmla="*/ 62 w 131"/>
                <a:gd name="T79" fmla="*/ 3 h 511"/>
                <a:gd name="T80" fmla="*/ 47 w 131"/>
                <a:gd name="T81" fmla="*/ 0 h 511"/>
                <a:gd name="T82" fmla="*/ 30 w 131"/>
                <a:gd name="T83" fmla="*/ 2 h 511"/>
                <a:gd name="T84" fmla="*/ 15 w 131"/>
                <a:gd name="T85" fmla="*/ 7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" h="511">
                  <a:moveTo>
                    <a:pt x="15" y="7"/>
                  </a:moveTo>
                  <a:lnTo>
                    <a:pt x="15" y="7"/>
                  </a:lnTo>
                  <a:lnTo>
                    <a:pt x="9" y="12"/>
                  </a:lnTo>
                  <a:lnTo>
                    <a:pt x="3" y="17"/>
                  </a:lnTo>
                  <a:lnTo>
                    <a:pt x="2" y="23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10" y="77"/>
                  </a:lnTo>
                  <a:lnTo>
                    <a:pt x="16" y="93"/>
                  </a:lnTo>
                  <a:lnTo>
                    <a:pt x="22" y="110"/>
                  </a:lnTo>
                  <a:lnTo>
                    <a:pt x="25" y="126"/>
                  </a:lnTo>
                  <a:lnTo>
                    <a:pt x="27" y="143"/>
                  </a:lnTo>
                  <a:lnTo>
                    <a:pt x="30" y="160"/>
                  </a:lnTo>
                  <a:lnTo>
                    <a:pt x="32" y="195"/>
                  </a:lnTo>
                  <a:lnTo>
                    <a:pt x="33" y="266"/>
                  </a:lnTo>
                  <a:lnTo>
                    <a:pt x="36" y="301"/>
                  </a:lnTo>
                  <a:lnTo>
                    <a:pt x="39" y="335"/>
                  </a:lnTo>
                  <a:lnTo>
                    <a:pt x="39" y="335"/>
                  </a:lnTo>
                  <a:lnTo>
                    <a:pt x="44" y="343"/>
                  </a:lnTo>
                  <a:lnTo>
                    <a:pt x="46" y="352"/>
                  </a:lnTo>
                  <a:lnTo>
                    <a:pt x="46" y="360"/>
                  </a:lnTo>
                  <a:lnTo>
                    <a:pt x="43" y="369"/>
                  </a:lnTo>
                  <a:lnTo>
                    <a:pt x="40" y="377"/>
                  </a:lnTo>
                  <a:lnTo>
                    <a:pt x="39" y="387"/>
                  </a:lnTo>
                  <a:lnTo>
                    <a:pt x="37" y="39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43" y="416"/>
                  </a:lnTo>
                  <a:lnTo>
                    <a:pt x="44" y="426"/>
                  </a:lnTo>
                  <a:lnTo>
                    <a:pt x="46" y="436"/>
                  </a:lnTo>
                  <a:lnTo>
                    <a:pt x="46" y="446"/>
                  </a:lnTo>
                  <a:lnTo>
                    <a:pt x="46" y="467"/>
                  </a:lnTo>
                  <a:lnTo>
                    <a:pt x="46" y="477"/>
                  </a:lnTo>
                  <a:lnTo>
                    <a:pt x="47" y="487"/>
                  </a:lnTo>
                  <a:lnTo>
                    <a:pt x="47" y="487"/>
                  </a:lnTo>
                  <a:lnTo>
                    <a:pt x="53" y="494"/>
                  </a:lnTo>
                  <a:lnTo>
                    <a:pt x="59" y="501"/>
                  </a:lnTo>
                  <a:lnTo>
                    <a:pt x="66" y="505"/>
                  </a:lnTo>
                  <a:lnTo>
                    <a:pt x="74" y="510"/>
                  </a:lnTo>
                  <a:lnTo>
                    <a:pt x="83" y="511"/>
                  </a:lnTo>
                  <a:lnTo>
                    <a:pt x="93" y="511"/>
                  </a:lnTo>
                  <a:lnTo>
                    <a:pt x="103" y="511"/>
                  </a:lnTo>
                  <a:lnTo>
                    <a:pt x="113" y="508"/>
                  </a:lnTo>
                  <a:lnTo>
                    <a:pt x="113" y="508"/>
                  </a:lnTo>
                  <a:lnTo>
                    <a:pt x="118" y="505"/>
                  </a:lnTo>
                  <a:lnTo>
                    <a:pt x="124" y="501"/>
                  </a:lnTo>
                  <a:lnTo>
                    <a:pt x="127" y="497"/>
                  </a:lnTo>
                  <a:lnTo>
                    <a:pt x="130" y="491"/>
                  </a:lnTo>
                  <a:lnTo>
                    <a:pt x="131" y="485"/>
                  </a:lnTo>
                  <a:lnTo>
                    <a:pt x="131" y="480"/>
                  </a:lnTo>
                  <a:lnTo>
                    <a:pt x="130" y="467"/>
                  </a:lnTo>
                  <a:lnTo>
                    <a:pt x="126" y="453"/>
                  </a:lnTo>
                  <a:lnTo>
                    <a:pt x="123" y="439"/>
                  </a:lnTo>
                  <a:lnTo>
                    <a:pt x="118" y="426"/>
                  </a:lnTo>
                  <a:lnTo>
                    <a:pt x="117" y="413"/>
                  </a:lnTo>
                  <a:lnTo>
                    <a:pt x="117" y="413"/>
                  </a:lnTo>
                  <a:lnTo>
                    <a:pt x="116" y="399"/>
                  </a:lnTo>
                  <a:lnTo>
                    <a:pt x="116" y="384"/>
                  </a:lnTo>
                  <a:lnTo>
                    <a:pt x="117" y="356"/>
                  </a:lnTo>
                  <a:lnTo>
                    <a:pt x="121" y="299"/>
                  </a:lnTo>
                  <a:lnTo>
                    <a:pt x="123" y="271"/>
                  </a:lnTo>
                  <a:lnTo>
                    <a:pt x="123" y="256"/>
                  </a:lnTo>
                  <a:lnTo>
                    <a:pt x="121" y="244"/>
                  </a:lnTo>
                  <a:lnTo>
                    <a:pt x="118" y="229"/>
                  </a:lnTo>
                  <a:lnTo>
                    <a:pt x="116" y="217"/>
                  </a:lnTo>
                  <a:lnTo>
                    <a:pt x="110" y="204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1" y="168"/>
                  </a:lnTo>
                  <a:lnTo>
                    <a:pt x="97" y="145"/>
                  </a:lnTo>
                  <a:lnTo>
                    <a:pt x="86" y="103"/>
                  </a:lnTo>
                  <a:lnTo>
                    <a:pt x="80" y="81"/>
                  </a:lnTo>
                  <a:lnTo>
                    <a:pt x="76" y="60"/>
                  </a:lnTo>
                  <a:lnTo>
                    <a:pt x="73" y="37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67" y="9"/>
                  </a:lnTo>
                  <a:lnTo>
                    <a:pt x="62" y="3"/>
                  </a:lnTo>
                  <a:lnTo>
                    <a:pt x="54" y="2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0" y="2"/>
                  </a:lnTo>
                  <a:lnTo>
                    <a:pt x="22" y="5"/>
                  </a:lnTo>
                  <a:lnTo>
                    <a:pt x="15" y="7"/>
                  </a:lnTo>
                  <a:lnTo>
                    <a:pt x="15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" name="Freeform 375"/>
            <p:cNvSpPr>
              <a:spLocks/>
            </p:cNvSpPr>
            <p:nvPr/>
          </p:nvSpPr>
          <p:spPr bwMode="auto">
            <a:xfrm>
              <a:off x="6983" y="2462"/>
              <a:ext cx="57" cy="35"/>
            </a:xfrm>
            <a:custGeom>
              <a:avLst/>
              <a:gdLst>
                <a:gd name="T0" fmla="*/ 0 w 57"/>
                <a:gd name="T1" fmla="*/ 28 h 35"/>
                <a:gd name="T2" fmla="*/ 0 w 57"/>
                <a:gd name="T3" fmla="*/ 28 h 35"/>
                <a:gd name="T4" fmla="*/ 10 w 57"/>
                <a:gd name="T5" fmla="*/ 30 h 35"/>
                <a:gd name="T6" fmla="*/ 18 w 57"/>
                <a:gd name="T7" fmla="*/ 33 h 35"/>
                <a:gd name="T8" fmla="*/ 28 w 57"/>
                <a:gd name="T9" fmla="*/ 35 h 35"/>
                <a:gd name="T10" fmla="*/ 38 w 57"/>
                <a:gd name="T11" fmla="*/ 32 h 35"/>
                <a:gd name="T12" fmla="*/ 38 w 57"/>
                <a:gd name="T13" fmla="*/ 32 h 35"/>
                <a:gd name="T14" fmla="*/ 45 w 57"/>
                <a:gd name="T15" fmla="*/ 28 h 35"/>
                <a:gd name="T16" fmla="*/ 52 w 57"/>
                <a:gd name="T17" fmla="*/ 19 h 35"/>
                <a:gd name="T18" fmla="*/ 55 w 57"/>
                <a:gd name="T19" fmla="*/ 15 h 35"/>
                <a:gd name="T20" fmla="*/ 57 w 57"/>
                <a:gd name="T21" fmla="*/ 10 h 35"/>
                <a:gd name="T22" fmla="*/ 55 w 57"/>
                <a:gd name="T23" fmla="*/ 5 h 35"/>
                <a:gd name="T24" fmla="*/ 54 w 57"/>
                <a:gd name="T25" fmla="*/ 0 h 35"/>
                <a:gd name="T26" fmla="*/ 54 w 57"/>
                <a:gd name="T27" fmla="*/ 0 h 35"/>
                <a:gd name="T28" fmla="*/ 37 w 57"/>
                <a:gd name="T29" fmla="*/ 2 h 35"/>
                <a:gd name="T30" fmla="*/ 30 w 57"/>
                <a:gd name="T31" fmla="*/ 3 h 35"/>
                <a:gd name="T32" fmla="*/ 21 w 57"/>
                <a:gd name="T33" fmla="*/ 6 h 35"/>
                <a:gd name="T34" fmla="*/ 14 w 57"/>
                <a:gd name="T35" fmla="*/ 9 h 35"/>
                <a:gd name="T36" fmla="*/ 8 w 57"/>
                <a:gd name="T37" fmla="*/ 13 h 35"/>
                <a:gd name="T38" fmla="*/ 4 w 57"/>
                <a:gd name="T39" fmla="*/ 19 h 35"/>
                <a:gd name="T40" fmla="*/ 0 w 57"/>
                <a:gd name="T41" fmla="*/ 28 h 35"/>
                <a:gd name="T42" fmla="*/ 0 w 57"/>
                <a:gd name="T43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5">
                  <a:moveTo>
                    <a:pt x="0" y="28"/>
                  </a:moveTo>
                  <a:lnTo>
                    <a:pt x="0" y="28"/>
                  </a:lnTo>
                  <a:lnTo>
                    <a:pt x="10" y="30"/>
                  </a:lnTo>
                  <a:lnTo>
                    <a:pt x="18" y="33"/>
                  </a:lnTo>
                  <a:lnTo>
                    <a:pt x="28" y="35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5" y="28"/>
                  </a:lnTo>
                  <a:lnTo>
                    <a:pt x="52" y="19"/>
                  </a:lnTo>
                  <a:lnTo>
                    <a:pt x="55" y="15"/>
                  </a:lnTo>
                  <a:lnTo>
                    <a:pt x="57" y="10"/>
                  </a:lnTo>
                  <a:lnTo>
                    <a:pt x="55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8" y="13"/>
                  </a:lnTo>
                  <a:lnTo>
                    <a:pt x="4" y="19"/>
                  </a:lnTo>
                  <a:lnTo>
                    <a:pt x="0" y="28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376"/>
            <p:cNvSpPr>
              <a:spLocks/>
            </p:cNvSpPr>
            <p:nvPr/>
          </p:nvSpPr>
          <p:spPr bwMode="auto">
            <a:xfrm>
              <a:off x="6205" y="2532"/>
              <a:ext cx="251" cy="340"/>
            </a:xfrm>
            <a:custGeom>
              <a:avLst/>
              <a:gdLst>
                <a:gd name="T0" fmla="*/ 207 w 251"/>
                <a:gd name="T1" fmla="*/ 6 h 340"/>
                <a:gd name="T2" fmla="*/ 180 w 251"/>
                <a:gd name="T3" fmla="*/ 2 h 340"/>
                <a:gd name="T4" fmla="*/ 156 w 251"/>
                <a:gd name="T5" fmla="*/ 2 h 340"/>
                <a:gd name="T6" fmla="*/ 133 w 251"/>
                <a:gd name="T7" fmla="*/ 6 h 340"/>
                <a:gd name="T8" fmla="*/ 110 w 251"/>
                <a:gd name="T9" fmla="*/ 16 h 340"/>
                <a:gd name="T10" fmla="*/ 69 w 251"/>
                <a:gd name="T11" fmla="*/ 39 h 340"/>
                <a:gd name="T12" fmla="*/ 28 w 251"/>
                <a:gd name="T13" fmla="*/ 64 h 340"/>
                <a:gd name="T14" fmla="*/ 21 w 251"/>
                <a:gd name="T15" fmla="*/ 73 h 340"/>
                <a:gd name="T16" fmla="*/ 9 w 251"/>
                <a:gd name="T17" fmla="*/ 88 h 340"/>
                <a:gd name="T18" fmla="*/ 4 w 251"/>
                <a:gd name="T19" fmla="*/ 107 h 340"/>
                <a:gd name="T20" fmla="*/ 0 w 251"/>
                <a:gd name="T21" fmla="*/ 137 h 340"/>
                <a:gd name="T22" fmla="*/ 1 w 251"/>
                <a:gd name="T23" fmla="*/ 181 h 340"/>
                <a:gd name="T24" fmla="*/ 2 w 251"/>
                <a:gd name="T25" fmla="*/ 224 h 340"/>
                <a:gd name="T26" fmla="*/ 5 w 251"/>
                <a:gd name="T27" fmla="*/ 235 h 340"/>
                <a:gd name="T28" fmla="*/ 7 w 251"/>
                <a:gd name="T29" fmla="*/ 273 h 340"/>
                <a:gd name="T30" fmla="*/ 11 w 251"/>
                <a:gd name="T31" fmla="*/ 296 h 340"/>
                <a:gd name="T32" fmla="*/ 19 w 251"/>
                <a:gd name="T33" fmla="*/ 312 h 340"/>
                <a:gd name="T34" fmla="*/ 24 w 251"/>
                <a:gd name="T35" fmla="*/ 317 h 340"/>
                <a:gd name="T36" fmla="*/ 42 w 251"/>
                <a:gd name="T37" fmla="*/ 327 h 340"/>
                <a:gd name="T38" fmla="*/ 62 w 251"/>
                <a:gd name="T39" fmla="*/ 334 h 340"/>
                <a:gd name="T40" fmla="*/ 106 w 251"/>
                <a:gd name="T41" fmla="*/ 340 h 340"/>
                <a:gd name="T42" fmla="*/ 153 w 251"/>
                <a:gd name="T43" fmla="*/ 339 h 340"/>
                <a:gd name="T44" fmla="*/ 197 w 251"/>
                <a:gd name="T45" fmla="*/ 332 h 340"/>
                <a:gd name="T46" fmla="*/ 211 w 251"/>
                <a:gd name="T47" fmla="*/ 327 h 340"/>
                <a:gd name="T48" fmla="*/ 237 w 251"/>
                <a:gd name="T49" fmla="*/ 313 h 340"/>
                <a:gd name="T50" fmla="*/ 248 w 251"/>
                <a:gd name="T51" fmla="*/ 305 h 340"/>
                <a:gd name="T52" fmla="*/ 251 w 251"/>
                <a:gd name="T53" fmla="*/ 293 h 340"/>
                <a:gd name="T54" fmla="*/ 247 w 251"/>
                <a:gd name="T55" fmla="*/ 285 h 340"/>
                <a:gd name="T56" fmla="*/ 244 w 251"/>
                <a:gd name="T57" fmla="*/ 283 h 340"/>
                <a:gd name="T58" fmla="*/ 207 w 251"/>
                <a:gd name="T59" fmla="*/ 285 h 340"/>
                <a:gd name="T60" fmla="*/ 173 w 251"/>
                <a:gd name="T61" fmla="*/ 293 h 340"/>
                <a:gd name="T62" fmla="*/ 162 w 251"/>
                <a:gd name="T63" fmla="*/ 296 h 340"/>
                <a:gd name="T64" fmla="*/ 139 w 251"/>
                <a:gd name="T65" fmla="*/ 296 h 340"/>
                <a:gd name="T66" fmla="*/ 118 w 251"/>
                <a:gd name="T67" fmla="*/ 292 h 340"/>
                <a:gd name="T68" fmla="*/ 98 w 251"/>
                <a:gd name="T69" fmla="*/ 283 h 340"/>
                <a:gd name="T70" fmla="*/ 88 w 251"/>
                <a:gd name="T71" fmla="*/ 278 h 340"/>
                <a:gd name="T72" fmla="*/ 78 w 251"/>
                <a:gd name="T73" fmla="*/ 259 h 340"/>
                <a:gd name="T74" fmla="*/ 75 w 251"/>
                <a:gd name="T75" fmla="*/ 243 h 340"/>
                <a:gd name="T76" fmla="*/ 76 w 251"/>
                <a:gd name="T77" fmla="*/ 238 h 340"/>
                <a:gd name="T78" fmla="*/ 75 w 251"/>
                <a:gd name="T79" fmla="*/ 194 h 340"/>
                <a:gd name="T80" fmla="*/ 72 w 251"/>
                <a:gd name="T81" fmla="*/ 148 h 340"/>
                <a:gd name="T82" fmla="*/ 74 w 251"/>
                <a:gd name="T83" fmla="*/ 115 h 340"/>
                <a:gd name="T84" fmla="*/ 79 w 251"/>
                <a:gd name="T85" fmla="*/ 95 h 340"/>
                <a:gd name="T86" fmla="*/ 89 w 251"/>
                <a:gd name="T87" fmla="*/ 77 h 340"/>
                <a:gd name="T88" fmla="*/ 96 w 251"/>
                <a:gd name="T89" fmla="*/ 68 h 340"/>
                <a:gd name="T90" fmla="*/ 103 w 251"/>
                <a:gd name="T91" fmla="*/ 60 h 340"/>
                <a:gd name="T92" fmla="*/ 123 w 251"/>
                <a:gd name="T93" fmla="*/ 51 h 340"/>
                <a:gd name="T94" fmla="*/ 145 w 251"/>
                <a:gd name="T95" fmla="*/ 47 h 340"/>
                <a:gd name="T96" fmla="*/ 166 w 251"/>
                <a:gd name="T97" fmla="*/ 39 h 340"/>
                <a:gd name="T98" fmla="*/ 173 w 251"/>
                <a:gd name="T99" fmla="*/ 31 h 340"/>
                <a:gd name="T100" fmla="*/ 179 w 251"/>
                <a:gd name="T101" fmla="*/ 29 h 340"/>
                <a:gd name="T102" fmla="*/ 199 w 251"/>
                <a:gd name="T103" fmla="*/ 31 h 340"/>
                <a:gd name="T104" fmla="*/ 209 w 251"/>
                <a:gd name="T105" fmla="*/ 30 h 340"/>
                <a:gd name="T106" fmla="*/ 213 w 251"/>
                <a:gd name="T107" fmla="*/ 27 h 340"/>
                <a:gd name="T108" fmla="*/ 207 w 251"/>
                <a:gd name="T109" fmla="*/ 6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1" h="340">
                  <a:moveTo>
                    <a:pt x="207" y="6"/>
                  </a:moveTo>
                  <a:lnTo>
                    <a:pt x="207" y="6"/>
                  </a:lnTo>
                  <a:lnTo>
                    <a:pt x="193" y="3"/>
                  </a:lnTo>
                  <a:lnTo>
                    <a:pt x="180" y="2"/>
                  </a:lnTo>
                  <a:lnTo>
                    <a:pt x="167" y="0"/>
                  </a:lnTo>
                  <a:lnTo>
                    <a:pt x="156" y="2"/>
                  </a:lnTo>
                  <a:lnTo>
                    <a:pt x="145" y="3"/>
                  </a:lnTo>
                  <a:lnTo>
                    <a:pt x="133" y="6"/>
                  </a:lnTo>
                  <a:lnTo>
                    <a:pt x="122" y="10"/>
                  </a:lnTo>
                  <a:lnTo>
                    <a:pt x="110" y="16"/>
                  </a:lnTo>
                  <a:lnTo>
                    <a:pt x="89" y="26"/>
                  </a:lnTo>
                  <a:lnTo>
                    <a:pt x="69" y="39"/>
                  </a:lnTo>
                  <a:lnTo>
                    <a:pt x="49" y="5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1" y="73"/>
                  </a:lnTo>
                  <a:lnTo>
                    <a:pt x="15" y="80"/>
                  </a:lnTo>
                  <a:lnTo>
                    <a:pt x="9" y="88"/>
                  </a:lnTo>
                  <a:lnTo>
                    <a:pt x="7" y="98"/>
                  </a:lnTo>
                  <a:lnTo>
                    <a:pt x="4" y="107"/>
                  </a:lnTo>
                  <a:lnTo>
                    <a:pt x="1" y="117"/>
                  </a:lnTo>
                  <a:lnTo>
                    <a:pt x="0" y="137"/>
                  </a:lnTo>
                  <a:lnTo>
                    <a:pt x="1" y="158"/>
                  </a:lnTo>
                  <a:lnTo>
                    <a:pt x="1" y="181"/>
                  </a:lnTo>
                  <a:lnTo>
                    <a:pt x="2" y="202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5" y="235"/>
                  </a:lnTo>
                  <a:lnTo>
                    <a:pt x="7" y="248"/>
                  </a:lnTo>
                  <a:lnTo>
                    <a:pt x="7" y="273"/>
                  </a:lnTo>
                  <a:lnTo>
                    <a:pt x="8" y="285"/>
                  </a:lnTo>
                  <a:lnTo>
                    <a:pt x="11" y="296"/>
                  </a:lnTo>
                  <a:lnTo>
                    <a:pt x="15" y="307"/>
                  </a:lnTo>
                  <a:lnTo>
                    <a:pt x="19" y="312"/>
                  </a:lnTo>
                  <a:lnTo>
                    <a:pt x="24" y="317"/>
                  </a:lnTo>
                  <a:lnTo>
                    <a:pt x="24" y="317"/>
                  </a:lnTo>
                  <a:lnTo>
                    <a:pt x="32" y="323"/>
                  </a:lnTo>
                  <a:lnTo>
                    <a:pt x="42" y="327"/>
                  </a:lnTo>
                  <a:lnTo>
                    <a:pt x="51" y="332"/>
                  </a:lnTo>
                  <a:lnTo>
                    <a:pt x="62" y="334"/>
                  </a:lnTo>
                  <a:lnTo>
                    <a:pt x="83" y="339"/>
                  </a:lnTo>
                  <a:lnTo>
                    <a:pt x="106" y="340"/>
                  </a:lnTo>
                  <a:lnTo>
                    <a:pt x="130" y="340"/>
                  </a:lnTo>
                  <a:lnTo>
                    <a:pt x="153" y="339"/>
                  </a:lnTo>
                  <a:lnTo>
                    <a:pt x="176" y="336"/>
                  </a:lnTo>
                  <a:lnTo>
                    <a:pt x="197" y="332"/>
                  </a:lnTo>
                  <a:lnTo>
                    <a:pt x="197" y="332"/>
                  </a:lnTo>
                  <a:lnTo>
                    <a:pt x="211" y="327"/>
                  </a:lnTo>
                  <a:lnTo>
                    <a:pt x="224" y="320"/>
                  </a:lnTo>
                  <a:lnTo>
                    <a:pt x="237" y="313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51" y="299"/>
                  </a:lnTo>
                  <a:lnTo>
                    <a:pt x="251" y="293"/>
                  </a:lnTo>
                  <a:lnTo>
                    <a:pt x="250" y="288"/>
                  </a:lnTo>
                  <a:lnTo>
                    <a:pt x="247" y="285"/>
                  </a:lnTo>
                  <a:lnTo>
                    <a:pt x="244" y="283"/>
                  </a:lnTo>
                  <a:lnTo>
                    <a:pt x="244" y="283"/>
                  </a:lnTo>
                  <a:lnTo>
                    <a:pt x="226" y="283"/>
                  </a:lnTo>
                  <a:lnTo>
                    <a:pt x="207" y="285"/>
                  </a:lnTo>
                  <a:lnTo>
                    <a:pt x="190" y="288"/>
                  </a:lnTo>
                  <a:lnTo>
                    <a:pt x="173" y="293"/>
                  </a:lnTo>
                  <a:lnTo>
                    <a:pt x="173" y="293"/>
                  </a:lnTo>
                  <a:lnTo>
                    <a:pt x="162" y="296"/>
                  </a:lnTo>
                  <a:lnTo>
                    <a:pt x="150" y="296"/>
                  </a:lnTo>
                  <a:lnTo>
                    <a:pt x="139" y="296"/>
                  </a:lnTo>
                  <a:lnTo>
                    <a:pt x="128" y="295"/>
                  </a:lnTo>
                  <a:lnTo>
                    <a:pt x="118" y="292"/>
                  </a:lnTo>
                  <a:lnTo>
                    <a:pt x="108" y="288"/>
                  </a:lnTo>
                  <a:lnTo>
                    <a:pt x="98" y="283"/>
                  </a:lnTo>
                  <a:lnTo>
                    <a:pt x="88" y="278"/>
                  </a:lnTo>
                  <a:lnTo>
                    <a:pt x="88" y="278"/>
                  </a:lnTo>
                  <a:lnTo>
                    <a:pt x="82" y="269"/>
                  </a:lnTo>
                  <a:lnTo>
                    <a:pt x="78" y="259"/>
                  </a:lnTo>
                  <a:lnTo>
                    <a:pt x="75" y="249"/>
                  </a:lnTo>
                  <a:lnTo>
                    <a:pt x="75" y="243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6" y="216"/>
                  </a:lnTo>
                  <a:lnTo>
                    <a:pt x="75" y="194"/>
                  </a:lnTo>
                  <a:lnTo>
                    <a:pt x="74" y="171"/>
                  </a:lnTo>
                  <a:lnTo>
                    <a:pt x="72" y="148"/>
                  </a:lnTo>
                  <a:lnTo>
                    <a:pt x="74" y="125"/>
                  </a:lnTo>
                  <a:lnTo>
                    <a:pt x="74" y="115"/>
                  </a:lnTo>
                  <a:lnTo>
                    <a:pt x="76" y="105"/>
                  </a:lnTo>
                  <a:lnTo>
                    <a:pt x="79" y="95"/>
                  </a:lnTo>
                  <a:lnTo>
                    <a:pt x="83" y="86"/>
                  </a:lnTo>
                  <a:lnTo>
                    <a:pt x="89" y="77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101" y="64"/>
                  </a:lnTo>
                  <a:lnTo>
                    <a:pt x="103" y="60"/>
                  </a:lnTo>
                  <a:lnTo>
                    <a:pt x="113" y="54"/>
                  </a:lnTo>
                  <a:lnTo>
                    <a:pt x="123" y="51"/>
                  </a:lnTo>
                  <a:lnTo>
                    <a:pt x="135" y="49"/>
                  </a:lnTo>
                  <a:lnTo>
                    <a:pt x="145" y="47"/>
                  </a:lnTo>
                  <a:lnTo>
                    <a:pt x="156" y="44"/>
                  </a:lnTo>
                  <a:lnTo>
                    <a:pt x="166" y="39"/>
                  </a:lnTo>
                  <a:lnTo>
                    <a:pt x="170" y="36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9" y="29"/>
                  </a:lnTo>
                  <a:lnTo>
                    <a:pt x="186" y="29"/>
                  </a:lnTo>
                  <a:lnTo>
                    <a:pt x="199" y="31"/>
                  </a:lnTo>
                  <a:lnTo>
                    <a:pt x="204" y="31"/>
                  </a:lnTo>
                  <a:lnTo>
                    <a:pt x="209" y="30"/>
                  </a:lnTo>
                  <a:lnTo>
                    <a:pt x="211" y="29"/>
                  </a:lnTo>
                  <a:lnTo>
                    <a:pt x="213" y="27"/>
                  </a:lnTo>
                  <a:lnTo>
                    <a:pt x="213" y="19"/>
                  </a:lnTo>
                  <a:lnTo>
                    <a:pt x="207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" name="Freeform 377"/>
            <p:cNvSpPr>
              <a:spLocks/>
            </p:cNvSpPr>
            <p:nvPr/>
          </p:nvSpPr>
          <p:spPr bwMode="auto">
            <a:xfrm>
              <a:off x="6930" y="2569"/>
              <a:ext cx="110" cy="295"/>
            </a:xfrm>
            <a:custGeom>
              <a:avLst/>
              <a:gdLst>
                <a:gd name="T0" fmla="*/ 73 w 110"/>
                <a:gd name="T1" fmla="*/ 0 h 295"/>
                <a:gd name="T2" fmla="*/ 73 w 110"/>
                <a:gd name="T3" fmla="*/ 0 h 295"/>
                <a:gd name="T4" fmla="*/ 67 w 110"/>
                <a:gd name="T5" fmla="*/ 2 h 295"/>
                <a:gd name="T6" fmla="*/ 61 w 110"/>
                <a:gd name="T7" fmla="*/ 4 h 295"/>
                <a:gd name="T8" fmla="*/ 57 w 110"/>
                <a:gd name="T9" fmla="*/ 7 h 295"/>
                <a:gd name="T10" fmla="*/ 54 w 110"/>
                <a:gd name="T11" fmla="*/ 12 h 295"/>
                <a:gd name="T12" fmla="*/ 48 w 110"/>
                <a:gd name="T13" fmla="*/ 20 h 295"/>
                <a:gd name="T14" fmla="*/ 43 w 110"/>
                <a:gd name="T15" fmla="*/ 30 h 295"/>
                <a:gd name="T16" fmla="*/ 43 w 110"/>
                <a:gd name="T17" fmla="*/ 30 h 295"/>
                <a:gd name="T18" fmla="*/ 44 w 110"/>
                <a:gd name="T19" fmla="*/ 57 h 295"/>
                <a:gd name="T20" fmla="*/ 41 w 110"/>
                <a:gd name="T21" fmla="*/ 83 h 295"/>
                <a:gd name="T22" fmla="*/ 37 w 110"/>
                <a:gd name="T23" fmla="*/ 108 h 295"/>
                <a:gd name="T24" fmla="*/ 33 w 110"/>
                <a:gd name="T25" fmla="*/ 132 h 295"/>
                <a:gd name="T26" fmla="*/ 26 w 110"/>
                <a:gd name="T27" fmla="*/ 157 h 295"/>
                <a:gd name="T28" fmla="*/ 17 w 110"/>
                <a:gd name="T29" fmla="*/ 181 h 295"/>
                <a:gd name="T30" fmla="*/ 0 w 110"/>
                <a:gd name="T31" fmla="*/ 225 h 295"/>
                <a:gd name="T32" fmla="*/ 0 w 110"/>
                <a:gd name="T33" fmla="*/ 225 h 295"/>
                <a:gd name="T34" fmla="*/ 3 w 110"/>
                <a:gd name="T35" fmla="*/ 245 h 295"/>
                <a:gd name="T36" fmla="*/ 7 w 110"/>
                <a:gd name="T37" fmla="*/ 265 h 295"/>
                <a:gd name="T38" fmla="*/ 11 w 110"/>
                <a:gd name="T39" fmla="*/ 273 h 295"/>
                <a:gd name="T40" fmla="*/ 16 w 110"/>
                <a:gd name="T41" fmla="*/ 280 h 295"/>
                <a:gd name="T42" fmla="*/ 21 w 110"/>
                <a:gd name="T43" fmla="*/ 288 h 295"/>
                <a:gd name="T44" fmla="*/ 28 w 110"/>
                <a:gd name="T45" fmla="*/ 292 h 295"/>
                <a:gd name="T46" fmla="*/ 28 w 110"/>
                <a:gd name="T47" fmla="*/ 292 h 295"/>
                <a:gd name="T48" fmla="*/ 36 w 110"/>
                <a:gd name="T49" fmla="*/ 295 h 295"/>
                <a:gd name="T50" fmla="*/ 44 w 110"/>
                <a:gd name="T51" fmla="*/ 295 h 295"/>
                <a:gd name="T52" fmla="*/ 51 w 110"/>
                <a:gd name="T53" fmla="*/ 295 h 295"/>
                <a:gd name="T54" fmla="*/ 58 w 110"/>
                <a:gd name="T55" fmla="*/ 293 h 295"/>
                <a:gd name="T56" fmla="*/ 65 w 110"/>
                <a:gd name="T57" fmla="*/ 290 h 295"/>
                <a:gd name="T58" fmla="*/ 71 w 110"/>
                <a:gd name="T59" fmla="*/ 286 h 295"/>
                <a:gd name="T60" fmla="*/ 77 w 110"/>
                <a:gd name="T61" fmla="*/ 282 h 295"/>
                <a:gd name="T62" fmla="*/ 81 w 110"/>
                <a:gd name="T63" fmla="*/ 276 h 295"/>
                <a:gd name="T64" fmla="*/ 81 w 110"/>
                <a:gd name="T65" fmla="*/ 276 h 295"/>
                <a:gd name="T66" fmla="*/ 83 w 110"/>
                <a:gd name="T67" fmla="*/ 270 h 295"/>
                <a:gd name="T68" fmla="*/ 84 w 110"/>
                <a:gd name="T69" fmla="*/ 266 h 295"/>
                <a:gd name="T70" fmla="*/ 84 w 110"/>
                <a:gd name="T71" fmla="*/ 262 h 295"/>
                <a:gd name="T72" fmla="*/ 84 w 110"/>
                <a:gd name="T73" fmla="*/ 258 h 295"/>
                <a:gd name="T74" fmla="*/ 81 w 110"/>
                <a:gd name="T75" fmla="*/ 249 h 295"/>
                <a:gd name="T76" fmla="*/ 77 w 110"/>
                <a:gd name="T77" fmla="*/ 242 h 295"/>
                <a:gd name="T78" fmla="*/ 71 w 110"/>
                <a:gd name="T79" fmla="*/ 235 h 295"/>
                <a:gd name="T80" fmla="*/ 68 w 110"/>
                <a:gd name="T81" fmla="*/ 226 h 295"/>
                <a:gd name="T82" fmla="*/ 67 w 110"/>
                <a:gd name="T83" fmla="*/ 222 h 295"/>
                <a:gd name="T84" fmla="*/ 67 w 110"/>
                <a:gd name="T85" fmla="*/ 218 h 295"/>
                <a:gd name="T86" fmla="*/ 68 w 110"/>
                <a:gd name="T87" fmla="*/ 214 h 295"/>
                <a:gd name="T88" fmla="*/ 70 w 110"/>
                <a:gd name="T89" fmla="*/ 209 h 295"/>
                <a:gd name="T90" fmla="*/ 70 w 110"/>
                <a:gd name="T91" fmla="*/ 209 h 295"/>
                <a:gd name="T92" fmla="*/ 81 w 110"/>
                <a:gd name="T93" fmla="*/ 188 h 295"/>
                <a:gd name="T94" fmla="*/ 90 w 110"/>
                <a:gd name="T95" fmla="*/ 167 h 295"/>
                <a:gd name="T96" fmla="*/ 98 w 110"/>
                <a:gd name="T97" fmla="*/ 145 h 295"/>
                <a:gd name="T98" fmla="*/ 102 w 110"/>
                <a:gd name="T99" fmla="*/ 122 h 295"/>
                <a:gd name="T100" fmla="*/ 107 w 110"/>
                <a:gd name="T101" fmla="*/ 98 h 295"/>
                <a:gd name="T102" fmla="*/ 110 w 110"/>
                <a:gd name="T103" fmla="*/ 74 h 295"/>
                <a:gd name="T104" fmla="*/ 110 w 110"/>
                <a:gd name="T105" fmla="*/ 50 h 295"/>
                <a:gd name="T106" fmla="*/ 108 w 110"/>
                <a:gd name="T107" fmla="*/ 24 h 295"/>
                <a:gd name="T108" fmla="*/ 108 w 110"/>
                <a:gd name="T109" fmla="*/ 24 h 295"/>
                <a:gd name="T110" fmla="*/ 105 w 110"/>
                <a:gd name="T111" fmla="*/ 17 h 295"/>
                <a:gd name="T112" fmla="*/ 102 w 110"/>
                <a:gd name="T113" fmla="*/ 13 h 295"/>
                <a:gd name="T114" fmla="*/ 100 w 110"/>
                <a:gd name="T115" fmla="*/ 9 h 295"/>
                <a:gd name="T116" fmla="*/ 95 w 110"/>
                <a:gd name="T117" fmla="*/ 6 h 295"/>
                <a:gd name="T118" fmla="*/ 90 w 110"/>
                <a:gd name="T119" fmla="*/ 3 h 295"/>
                <a:gd name="T120" fmla="*/ 84 w 110"/>
                <a:gd name="T121" fmla="*/ 2 h 295"/>
                <a:gd name="T122" fmla="*/ 73 w 110"/>
                <a:gd name="T123" fmla="*/ 0 h 295"/>
                <a:gd name="T124" fmla="*/ 73 w 110"/>
                <a:gd name="T125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0" h="295">
                  <a:moveTo>
                    <a:pt x="73" y="0"/>
                  </a:moveTo>
                  <a:lnTo>
                    <a:pt x="73" y="0"/>
                  </a:lnTo>
                  <a:lnTo>
                    <a:pt x="67" y="2"/>
                  </a:lnTo>
                  <a:lnTo>
                    <a:pt x="61" y="4"/>
                  </a:lnTo>
                  <a:lnTo>
                    <a:pt x="57" y="7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4" y="57"/>
                  </a:lnTo>
                  <a:lnTo>
                    <a:pt x="41" y="83"/>
                  </a:lnTo>
                  <a:lnTo>
                    <a:pt x="37" y="108"/>
                  </a:lnTo>
                  <a:lnTo>
                    <a:pt x="33" y="132"/>
                  </a:lnTo>
                  <a:lnTo>
                    <a:pt x="26" y="157"/>
                  </a:lnTo>
                  <a:lnTo>
                    <a:pt x="17" y="181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3" y="245"/>
                  </a:lnTo>
                  <a:lnTo>
                    <a:pt x="7" y="265"/>
                  </a:lnTo>
                  <a:lnTo>
                    <a:pt x="11" y="273"/>
                  </a:lnTo>
                  <a:lnTo>
                    <a:pt x="16" y="280"/>
                  </a:lnTo>
                  <a:lnTo>
                    <a:pt x="21" y="288"/>
                  </a:lnTo>
                  <a:lnTo>
                    <a:pt x="28" y="292"/>
                  </a:lnTo>
                  <a:lnTo>
                    <a:pt x="28" y="292"/>
                  </a:lnTo>
                  <a:lnTo>
                    <a:pt x="36" y="295"/>
                  </a:lnTo>
                  <a:lnTo>
                    <a:pt x="44" y="295"/>
                  </a:lnTo>
                  <a:lnTo>
                    <a:pt x="51" y="295"/>
                  </a:lnTo>
                  <a:lnTo>
                    <a:pt x="58" y="293"/>
                  </a:lnTo>
                  <a:lnTo>
                    <a:pt x="65" y="290"/>
                  </a:lnTo>
                  <a:lnTo>
                    <a:pt x="71" y="286"/>
                  </a:lnTo>
                  <a:lnTo>
                    <a:pt x="77" y="282"/>
                  </a:lnTo>
                  <a:lnTo>
                    <a:pt x="81" y="276"/>
                  </a:lnTo>
                  <a:lnTo>
                    <a:pt x="81" y="276"/>
                  </a:lnTo>
                  <a:lnTo>
                    <a:pt x="83" y="270"/>
                  </a:lnTo>
                  <a:lnTo>
                    <a:pt x="84" y="266"/>
                  </a:lnTo>
                  <a:lnTo>
                    <a:pt x="84" y="262"/>
                  </a:lnTo>
                  <a:lnTo>
                    <a:pt x="84" y="258"/>
                  </a:lnTo>
                  <a:lnTo>
                    <a:pt x="81" y="249"/>
                  </a:lnTo>
                  <a:lnTo>
                    <a:pt x="77" y="242"/>
                  </a:lnTo>
                  <a:lnTo>
                    <a:pt x="71" y="235"/>
                  </a:lnTo>
                  <a:lnTo>
                    <a:pt x="68" y="226"/>
                  </a:lnTo>
                  <a:lnTo>
                    <a:pt x="67" y="222"/>
                  </a:lnTo>
                  <a:lnTo>
                    <a:pt x="67" y="218"/>
                  </a:lnTo>
                  <a:lnTo>
                    <a:pt x="68" y="214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81" y="188"/>
                  </a:lnTo>
                  <a:lnTo>
                    <a:pt x="90" y="167"/>
                  </a:lnTo>
                  <a:lnTo>
                    <a:pt x="98" y="145"/>
                  </a:lnTo>
                  <a:lnTo>
                    <a:pt x="102" y="122"/>
                  </a:lnTo>
                  <a:lnTo>
                    <a:pt x="107" y="98"/>
                  </a:lnTo>
                  <a:lnTo>
                    <a:pt x="110" y="74"/>
                  </a:lnTo>
                  <a:lnTo>
                    <a:pt x="110" y="50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5" y="17"/>
                  </a:lnTo>
                  <a:lnTo>
                    <a:pt x="102" y="13"/>
                  </a:lnTo>
                  <a:lnTo>
                    <a:pt x="100" y="9"/>
                  </a:lnTo>
                  <a:lnTo>
                    <a:pt x="95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3" y="0"/>
                  </a:lnTo>
                  <a:lnTo>
                    <a:pt x="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378"/>
            <p:cNvSpPr>
              <a:spLocks/>
            </p:cNvSpPr>
            <p:nvPr/>
          </p:nvSpPr>
          <p:spPr bwMode="auto">
            <a:xfrm>
              <a:off x="7382" y="2317"/>
              <a:ext cx="375" cy="548"/>
            </a:xfrm>
            <a:custGeom>
              <a:avLst/>
              <a:gdLst>
                <a:gd name="T0" fmla="*/ 306 w 375"/>
                <a:gd name="T1" fmla="*/ 3 h 548"/>
                <a:gd name="T2" fmla="*/ 296 w 375"/>
                <a:gd name="T3" fmla="*/ 17 h 548"/>
                <a:gd name="T4" fmla="*/ 292 w 375"/>
                <a:gd name="T5" fmla="*/ 63 h 548"/>
                <a:gd name="T6" fmla="*/ 303 w 375"/>
                <a:gd name="T7" fmla="*/ 214 h 548"/>
                <a:gd name="T8" fmla="*/ 305 w 375"/>
                <a:gd name="T9" fmla="*/ 323 h 548"/>
                <a:gd name="T10" fmla="*/ 295 w 375"/>
                <a:gd name="T11" fmla="*/ 329 h 548"/>
                <a:gd name="T12" fmla="*/ 284 w 375"/>
                <a:gd name="T13" fmla="*/ 325 h 548"/>
                <a:gd name="T14" fmla="*/ 239 w 375"/>
                <a:gd name="T15" fmla="*/ 278 h 548"/>
                <a:gd name="T16" fmla="*/ 235 w 375"/>
                <a:gd name="T17" fmla="*/ 268 h 548"/>
                <a:gd name="T18" fmla="*/ 215 w 375"/>
                <a:gd name="T19" fmla="*/ 258 h 548"/>
                <a:gd name="T20" fmla="*/ 184 w 375"/>
                <a:gd name="T21" fmla="*/ 255 h 548"/>
                <a:gd name="T22" fmla="*/ 167 w 375"/>
                <a:gd name="T23" fmla="*/ 264 h 548"/>
                <a:gd name="T24" fmla="*/ 130 w 375"/>
                <a:gd name="T25" fmla="*/ 268 h 548"/>
                <a:gd name="T26" fmla="*/ 87 w 375"/>
                <a:gd name="T27" fmla="*/ 279 h 548"/>
                <a:gd name="T28" fmla="*/ 27 w 375"/>
                <a:gd name="T29" fmla="*/ 309 h 548"/>
                <a:gd name="T30" fmla="*/ 8 w 375"/>
                <a:gd name="T31" fmla="*/ 363 h 548"/>
                <a:gd name="T32" fmla="*/ 0 w 375"/>
                <a:gd name="T33" fmla="*/ 409 h 548"/>
                <a:gd name="T34" fmla="*/ 6 w 375"/>
                <a:gd name="T35" fmla="*/ 441 h 548"/>
                <a:gd name="T36" fmla="*/ 25 w 375"/>
                <a:gd name="T37" fmla="*/ 480 h 548"/>
                <a:gd name="T38" fmla="*/ 29 w 375"/>
                <a:gd name="T39" fmla="*/ 495 h 548"/>
                <a:gd name="T40" fmla="*/ 40 w 375"/>
                <a:gd name="T41" fmla="*/ 505 h 548"/>
                <a:gd name="T42" fmla="*/ 60 w 375"/>
                <a:gd name="T43" fmla="*/ 508 h 548"/>
                <a:gd name="T44" fmla="*/ 133 w 375"/>
                <a:gd name="T45" fmla="*/ 541 h 548"/>
                <a:gd name="T46" fmla="*/ 192 w 375"/>
                <a:gd name="T47" fmla="*/ 548 h 548"/>
                <a:gd name="T48" fmla="*/ 222 w 375"/>
                <a:gd name="T49" fmla="*/ 544 h 548"/>
                <a:gd name="T50" fmla="*/ 241 w 375"/>
                <a:gd name="T51" fmla="*/ 532 h 548"/>
                <a:gd name="T52" fmla="*/ 261 w 375"/>
                <a:gd name="T53" fmla="*/ 508 h 548"/>
                <a:gd name="T54" fmla="*/ 278 w 375"/>
                <a:gd name="T55" fmla="*/ 508 h 548"/>
                <a:gd name="T56" fmla="*/ 301 w 375"/>
                <a:gd name="T57" fmla="*/ 522 h 548"/>
                <a:gd name="T58" fmla="*/ 325 w 375"/>
                <a:gd name="T59" fmla="*/ 544 h 548"/>
                <a:gd name="T60" fmla="*/ 336 w 375"/>
                <a:gd name="T61" fmla="*/ 547 h 548"/>
                <a:gd name="T62" fmla="*/ 363 w 375"/>
                <a:gd name="T63" fmla="*/ 538 h 548"/>
                <a:gd name="T64" fmla="*/ 375 w 375"/>
                <a:gd name="T65" fmla="*/ 525 h 548"/>
                <a:gd name="T66" fmla="*/ 370 w 375"/>
                <a:gd name="T67" fmla="*/ 504 h 548"/>
                <a:gd name="T68" fmla="*/ 356 w 375"/>
                <a:gd name="T69" fmla="*/ 464 h 548"/>
                <a:gd name="T70" fmla="*/ 355 w 375"/>
                <a:gd name="T71" fmla="*/ 443 h 548"/>
                <a:gd name="T72" fmla="*/ 365 w 375"/>
                <a:gd name="T73" fmla="*/ 325 h 548"/>
                <a:gd name="T74" fmla="*/ 363 w 375"/>
                <a:gd name="T75" fmla="*/ 204 h 548"/>
                <a:gd name="T76" fmla="*/ 356 w 375"/>
                <a:gd name="T77" fmla="*/ 126 h 548"/>
                <a:gd name="T78" fmla="*/ 345 w 375"/>
                <a:gd name="T79" fmla="*/ 42 h 548"/>
                <a:gd name="T80" fmla="*/ 336 w 375"/>
                <a:gd name="T81" fmla="*/ 10 h 548"/>
                <a:gd name="T82" fmla="*/ 318 w 375"/>
                <a:gd name="T83" fmla="*/ 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548">
                  <a:moveTo>
                    <a:pt x="311" y="0"/>
                  </a:moveTo>
                  <a:lnTo>
                    <a:pt x="311" y="0"/>
                  </a:lnTo>
                  <a:lnTo>
                    <a:pt x="306" y="3"/>
                  </a:lnTo>
                  <a:lnTo>
                    <a:pt x="303" y="5"/>
                  </a:lnTo>
                  <a:lnTo>
                    <a:pt x="299" y="10"/>
                  </a:lnTo>
                  <a:lnTo>
                    <a:pt x="296" y="17"/>
                  </a:lnTo>
                  <a:lnTo>
                    <a:pt x="292" y="23"/>
                  </a:lnTo>
                  <a:lnTo>
                    <a:pt x="292" y="23"/>
                  </a:lnTo>
                  <a:lnTo>
                    <a:pt x="292" y="63"/>
                  </a:lnTo>
                  <a:lnTo>
                    <a:pt x="293" y="101"/>
                  </a:lnTo>
                  <a:lnTo>
                    <a:pt x="301" y="177"/>
                  </a:lnTo>
                  <a:lnTo>
                    <a:pt x="303" y="214"/>
                  </a:lnTo>
                  <a:lnTo>
                    <a:pt x="306" y="251"/>
                  </a:lnTo>
                  <a:lnTo>
                    <a:pt x="306" y="288"/>
                  </a:lnTo>
                  <a:lnTo>
                    <a:pt x="305" y="323"/>
                  </a:lnTo>
                  <a:lnTo>
                    <a:pt x="305" y="323"/>
                  </a:lnTo>
                  <a:lnTo>
                    <a:pt x="299" y="329"/>
                  </a:lnTo>
                  <a:lnTo>
                    <a:pt x="295" y="329"/>
                  </a:lnTo>
                  <a:lnTo>
                    <a:pt x="292" y="330"/>
                  </a:lnTo>
                  <a:lnTo>
                    <a:pt x="292" y="330"/>
                  </a:lnTo>
                  <a:lnTo>
                    <a:pt x="284" y="325"/>
                  </a:lnTo>
                  <a:lnTo>
                    <a:pt x="276" y="320"/>
                  </a:lnTo>
                  <a:lnTo>
                    <a:pt x="264" y="308"/>
                  </a:lnTo>
                  <a:lnTo>
                    <a:pt x="239" y="278"/>
                  </a:lnTo>
                  <a:lnTo>
                    <a:pt x="239" y="273"/>
                  </a:lnTo>
                  <a:lnTo>
                    <a:pt x="239" y="273"/>
                  </a:lnTo>
                  <a:lnTo>
                    <a:pt x="235" y="268"/>
                  </a:lnTo>
                  <a:lnTo>
                    <a:pt x="228" y="264"/>
                  </a:lnTo>
                  <a:lnTo>
                    <a:pt x="222" y="261"/>
                  </a:lnTo>
                  <a:lnTo>
                    <a:pt x="215" y="258"/>
                  </a:lnTo>
                  <a:lnTo>
                    <a:pt x="208" y="255"/>
                  </a:lnTo>
                  <a:lnTo>
                    <a:pt x="200" y="255"/>
                  </a:lnTo>
                  <a:lnTo>
                    <a:pt x="184" y="255"/>
                  </a:lnTo>
                  <a:lnTo>
                    <a:pt x="184" y="255"/>
                  </a:lnTo>
                  <a:lnTo>
                    <a:pt x="175" y="261"/>
                  </a:lnTo>
                  <a:lnTo>
                    <a:pt x="167" y="264"/>
                  </a:lnTo>
                  <a:lnTo>
                    <a:pt x="158" y="266"/>
                  </a:lnTo>
                  <a:lnTo>
                    <a:pt x="150" y="266"/>
                  </a:lnTo>
                  <a:lnTo>
                    <a:pt x="13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87" y="279"/>
                  </a:lnTo>
                  <a:lnTo>
                    <a:pt x="63" y="291"/>
                  </a:lnTo>
                  <a:lnTo>
                    <a:pt x="39" y="302"/>
                  </a:lnTo>
                  <a:lnTo>
                    <a:pt x="27" y="309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8" y="363"/>
                  </a:lnTo>
                  <a:lnTo>
                    <a:pt x="3" y="386"/>
                  </a:lnTo>
                  <a:lnTo>
                    <a:pt x="0" y="409"/>
                  </a:lnTo>
                  <a:lnTo>
                    <a:pt x="0" y="409"/>
                  </a:lnTo>
                  <a:lnTo>
                    <a:pt x="0" y="421"/>
                  </a:lnTo>
                  <a:lnTo>
                    <a:pt x="2" y="431"/>
                  </a:lnTo>
                  <a:lnTo>
                    <a:pt x="6" y="441"/>
                  </a:lnTo>
                  <a:lnTo>
                    <a:pt x="10" y="451"/>
                  </a:lnTo>
                  <a:lnTo>
                    <a:pt x="20" y="470"/>
                  </a:lnTo>
                  <a:lnTo>
                    <a:pt x="25" y="480"/>
                  </a:lnTo>
                  <a:lnTo>
                    <a:pt x="27" y="490"/>
                  </a:lnTo>
                  <a:lnTo>
                    <a:pt x="27" y="490"/>
                  </a:lnTo>
                  <a:lnTo>
                    <a:pt x="29" y="495"/>
                  </a:lnTo>
                  <a:lnTo>
                    <a:pt x="32" y="500"/>
                  </a:lnTo>
                  <a:lnTo>
                    <a:pt x="36" y="503"/>
                  </a:lnTo>
                  <a:lnTo>
                    <a:pt x="40" y="505"/>
                  </a:lnTo>
                  <a:lnTo>
                    <a:pt x="50" y="508"/>
                  </a:lnTo>
                  <a:lnTo>
                    <a:pt x="60" y="508"/>
                  </a:lnTo>
                  <a:lnTo>
                    <a:pt x="60" y="508"/>
                  </a:lnTo>
                  <a:lnTo>
                    <a:pt x="96" y="527"/>
                  </a:lnTo>
                  <a:lnTo>
                    <a:pt x="114" y="534"/>
                  </a:lnTo>
                  <a:lnTo>
                    <a:pt x="133" y="541"/>
                  </a:lnTo>
                  <a:lnTo>
                    <a:pt x="151" y="545"/>
                  </a:lnTo>
                  <a:lnTo>
                    <a:pt x="171" y="548"/>
                  </a:lnTo>
                  <a:lnTo>
                    <a:pt x="192" y="548"/>
                  </a:lnTo>
                  <a:lnTo>
                    <a:pt x="215" y="547"/>
                  </a:lnTo>
                  <a:lnTo>
                    <a:pt x="215" y="547"/>
                  </a:lnTo>
                  <a:lnTo>
                    <a:pt x="222" y="544"/>
                  </a:lnTo>
                  <a:lnTo>
                    <a:pt x="229" y="541"/>
                  </a:lnTo>
                  <a:lnTo>
                    <a:pt x="235" y="537"/>
                  </a:lnTo>
                  <a:lnTo>
                    <a:pt x="241" y="532"/>
                  </a:lnTo>
                  <a:lnTo>
                    <a:pt x="249" y="521"/>
                  </a:lnTo>
                  <a:lnTo>
                    <a:pt x="261" y="508"/>
                  </a:lnTo>
                  <a:lnTo>
                    <a:pt x="261" y="508"/>
                  </a:lnTo>
                  <a:lnTo>
                    <a:pt x="266" y="507"/>
                  </a:lnTo>
                  <a:lnTo>
                    <a:pt x="274" y="507"/>
                  </a:lnTo>
                  <a:lnTo>
                    <a:pt x="278" y="508"/>
                  </a:lnTo>
                  <a:lnTo>
                    <a:pt x="284" y="510"/>
                  </a:lnTo>
                  <a:lnTo>
                    <a:pt x="292" y="515"/>
                  </a:lnTo>
                  <a:lnTo>
                    <a:pt x="301" y="522"/>
                  </a:lnTo>
                  <a:lnTo>
                    <a:pt x="308" y="531"/>
                  </a:lnTo>
                  <a:lnTo>
                    <a:pt x="316" y="538"/>
                  </a:lnTo>
                  <a:lnTo>
                    <a:pt x="325" y="544"/>
                  </a:lnTo>
                  <a:lnTo>
                    <a:pt x="330" y="545"/>
                  </a:lnTo>
                  <a:lnTo>
                    <a:pt x="336" y="547"/>
                  </a:lnTo>
                  <a:lnTo>
                    <a:pt x="336" y="547"/>
                  </a:lnTo>
                  <a:lnTo>
                    <a:pt x="348" y="545"/>
                  </a:lnTo>
                  <a:lnTo>
                    <a:pt x="359" y="541"/>
                  </a:lnTo>
                  <a:lnTo>
                    <a:pt x="363" y="538"/>
                  </a:lnTo>
                  <a:lnTo>
                    <a:pt x="369" y="535"/>
                  </a:lnTo>
                  <a:lnTo>
                    <a:pt x="372" y="531"/>
                  </a:lnTo>
                  <a:lnTo>
                    <a:pt x="375" y="525"/>
                  </a:lnTo>
                  <a:lnTo>
                    <a:pt x="375" y="525"/>
                  </a:lnTo>
                  <a:lnTo>
                    <a:pt x="373" y="515"/>
                  </a:lnTo>
                  <a:lnTo>
                    <a:pt x="370" y="504"/>
                  </a:lnTo>
                  <a:lnTo>
                    <a:pt x="363" y="484"/>
                  </a:lnTo>
                  <a:lnTo>
                    <a:pt x="359" y="474"/>
                  </a:lnTo>
                  <a:lnTo>
                    <a:pt x="356" y="464"/>
                  </a:lnTo>
                  <a:lnTo>
                    <a:pt x="355" y="454"/>
                  </a:lnTo>
                  <a:lnTo>
                    <a:pt x="355" y="443"/>
                  </a:lnTo>
                  <a:lnTo>
                    <a:pt x="355" y="443"/>
                  </a:lnTo>
                  <a:lnTo>
                    <a:pt x="359" y="404"/>
                  </a:lnTo>
                  <a:lnTo>
                    <a:pt x="363" y="366"/>
                  </a:lnTo>
                  <a:lnTo>
                    <a:pt x="365" y="325"/>
                  </a:lnTo>
                  <a:lnTo>
                    <a:pt x="366" y="285"/>
                  </a:lnTo>
                  <a:lnTo>
                    <a:pt x="365" y="244"/>
                  </a:lnTo>
                  <a:lnTo>
                    <a:pt x="363" y="204"/>
                  </a:lnTo>
                  <a:lnTo>
                    <a:pt x="360" y="164"/>
                  </a:lnTo>
                  <a:lnTo>
                    <a:pt x="356" y="126"/>
                  </a:lnTo>
                  <a:lnTo>
                    <a:pt x="356" y="126"/>
                  </a:lnTo>
                  <a:lnTo>
                    <a:pt x="352" y="97"/>
                  </a:lnTo>
                  <a:lnTo>
                    <a:pt x="348" y="70"/>
                  </a:lnTo>
                  <a:lnTo>
                    <a:pt x="345" y="42"/>
                  </a:lnTo>
                  <a:lnTo>
                    <a:pt x="339" y="13"/>
                  </a:lnTo>
                  <a:lnTo>
                    <a:pt x="339" y="13"/>
                  </a:lnTo>
                  <a:lnTo>
                    <a:pt x="336" y="10"/>
                  </a:lnTo>
                  <a:lnTo>
                    <a:pt x="333" y="7"/>
                  </a:lnTo>
                  <a:lnTo>
                    <a:pt x="326" y="5"/>
                  </a:lnTo>
                  <a:lnTo>
                    <a:pt x="318" y="3"/>
                  </a:lnTo>
                  <a:lnTo>
                    <a:pt x="311" y="0"/>
                  </a:lnTo>
                  <a:lnTo>
                    <a:pt x="3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379"/>
            <p:cNvSpPr>
              <a:spLocks/>
            </p:cNvSpPr>
            <p:nvPr/>
          </p:nvSpPr>
          <p:spPr bwMode="auto">
            <a:xfrm>
              <a:off x="7461" y="2618"/>
              <a:ext cx="166" cy="203"/>
            </a:xfrm>
            <a:custGeom>
              <a:avLst/>
              <a:gdLst>
                <a:gd name="T0" fmla="*/ 143 w 166"/>
                <a:gd name="T1" fmla="*/ 25 h 203"/>
                <a:gd name="T2" fmla="*/ 143 w 166"/>
                <a:gd name="T3" fmla="*/ 25 h 203"/>
                <a:gd name="T4" fmla="*/ 146 w 166"/>
                <a:gd name="T5" fmla="*/ 41 h 203"/>
                <a:gd name="T6" fmla="*/ 150 w 166"/>
                <a:gd name="T7" fmla="*/ 55 h 203"/>
                <a:gd name="T8" fmla="*/ 153 w 166"/>
                <a:gd name="T9" fmla="*/ 62 h 203"/>
                <a:gd name="T10" fmla="*/ 156 w 166"/>
                <a:gd name="T11" fmla="*/ 69 h 203"/>
                <a:gd name="T12" fmla="*/ 160 w 166"/>
                <a:gd name="T13" fmla="*/ 75 h 203"/>
                <a:gd name="T14" fmla="*/ 166 w 166"/>
                <a:gd name="T15" fmla="*/ 81 h 203"/>
                <a:gd name="T16" fmla="*/ 166 w 166"/>
                <a:gd name="T17" fmla="*/ 81 h 203"/>
                <a:gd name="T18" fmla="*/ 165 w 166"/>
                <a:gd name="T19" fmla="*/ 102 h 203"/>
                <a:gd name="T20" fmla="*/ 162 w 166"/>
                <a:gd name="T21" fmla="*/ 125 h 203"/>
                <a:gd name="T22" fmla="*/ 153 w 166"/>
                <a:gd name="T23" fmla="*/ 169 h 203"/>
                <a:gd name="T24" fmla="*/ 153 w 166"/>
                <a:gd name="T25" fmla="*/ 169 h 203"/>
                <a:gd name="T26" fmla="*/ 146 w 166"/>
                <a:gd name="T27" fmla="*/ 180 h 203"/>
                <a:gd name="T28" fmla="*/ 136 w 166"/>
                <a:gd name="T29" fmla="*/ 189 h 203"/>
                <a:gd name="T30" fmla="*/ 126 w 166"/>
                <a:gd name="T31" fmla="*/ 197 h 203"/>
                <a:gd name="T32" fmla="*/ 113 w 166"/>
                <a:gd name="T33" fmla="*/ 202 h 203"/>
                <a:gd name="T34" fmla="*/ 113 w 166"/>
                <a:gd name="T35" fmla="*/ 202 h 203"/>
                <a:gd name="T36" fmla="*/ 99 w 166"/>
                <a:gd name="T37" fmla="*/ 203 h 203"/>
                <a:gd name="T38" fmla="*/ 85 w 166"/>
                <a:gd name="T39" fmla="*/ 202 h 203"/>
                <a:gd name="T40" fmla="*/ 71 w 166"/>
                <a:gd name="T41" fmla="*/ 199 h 203"/>
                <a:gd name="T42" fmla="*/ 58 w 166"/>
                <a:gd name="T43" fmla="*/ 193 h 203"/>
                <a:gd name="T44" fmla="*/ 47 w 166"/>
                <a:gd name="T45" fmla="*/ 187 h 203"/>
                <a:gd name="T46" fmla="*/ 35 w 166"/>
                <a:gd name="T47" fmla="*/ 179 h 203"/>
                <a:gd name="T48" fmla="*/ 25 w 166"/>
                <a:gd name="T49" fmla="*/ 169 h 203"/>
                <a:gd name="T50" fmla="*/ 18 w 166"/>
                <a:gd name="T51" fmla="*/ 157 h 203"/>
                <a:gd name="T52" fmla="*/ 18 w 166"/>
                <a:gd name="T53" fmla="*/ 157 h 203"/>
                <a:gd name="T54" fmla="*/ 11 w 166"/>
                <a:gd name="T55" fmla="*/ 146 h 203"/>
                <a:gd name="T56" fmla="*/ 5 w 166"/>
                <a:gd name="T57" fmla="*/ 132 h 203"/>
                <a:gd name="T58" fmla="*/ 1 w 166"/>
                <a:gd name="T59" fmla="*/ 116 h 203"/>
                <a:gd name="T60" fmla="*/ 0 w 166"/>
                <a:gd name="T61" fmla="*/ 102 h 203"/>
                <a:gd name="T62" fmla="*/ 0 w 166"/>
                <a:gd name="T63" fmla="*/ 86 h 203"/>
                <a:gd name="T64" fmla="*/ 1 w 166"/>
                <a:gd name="T65" fmla="*/ 71 h 203"/>
                <a:gd name="T66" fmla="*/ 5 w 166"/>
                <a:gd name="T67" fmla="*/ 56 h 203"/>
                <a:gd name="T68" fmla="*/ 12 w 166"/>
                <a:gd name="T69" fmla="*/ 44 h 203"/>
                <a:gd name="T70" fmla="*/ 12 w 166"/>
                <a:gd name="T71" fmla="*/ 44 h 203"/>
                <a:gd name="T72" fmla="*/ 20 w 166"/>
                <a:gd name="T73" fmla="*/ 32 h 203"/>
                <a:gd name="T74" fmla="*/ 30 w 166"/>
                <a:gd name="T75" fmla="*/ 24 h 203"/>
                <a:gd name="T76" fmla="*/ 41 w 166"/>
                <a:gd name="T77" fmla="*/ 17 h 203"/>
                <a:gd name="T78" fmla="*/ 54 w 166"/>
                <a:gd name="T79" fmla="*/ 9 h 203"/>
                <a:gd name="T80" fmla="*/ 68 w 166"/>
                <a:gd name="T81" fmla="*/ 5 h 203"/>
                <a:gd name="T82" fmla="*/ 82 w 166"/>
                <a:gd name="T83" fmla="*/ 2 h 203"/>
                <a:gd name="T84" fmla="*/ 96 w 166"/>
                <a:gd name="T85" fmla="*/ 0 h 203"/>
                <a:gd name="T86" fmla="*/ 109 w 166"/>
                <a:gd name="T87" fmla="*/ 0 h 203"/>
                <a:gd name="T88" fmla="*/ 109 w 166"/>
                <a:gd name="T89" fmla="*/ 0 h 203"/>
                <a:gd name="T90" fmla="*/ 121 w 166"/>
                <a:gd name="T91" fmla="*/ 4 h 203"/>
                <a:gd name="T92" fmla="*/ 129 w 166"/>
                <a:gd name="T93" fmla="*/ 9 h 203"/>
                <a:gd name="T94" fmla="*/ 138 w 166"/>
                <a:gd name="T95" fmla="*/ 17 h 203"/>
                <a:gd name="T96" fmla="*/ 143 w 166"/>
                <a:gd name="T97" fmla="*/ 25 h 203"/>
                <a:gd name="T98" fmla="*/ 143 w 166"/>
                <a:gd name="T99" fmla="*/ 2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6" h="203">
                  <a:moveTo>
                    <a:pt x="143" y="25"/>
                  </a:moveTo>
                  <a:lnTo>
                    <a:pt x="143" y="25"/>
                  </a:lnTo>
                  <a:lnTo>
                    <a:pt x="146" y="41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6" y="69"/>
                  </a:lnTo>
                  <a:lnTo>
                    <a:pt x="160" y="75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5" y="102"/>
                  </a:lnTo>
                  <a:lnTo>
                    <a:pt x="162" y="125"/>
                  </a:lnTo>
                  <a:lnTo>
                    <a:pt x="153" y="169"/>
                  </a:lnTo>
                  <a:lnTo>
                    <a:pt x="153" y="169"/>
                  </a:lnTo>
                  <a:lnTo>
                    <a:pt x="146" y="180"/>
                  </a:lnTo>
                  <a:lnTo>
                    <a:pt x="136" y="189"/>
                  </a:lnTo>
                  <a:lnTo>
                    <a:pt x="126" y="197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99" y="203"/>
                  </a:lnTo>
                  <a:lnTo>
                    <a:pt x="85" y="202"/>
                  </a:lnTo>
                  <a:lnTo>
                    <a:pt x="71" y="199"/>
                  </a:lnTo>
                  <a:lnTo>
                    <a:pt x="58" y="193"/>
                  </a:lnTo>
                  <a:lnTo>
                    <a:pt x="47" y="187"/>
                  </a:lnTo>
                  <a:lnTo>
                    <a:pt x="35" y="179"/>
                  </a:lnTo>
                  <a:lnTo>
                    <a:pt x="25" y="169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1" y="146"/>
                  </a:lnTo>
                  <a:lnTo>
                    <a:pt x="5" y="132"/>
                  </a:lnTo>
                  <a:lnTo>
                    <a:pt x="1" y="116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1" y="71"/>
                  </a:lnTo>
                  <a:lnTo>
                    <a:pt x="5" y="5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20" y="32"/>
                  </a:lnTo>
                  <a:lnTo>
                    <a:pt x="30" y="24"/>
                  </a:lnTo>
                  <a:lnTo>
                    <a:pt x="41" y="17"/>
                  </a:lnTo>
                  <a:lnTo>
                    <a:pt x="54" y="9"/>
                  </a:lnTo>
                  <a:lnTo>
                    <a:pt x="68" y="5"/>
                  </a:lnTo>
                  <a:lnTo>
                    <a:pt x="82" y="2"/>
                  </a:lnTo>
                  <a:lnTo>
                    <a:pt x="9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21" y="4"/>
                  </a:lnTo>
                  <a:lnTo>
                    <a:pt x="129" y="9"/>
                  </a:lnTo>
                  <a:lnTo>
                    <a:pt x="138" y="17"/>
                  </a:lnTo>
                  <a:lnTo>
                    <a:pt x="143" y="25"/>
                  </a:lnTo>
                  <a:lnTo>
                    <a:pt x="143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380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381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" name="Freeform 382"/>
            <p:cNvSpPr>
              <a:spLocks noEditPoints="1"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  <a:gd name="T18" fmla="*/ 200 w 535"/>
                <a:gd name="T19" fmla="*/ 322 h 541"/>
                <a:gd name="T20" fmla="*/ 299 w 535"/>
                <a:gd name="T21" fmla="*/ 322 h 541"/>
                <a:gd name="T22" fmla="*/ 252 w 535"/>
                <a:gd name="T23" fmla="*/ 137 h 541"/>
                <a:gd name="T24" fmla="*/ 200 w 535"/>
                <a:gd name="T25" fmla="*/ 32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  <a:close/>
                  <a:moveTo>
                    <a:pt x="200" y="322"/>
                  </a:moveTo>
                  <a:lnTo>
                    <a:pt x="299" y="322"/>
                  </a:lnTo>
                  <a:lnTo>
                    <a:pt x="252" y="137"/>
                  </a:lnTo>
                  <a:lnTo>
                    <a:pt x="200" y="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" name="Freeform 383"/>
            <p:cNvSpPr>
              <a:spLocks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6" name="Freeform 384"/>
            <p:cNvSpPr>
              <a:spLocks/>
            </p:cNvSpPr>
            <p:nvPr/>
          </p:nvSpPr>
          <p:spPr bwMode="auto">
            <a:xfrm>
              <a:off x="6986" y="1551"/>
              <a:ext cx="99" cy="185"/>
            </a:xfrm>
            <a:custGeom>
              <a:avLst/>
              <a:gdLst>
                <a:gd name="T0" fmla="*/ 0 w 99"/>
                <a:gd name="T1" fmla="*/ 185 h 185"/>
                <a:gd name="T2" fmla="*/ 99 w 99"/>
                <a:gd name="T3" fmla="*/ 185 h 185"/>
                <a:gd name="T4" fmla="*/ 52 w 99"/>
                <a:gd name="T5" fmla="*/ 0 h 185"/>
                <a:gd name="T6" fmla="*/ 0 w 99"/>
                <a:gd name="T7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85">
                  <a:moveTo>
                    <a:pt x="0" y="185"/>
                  </a:moveTo>
                  <a:lnTo>
                    <a:pt x="99" y="185"/>
                  </a:lnTo>
                  <a:lnTo>
                    <a:pt x="52" y="0"/>
                  </a:lnTo>
                  <a:lnTo>
                    <a:pt x="0" y="18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7" name="Freeform 385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8" name="Freeform 386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9" name="Freeform 387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  <a:gd name="T52" fmla="*/ 166 w 166"/>
                <a:gd name="T53" fmla="*/ 5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  <a:lnTo>
                    <a:pt x="166" y="54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0" name="Freeform 388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4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302" y="6330820"/>
            <a:ext cx="571500" cy="365125"/>
          </a:xfrm>
        </p:spPr>
        <p:txBody>
          <a:bodyPr/>
          <a:lstStyle/>
          <a:p>
            <a:fld id="{AEE12407-35E7-4E87-8757-FD495B64908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0586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-38100"/>
            <a:ext cx="10515600" cy="928688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203248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193847"/>
            <a:ext cx="5157787" cy="399581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209520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193847"/>
            <a:ext cx="5183188" cy="399581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126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2192000" cy="11811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1984"/>
            <a:ext cx="12192000" cy="1205784"/>
          </a:xfrm>
          <a:prstGeom prst="rect">
            <a:avLst/>
          </a:prstGeom>
        </p:spPr>
      </p:pic>
      <p:sp>
        <p:nvSpPr>
          <p:cNvPr id="12" name="Title 1"/>
          <p:cNvSpPr txBox="1">
            <a:spLocks/>
          </p:cNvSpPr>
          <p:nvPr userDrawn="1"/>
        </p:nvSpPr>
        <p:spPr>
          <a:xfrm>
            <a:off x="838200" y="-105569"/>
            <a:ext cx="10515600" cy="12358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lick to edit Master title style</a:t>
            </a:r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3" name="Group 363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11500626" y="6215063"/>
            <a:ext cx="585788" cy="538162"/>
            <a:chOff x="5907" y="1132"/>
            <a:chExt cx="2151" cy="1976"/>
          </a:xfrm>
        </p:grpSpPr>
        <p:sp>
          <p:nvSpPr>
            <p:cNvPr id="14" name="Freeform 364"/>
            <p:cNvSpPr>
              <a:spLocks/>
            </p:cNvSpPr>
            <p:nvPr/>
          </p:nvSpPr>
          <p:spPr bwMode="auto">
            <a:xfrm>
              <a:off x="5966" y="2117"/>
              <a:ext cx="2028" cy="0"/>
            </a:xfrm>
            <a:custGeom>
              <a:avLst/>
              <a:gdLst>
                <a:gd name="T0" fmla="*/ 0 w 2028"/>
                <a:gd name="T1" fmla="*/ 2028 w 2028"/>
                <a:gd name="T2" fmla="*/ 0 w 202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28">
                  <a:moveTo>
                    <a:pt x="0" y="0"/>
                  </a:moveTo>
                  <a:lnTo>
                    <a:pt x="202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Line 365"/>
            <p:cNvSpPr>
              <a:spLocks noChangeShapeType="1"/>
            </p:cNvSpPr>
            <p:nvPr/>
          </p:nvSpPr>
          <p:spPr bwMode="auto">
            <a:xfrm>
              <a:off x="5966" y="2117"/>
              <a:ext cx="202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Rectangle 366"/>
            <p:cNvSpPr>
              <a:spLocks noChangeArrowheads="1"/>
            </p:cNvSpPr>
            <p:nvPr/>
          </p:nvSpPr>
          <p:spPr bwMode="auto">
            <a:xfrm>
              <a:off x="5968" y="1194"/>
              <a:ext cx="2030" cy="1853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367"/>
            <p:cNvSpPr>
              <a:spLocks noEditPoints="1"/>
            </p:cNvSpPr>
            <p:nvPr/>
          </p:nvSpPr>
          <p:spPr bwMode="auto">
            <a:xfrm>
              <a:off x="5907" y="1132"/>
              <a:ext cx="2151" cy="1976"/>
            </a:xfrm>
            <a:custGeom>
              <a:avLst/>
              <a:gdLst>
                <a:gd name="T0" fmla="*/ 0 w 2151"/>
                <a:gd name="T1" fmla="*/ 1976 h 1976"/>
                <a:gd name="T2" fmla="*/ 2151 w 2151"/>
                <a:gd name="T3" fmla="*/ 1976 h 1976"/>
                <a:gd name="T4" fmla="*/ 2151 w 2151"/>
                <a:gd name="T5" fmla="*/ 0 h 1976"/>
                <a:gd name="T6" fmla="*/ 0 w 2151"/>
                <a:gd name="T7" fmla="*/ 0 h 1976"/>
                <a:gd name="T8" fmla="*/ 0 w 2151"/>
                <a:gd name="T9" fmla="*/ 1976 h 1976"/>
                <a:gd name="T10" fmla="*/ 123 w 2151"/>
                <a:gd name="T11" fmla="*/ 1854 h 1976"/>
                <a:gd name="T12" fmla="*/ 123 w 2151"/>
                <a:gd name="T13" fmla="*/ 1854 h 1976"/>
                <a:gd name="T14" fmla="*/ 123 w 2151"/>
                <a:gd name="T15" fmla="*/ 1046 h 1976"/>
                <a:gd name="T16" fmla="*/ 2030 w 2151"/>
                <a:gd name="T17" fmla="*/ 1046 h 1976"/>
                <a:gd name="T18" fmla="*/ 2030 w 2151"/>
                <a:gd name="T19" fmla="*/ 1046 h 1976"/>
                <a:gd name="T20" fmla="*/ 2030 w 2151"/>
                <a:gd name="T21" fmla="*/ 1854 h 1976"/>
                <a:gd name="T22" fmla="*/ 2030 w 2151"/>
                <a:gd name="T23" fmla="*/ 1854 h 1976"/>
                <a:gd name="T24" fmla="*/ 123 w 2151"/>
                <a:gd name="T25" fmla="*/ 1854 h 1976"/>
                <a:gd name="T26" fmla="*/ 123 w 2151"/>
                <a:gd name="T27" fmla="*/ 1854 h 1976"/>
                <a:gd name="T28" fmla="*/ 2030 w 2151"/>
                <a:gd name="T29" fmla="*/ 123 h 1976"/>
                <a:gd name="T30" fmla="*/ 2030 w 2151"/>
                <a:gd name="T31" fmla="*/ 123 h 1976"/>
                <a:gd name="T32" fmla="*/ 2030 w 2151"/>
                <a:gd name="T33" fmla="*/ 924 h 1976"/>
                <a:gd name="T34" fmla="*/ 123 w 2151"/>
                <a:gd name="T35" fmla="*/ 924 h 1976"/>
                <a:gd name="T36" fmla="*/ 123 w 2151"/>
                <a:gd name="T37" fmla="*/ 924 h 1976"/>
                <a:gd name="T38" fmla="*/ 123 w 2151"/>
                <a:gd name="T39" fmla="*/ 123 h 1976"/>
                <a:gd name="T40" fmla="*/ 123 w 2151"/>
                <a:gd name="T41" fmla="*/ 123 h 1976"/>
                <a:gd name="T42" fmla="*/ 2030 w 2151"/>
                <a:gd name="T43" fmla="*/ 123 h 1976"/>
                <a:gd name="T44" fmla="*/ 2030 w 2151"/>
                <a:gd name="T45" fmla="*/ 123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51" h="1976">
                  <a:moveTo>
                    <a:pt x="0" y="1976"/>
                  </a:moveTo>
                  <a:lnTo>
                    <a:pt x="2151" y="1976"/>
                  </a:lnTo>
                  <a:lnTo>
                    <a:pt x="2151" y="0"/>
                  </a:lnTo>
                  <a:lnTo>
                    <a:pt x="0" y="0"/>
                  </a:lnTo>
                  <a:lnTo>
                    <a:pt x="0" y="1976"/>
                  </a:lnTo>
                  <a:close/>
                  <a:moveTo>
                    <a:pt x="123" y="1854"/>
                  </a:moveTo>
                  <a:lnTo>
                    <a:pt x="123" y="1854"/>
                  </a:lnTo>
                  <a:lnTo>
                    <a:pt x="123" y="1046"/>
                  </a:lnTo>
                  <a:lnTo>
                    <a:pt x="2030" y="1046"/>
                  </a:lnTo>
                  <a:lnTo>
                    <a:pt x="2030" y="1046"/>
                  </a:lnTo>
                  <a:lnTo>
                    <a:pt x="2030" y="1854"/>
                  </a:lnTo>
                  <a:lnTo>
                    <a:pt x="2030" y="1854"/>
                  </a:lnTo>
                  <a:lnTo>
                    <a:pt x="123" y="1854"/>
                  </a:lnTo>
                  <a:lnTo>
                    <a:pt x="123" y="1854"/>
                  </a:lnTo>
                  <a:close/>
                  <a:moveTo>
                    <a:pt x="2030" y="123"/>
                  </a:moveTo>
                  <a:lnTo>
                    <a:pt x="2030" y="123"/>
                  </a:lnTo>
                  <a:lnTo>
                    <a:pt x="2030" y="924"/>
                  </a:lnTo>
                  <a:lnTo>
                    <a:pt x="123" y="924"/>
                  </a:lnTo>
                  <a:lnTo>
                    <a:pt x="123" y="924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2030" y="123"/>
                  </a:lnTo>
                  <a:lnTo>
                    <a:pt x="2030" y="123"/>
                  </a:lnTo>
                  <a:close/>
                </a:path>
              </a:pathLst>
            </a:custGeom>
            <a:solidFill>
              <a:srgbClr val="EF3E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368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64 h 587"/>
                <a:gd name="T34" fmla="*/ 953 w 1552"/>
                <a:gd name="T35" fmla="*/ 227 h 587"/>
                <a:gd name="T36" fmla="*/ 960 w 1552"/>
                <a:gd name="T37" fmla="*/ 419 h 587"/>
                <a:gd name="T38" fmla="*/ 968 w 1552"/>
                <a:gd name="T39" fmla="*/ 519 h 587"/>
                <a:gd name="T40" fmla="*/ 1034 w 1552"/>
                <a:gd name="T41" fmla="*/ 540 h 587"/>
                <a:gd name="T42" fmla="*/ 1039 w 1552"/>
                <a:gd name="T43" fmla="*/ 458 h 587"/>
                <a:gd name="T44" fmla="*/ 1039 w 1552"/>
                <a:gd name="T45" fmla="*/ 261 h 587"/>
                <a:gd name="T46" fmla="*/ 994 w 1552"/>
                <a:gd name="T47" fmla="*/ 69 h 587"/>
                <a:gd name="T48" fmla="*/ 936 w 1552"/>
                <a:gd name="T49" fmla="*/ 39 h 587"/>
                <a:gd name="T50" fmla="*/ 830 w 1552"/>
                <a:gd name="T51" fmla="*/ 196 h 587"/>
                <a:gd name="T52" fmla="*/ 786 w 1552"/>
                <a:gd name="T53" fmla="*/ 190 h 587"/>
                <a:gd name="T54" fmla="*/ 145 w 1552"/>
                <a:gd name="T55" fmla="*/ 250 h 587"/>
                <a:gd name="T56" fmla="*/ 15 w 1552"/>
                <a:gd name="T57" fmla="*/ 327 h 587"/>
                <a:gd name="T58" fmla="*/ 2 w 1552"/>
                <a:gd name="T59" fmla="*/ 471 h 587"/>
                <a:gd name="T60" fmla="*/ 32 w 1552"/>
                <a:gd name="T61" fmla="*/ 570 h 587"/>
                <a:gd name="T62" fmla="*/ 197 w 1552"/>
                <a:gd name="T63" fmla="*/ 579 h 587"/>
                <a:gd name="T64" fmla="*/ 244 w 1552"/>
                <a:gd name="T65" fmla="*/ 530 h 587"/>
                <a:gd name="T66" fmla="*/ 128 w 1552"/>
                <a:gd name="T67" fmla="*/ 542 h 587"/>
                <a:gd name="T68" fmla="*/ 76 w 1552"/>
                <a:gd name="T69" fmla="*/ 485 h 587"/>
                <a:gd name="T70" fmla="*/ 83 w 1552"/>
                <a:gd name="T71" fmla="*/ 333 h 587"/>
                <a:gd name="T72" fmla="*/ 156 w 1552"/>
                <a:gd name="T73" fmla="*/ 291 h 587"/>
                <a:gd name="T74" fmla="*/ 211 w 1552"/>
                <a:gd name="T75" fmla="*/ 276 h 587"/>
                <a:gd name="T76" fmla="*/ 773 w 1552"/>
                <a:gd name="T77" fmla="*/ 304 h 587"/>
                <a:gd name="T78" fmla="*/ 725 w 1552"/>
                <a:gd name="T79" fmla="*/ 509 h 587"/>
                <a:gd name="T80" fmla="*/ 776 w 1552"/>
                <a:gd name="T81" fmla="*/ 579 h 587"/>
                <a:gd name="T82" fmla="*/ 809 w 1552"/>
                <a:gd name="T83" fmla="*/ 542 h 587"/>
                <a:gd name="T84" fmla="*/ 806 w 1552"/>
                <a:gd name="T85" fmla="*/ 472 h 587"/>
                <a:gd name="T86" fmla="*/ 827 w 1552"/>
                <a:gd name="T87" fmla="*/ 297 h 587"/>
                <a:gd name="T88" fmla="*/ 1480 w 1552"/>
                <a:gd name="T89" fmla="*/ 37 h 587"/>
                <a:gd name="T90" fmla="*/ 1483 w 1552"/>
                <a:gd name="T91" fmla="*/ 320 h 587"/>
                <a:gd name="T92" fmla="*/ 1416 w 1552"/>
                <a:gd name="T93" fmla="*/ 310 h 587"/>
                <a:gd name="T94" fmla="*/ 1361 w 1552"/>
                <a:gd name="T95" fmla="*/ 287 h 587"/>
                <a:gd name="T96" fmla="*/ 1216 w 1552"/>
                <a:gd name="T97" fmla="*/ 334 h 587"/>
                <a:gd name="T98" fmla="*/ 1183 w 1552"/>
                <a:gd name="T99" fmla="*/ 473 h 587"/>
                <a:gd name="T100" fmla="*/ 1227 w 1552"/>
                <a:gd name="T101" fmla="*/ 540 h 587"/>
                <a:gd name="T102" fmla="*/ 1392 w 1552"/>
                <a:gd name="T103" fmla="*/ 579 h 587"/>
                <a:gd name="T104" fmla="*/ 1455 w 1552"/>
                <a:gd name="T105" fmla="*/ 540 h 587"/>
                <a:gd name="T106" fmla="*/ 1525 w 1552"/>
                <a:gd name="T107" fmla="*/ 577 h 587"/>
                <a:gd name="T108" fmla="*/ 1536 w 1552"/>
                <a:gd name="T109" fmla="*/ 506 h 587"/>
                <a:gd name="T110" fmla="*/ 1540 w 1552"/>
                <a:gd name="T111" fmla="*/ 236 h 587"/>
                <a:gd name="T112" fmla="*/ 1510 w 1552"/>
                <a:gd name="T113" fmla="*/ 39 h 587"/>
                <a:gd name="T114" fmla="*/ 1412 w 1552"/>
                <a:gd name="T115" fmla="*/ 402 h 587"/>
                <a:gd name="T116" fmla="*/ 1382 w 1552"/>
                <a:gd name="T117" fmla="*/ 530 h 587"/>
                <a:gd name="T118" fmla="*/ 1274 w 1552"/>
                <a:gd name="T119" fmla="*/ 490 h 587"/>
                <a:gd name="T120" fmla="*/ 1268 w 1552"/>
                <a:gd name="T121" fmla="*/ 377 h 587"/>
                <a:gd name="T122" fmla="*/ 1377 w 1552"/>
                <a:gd name="T123" fmla="*/ 337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noFill/>
            <a:ln w="0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369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370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371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  <a:gd name="T42" fmla="*/ 0 w 57"/>
                <a:gd name="T43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372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79 h 587"/>
                <a:gd name="T34" fmla="*/ 954 w 1552"/>
                <a:gd name="T35" fmla="*/ 298 h 587"/>
                <a:gd name="T36" fmla="*/ 958 w 1552"/>
                <a:gd name="T37" fmla="*/ 429 h 587"/>
                <a:gd name="T38" fmla="*/ 968 w 1552"/>
                <a:gd name="T39" fmla="*/ 519 h 587"/>
                <a:gd name="T40" fmla="*/ 1039 w 1552"/>
                <a:gd name="T41" fmla="*/ 537 h 587"/>
                <a:gd name="T42" fmla="*/ 1038 w 1552"/>
                <a:gd name="T43" fmla="*/ 445 h 587"/>
                <a:gd name="T44" fmla="*/ 1037 w 1552"/>
                <a:gd name="T45" fmla="*/ 249 h 587"/>
                <a:gd name="T46" fmla="*/ 994 w 1552"/>
                <a:gd name="T47" fmla="*/ 48 h 587"/>
                <a:gd name="T48" fmla="*/ 936 w 1552"/>
                <a:gd name="T49" fmla="*/ 39 h 587"/>
                <a:gd name="T50" fmla="*/ 833 w 1552"/>
                <a:gd name="T51" fmla="*/ 192 h 587"/>
                <a:gd name="T52" fmla="*/ 782 w 1552"/>
                <a:gd name="T53" fmla="*/ 196 h 587"/>
                <a:gd name="T54" fmla="*/ 133 w 1552"/>
                <a:gd name="T55" fmla="*/ 253 h 587"/>
                <a:gd name="T56" fmla="*/ 9 w 1552"/>
                <a:gd name="T57" fmla="*/ 335 h 587"/>
                <a:gd name="T58" fmla="*/ 5 w 1552"/>
                <a:gd name="T59" fmla="*/ 482 h 587"/>
                <a:gd name="T60" fmla="*/ 42 w 1552"/>
                <a:gd name="T61" fmla="*/ 574 h 587"/>
                <a:gd name="T62" fmla="*/ 211 w 1552"/>
                <a:gd name="T63" fmla="*/ 574 h 587"/>
                <a:gd name="T64" fmla="*/ 244 w 1552"/>
                <a:gd name="T65" fmla="*/ 530 h 587"/>
                <a:gd name="T66" fmla="*/ 118 w 1552"/>
                <a:gd name="T67" fmla="*/ 539 h 587"/>
                <a:gd name="T68" fmla="*/ 76 w 1552"/>
                <a:gd name="T69" fmla="*/ 485 h 587"/>
                <a:gd name="T70" fmla="*/ 89 w 1552"/>
                <a:gd name="T71" fmla="*/ 324 h 587"/>
                <a:gd name="T72" fmla="*/ 166 w 1552"/>
                <a:gd name="T73" fmla="*/ 286 h 587"/>
                <a:gd name="T74" fmla="*/ 213 w 1552"/>
                <a:gd name="T75" fmla="*/ 274 h 587"/>
                <a:gd name="T76" fmla="*/ 768 w 1552"/>
                <a:gd name="T77" fmla="*/ 314 h 587"/>
                <a:gd name="T78" fmla="*/ 728 w 1552"/>
                <a:gd name="T79" fmla="*/ 529 h 587"/>
                <a:gd name="T80" fmla="*/ 783 w 1552"/>
                <a:gd name="T81" fmla="*/ 577 h 587"/>
                <a:gd name="T82" fmla="*/ 806 w 1552"/>
                <a:gd name="T83" fmla="*/ 533 h 587"/>
                <a:gd name="T84" fmla="*/ 815 w 1552"/>
                <a:gd name="T85" fmla="*/ 451 h 587"/>
                <a:gd name="T86" fmla="*/ 825 w 1552"/>
                <a:gd name="T87" fmla="*/ 293 h 587"/>
                <a:gd name="T88" fmla="*/ 1476 w 1552"/>
                <a:gd name="T89" fmla="*/ 42 h 587"/>
                <a:gd name="T90" fmla="*/ 1482 w 1552"/>
                <a:gd name="T91" fmla="*/ 355 h 587"/>
                <a:gd name="T92" fmla="*/ 1416 w 1552"/>
                <a:gd name="T93" fmla="*/ 305 h 587"/>
                <a:gd name="T94" fmla="*/ 1352 w 1552"/>
                <a:gd name="T95" fmla="*/ 293 h 587"/>
                <a:gd name="T96" fmla="*/ 1204 w 1552"/>
                <a:gd name="T97" fmla="*/ 341 h 587"/>
                <a:gd name="T98" fmla="*/ 1187 w 1552"/>
                <a:gd name="T99" fmla="*/ 483 h 587"/>
                <a:gd name="T100" fmla="*/ 1237 w 1552"/>
                <a:gd name="T101" fmla="*/ 540 h 587"/>
                <a:gd name="T102" fmla="*/ 1399 w 1552"/>
                <a:gd name="T103" fmla="*/ 576 h 587"/>
                <a:gd name="T104" fmla="*/ 1461 w 1552"/>
                <a:gd name="T105" fmla="*/ 542 h 587"/>
                <a:gd name="T106" fmla="*/ 1536 w 1552"/>
                <a:gd name="T107" fmla="*/ 573 h 587"/>
                <a:gd name="T108" fmla="*/ 1533 w 1552"/>
                <a:gd name="T109" fmla="*/ 496 h 587"/>
                <a:gd name="T110" fmla="*/ 1537 w 1552"/>
                <a:gd name="T111" fmla="*/ 196 h 587"/>
                <a:gd name="T112" fmla="*/ 1503 w 1552"/>
                <a:gd name="T113" fmla="*/ 37 h 587"/>
                <a:gd name="T114" fmla="*/ 1416 w 1552"/>
                <a:gd name="T115" fmla="*/ 408 h 587"/>
                <a:gd name="T116" fmla="*/ 1369 w 1552"/>
                <a:gd name="T117" fmla="*/ 535 h 587"/>
                <a:gd name="T118" fmla="*/ 1274 w 1552"/>
                <a:gd name="T119" fmla="*/ 490 h 587"/>
                <a:gd name="T120" fmla="*/ 1276 w 1552"/>
                <a:gd name="T121" fmla="*/ 365 h 587"/>
                <a:gd name="T122" fmla="*/ 1385 w 1552"/>
                <a:gd name="T123" fmla="*/ 34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" name="Freeform 373"/>
            <p:cNvSpPr>
              <a:spLocks/>
            </p:cNvSpPr>
            <p:nvPr/>
          </p:nvSpPr>
          <p:spPr bwMode="auto">
            <a:xfrm>
              <a:off x="6526" y="2285"/>
              <a:ext cx="299" cy="549"/>
            </a:xfrm>
            <a:custGeom>
              <a:avLst/>
              <a:gdLst>
                <a:gd name="T0" fmla="*/ 97 w 299"/>
                <a:gd name="T1" fmla="*/ 84 h 549"/>
                <a:gd name="T2" fmla="*/ 114 w 299"/>
                <a:gd name="T3" fmla="*/ 197 h 549"/>
                <a:gd name="T4" fmla="*/ 125 w 299"/>
                <a:gd name="T5" fmla="*/ 241 h 549"/>
                <a:gd name="T6" fmla="*/ 118 w 299"/>
                <a:gd name="T7" fmla="*/ 280 h 549"/>
                <a:gd name="T8" fmla="*/ 122 w 299"/>
                <a:gd name="T9" fmla="*/ 304 h 549"/>
                <a:gd name="T10" fmla="*/ 196 w 299"/>
                <a:gd name="T11" fmla="*/ 301 h 549"/>
                <a:gd name="T12" fmla="*/ 243 w 299"/>
                <a:gd name="T13" fmla="*/ 310 h 549"/>
                <a:gd name="T14" fmla="*/ 272 w 299"/>
                <a:gd name="T15" fmla="*/ 325 h 549"/>
                <a:gd name="T16" fmla="*/ 292 w 299"/>
                <a:gd name="T17" fmla="*/ 355 h 549"/>
                <a:gd name="T18" fmla="*/ 297 w 299"/>
                <a:gd name="T19" fmla="*/ 421 h 549"/>
                <a:gd name="T20" fmla="*/ 296 w 299"/>
                <a:gd name="T21" fmla="*/ 489 h 549"/>
                <a:gd name="T22" fmla="*/ 286 w 299"/>
                <a:gd name="T23" fmla="*/ 519 h 549"/>
                <a:gd name="T24" fmla="*/ 276 w 299"/>
                <a:gd name="T25" fmla="*/ 535 h 549"/>
                <a:gd name="T26" fmla="*/ 258 w 299"/>
                <a:gd name="T27" fmla="*/ 546 h 549"/>
                <a:gd name="T28" fmla="*/ 236 w 299"/>
                <a:gd name="T29" fmla="*/ 547 h 549"/>
                <a:gd name="T30" fmla="*/ 223 w 299"/>
                <a:gd name="T31" fmla="*/ 540 h 549"/>
                <a:gd name="T32" fmla="*/ 218 w 299"/>
                <a:gd name="T33" fmla="*/ 523 h 549"/>
                <a:gd name="T34" fmla="*/ 225 w 299"/>
                <a:gd name="T35" fmla="*/ 493 h 549"/>
                <a:gd name="T36" fmla="*/ 232 w 299"/>
                <a:gd name="T37" fmla="*/ 446 h 549"/>
                <a:gd name="T38" fmla="*/ 229 w 299"/>
                <a:gd name="T39" fmla="*/ 398 h 549"/>
                <a:gd name="T40" fmla="*/ 216 w 299"/>
                <a:gd name="T41" fmla="*/ 372 h 549"/>
                <a:gd name="T42" fmla="*/ 198 w 299"/>
                <a:gd name="T43" fmla="*/ 352 h 549"/>
                <a:gd name="T44" fmla="*/ 159 w 299"/>
                <a:gd name="T45" fmla="*/ 340 h 549"/>
                <a:gd name="T46" fmla="*/ 118 w 299"/>
                <a:gd name="T47" fmla="*/ 341 h 549"/>
                <a:gd name="T48" fmla="*/ 108 w 299"/>
                <a:gd name="T49" fmla="*/ 355 h 549"/>
                <a:gd name="T50" fmla="*/ 97 w 299"/>
                <a:gd name="T51" fmla="*/ 388 h 549"/>
                <a:gd name="T52" fmla="*/ 94 w 299"/>
                <a:gd name="T53" fmla="*/ 445 h 549"/>
                <a:gd name="T54" fmla="*/ 94 w 299"/>
                <a:gd name="T55" fmla="*/ 492 h 549"/>
                <a:gd name="T56" fmla="*/ 90 w 299"/>
                <a:gd name="T57" fmla="*/ 519 h 549"/>
                <a:gd name="T58" fmla="*/ 77 w 299"/>
                <a:gd name="T59" fmla="*/ 542 h 549"/>
                <a:gd name="T60" fmla="*/ 61 w 299"/>
                <a:gd name="T61" fmla="*/ 549 h 549"/>
                <a:gd name="T62" fmla="*/ 38 w 299"/>
                <a:gd name="T63" fmla="*/ 544 h 549"/>
                <a:gd name="T64" fmla="*/ 23 w 299"/>
                <a:gd name="T65" fmla="*/ 532 h 549"/>
                <a:gd name="T66" fmla="*/ 19 w 299"/>
                <a:gd name="T67" fmla="*/ 503 h 549"/>
                <a:gd name="T68" fmla="*/ 26 w 299"/>
                <a:gd name="T69" fmla="*/ 436 h 549"/>
                <a:gd name="T70" fmla="*/ 21 w 299"/>
                <a:gd name="T71" fmla="*/ 395 h 549"/>
                <a:gd name="T72" fmla="*/ 7 w 299"/>
                <a:gd name="T73" fmla="*/ 370 h 549"/>
                <a:gd name="T74" fmla="*/ 0 w 299"/>
                <a:gd name="T75" fmla="*/ 358 h 549"/>
                <a:gd name="T76" fmla="*/ 16 w 299"/>
                <a:gd name="T77" fmla="*/ 344 h 549"/>
                <a:gd name="T78" fmla="*/ 37 w 299"/>
                <a:gd name="T79" fmla="*/ 331 h 549"/>
                <a:gd name="T80" fmla="*/ 43 w 299"/>
                <a:gd name="T81" fmla="*/ 320 h 549"/>
                <a:gd name="T82" fmla="*/ 51 w 299"/>
                <a:gd name="T83" fmla="*/ 305 h 549"/>
                <a:gd name="T84" fmla="*/ 67 w 299"/>
                <a:gd name="T85" fmla="*/ 276 h 549"/>
                <a:gd name="T86" fmla="*/ 71 w 299"/>
                <a:gd name="T87" fmla="*/ 241 h 549"/>
                <a:gd name="T88" fmla="*/ 65 w 299"/>
                <a:gd name="T89" fmla="*/ 224 h 549"/>
                <a:gd name="T90" fmla="*/ 57 w 299"/>
                <a:gd name="T91" fmla="*/ 190 h 549"/>
                <a:gd name="T92" fmla="*/ 57 w 299"/>
                <a:gd name="T93" fmla="*/ 146 h 549"/>
                <a:gd name="T94" fmla="*/ 50 w 299"/>
                <a:gd name="T95" fmla="*/ 121 h 549"/>
                <a:gd name="T96" fmla="*/ 37 w 299"/>
                <a:gd name="T97" fmla="*/ 74 h 549"/>
                <a:gd name="T98" fmla="*/ 33 w 299"/>
                <a:gd name="T99" fmla="*/ 32 h 549"/>
                <a:gd name="T100" fmla="*/ 41 w 299"/>
                <a:gd name="T101" fmla="*/ 11 h 549"/>
                <a:gd name="T102" fmla="*/ 54 w 299"/>
                <a:gd name="T103" fmla="*/ 0 h 549"/>
                <a:gd name="T104" fmla="*/ 77 w 299"/>
                <a:gd name="T105" fmla="*/ 15 h 549"/>
                <a:gd name="T106" fmla="*/ 87 w 299"/>
                <a:gd name="T107" fmla="*/ 44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9" h="549">
                  <a:moveTo>
                    <a:pt x="91" y="62"/>
                  </a:moveTo>
                  <a:lnTo>
                    <a:pt x="91" y="62"/>
                  </a:lnTo>
                  <a:lnTo>
                    <a:pt x="97" y="84"/>
                  </a:lnTo>
                  <a:lnTo>
                    <a:pt x="102" y="105"/>
                  </a:lnTo>
                  <a:lnTo>
                    <a:pt x="108" y="152"/>
                  </a:lnTo>
                  <a:lnTo>
                    <a:pt x="114" y="197"/>
                  </a:lnTo>
                  <a:lnTo>
                    <a:pt x="118" y="219"/>
                  </a:lnTo>
                  <a:lnTo>
                    <a:pt x="125" y="241"/>
                  </a:lnTo>
                  <a:lnTo>
                    <a:pt x="125" y="241"/>
                  </a:lnTo>
                  <a:lnTo>
                    <a:pt x="121" y="256"/>
                  </a:lnTo>
                  <a:lnTo>
                    <a:pt x="118" y="273"/>
                  </a:lnTo>
                  <a:lnTo>
                    <a:pt x="118" y="280"/>
                  </a:lnTo>
                  <a:lnTo>
                    <a:pt x="118" y="288"/>
                  </a:lnTo>
                  <a:lnTo>
                    <a:pt x="120" y="296"/>
                  </a:lnTo>
                  <a:lnTo>
                    <a:pt x="122" y="304"/>
                  </a:lnTo>
                  <a:lnTo>
                    <a:pt x="122" y="304"/>
                  </a:lnTo>
                  <a:lnTo>
                    <a:pt x="171" y="301"/>
                  </a:lnTo>
                  <a:lnTo>
                    <a:pt x="196" y="301"/>
                  </a:lnTo>
                  <a:lnTo>
                    <a:pt x="221" y="304"/>
                  </a:lnTo>
                  <a:lnTo>
                    <a:pt x="232" y="305"/>
                  </a:lnTo>
                  <a:lnTo>
                    <a:pt x="243" y="310"/>
                  </a:lnTo>
                  <a:lnTo>
                    <a:pt x="253" y="314"/>
                  </a:lnTo>
                  <a:lnTo>
                    <a:pt x="263" y="318"/>
                  </a:lnTo>
                  <a:lnTo>
                    <a:pt x="272" y="325"/>
                  </a:lnTo>
                  <a:lnTo>
                    <a:pt x="279" y="334"/>
                  </a:lnTo>
                  <a:lnTo>
                    <a:pt x="286" y="344"/>
                  </a:lnTo>
                  <a:lnTo>
                    <a:pt x="292" y="355"/>
                  </a:lnTo>
                  <a:lnTo>
                    <a:pt x="292" y="355"/>
                  </a:lnTo>
                  <a:lnTo>
                    <a:pt x="296" y="398"/>
                  </a:lnTo>
                  <a:lnTo>
                    <a:pt x="297" y="421"/>
                  </a:lnTo>
                  <a:lnTo>
                    <a:pt x="299" y="445"/>
                  </a:lnTo>
                  <a:lnTo>
                    <a:pt x="299" y="468"/>
                  </a:lnTo>
                  <a:lnTo>
                    <a:pt x="296" y="489"/>
                  </a:lnTo>
                  <a:lnTo>
                    <a:pt x="293" y="499"/>
                  </a:lnTo>
                  <a:lnTo>
                    <a:pt x="290" y="510"/>
                  </a:lnTo>
                  <a:lnTo>
                    <a:pt x="286" y="519"/>
                  </a:lnTo>
                  <a:lnTo>
                    <a:pt x="280" y="529"/>
                  </a:lnTo>
                  <a:lnTo>
                    <a:pt x="280" y="529"/>
                  </a:lnTo>
                  <a:lnTo>
                    <a:pt x="276" y="535"/>
                  </a:lnTo>
                  <a:lnTo>
                    <a:pt x="270" y="539"/>
                  </a:lnTo>
                  <a:lnTo>
                    <a:pt x="263" y="543"/>
                  </a:lnTo>
                  <a:lnTo>
                    <a:pt x="258" y="546"/>
                  </a:lnTo>
                  <a:lnTo>
                    <a:pt x="250" y="547"/>
                  </a:lnTo>
                  <a:lnTo>
                    <a:pt x="243" y="547"/>
                  </a:lnTo>
                  <a:lnTo>
                    <a:pt x="236" y="547"/>
                  </a:lnTo>
                  <a:lnTo>
                    <a:pt x="229" y="546"/>
                  </a:lnTo>
                  <a:lnTo>
                    <a:pt x="229" y="546"/>
                  </a:lnTo>
                  <a:lnTo>
                    <a:pt x="223" y="540"/>
                  </a:lnTo>
                  <a:lnTo>
                    <a:pt x="221" y="536"/>
                  </a:lnTo>
                  <a:lnTo>
                    <a:pt x="219" y="530"/>
                  </a:lnTo>
                  <a:lnTo>
                    <a:pt x="218" y="523"/>
                  </a:lnTo>
                  <a:lnTo>
                    <a:pt x="219" y="512"/>
                  </a:lnTo>
                  <a:lnTo>
                    <a:pt x="221" y="499"/>
                  </a:lnTo>
                  <a:lnTo>
                    <a:pt x="225" y="493"/>
                  </a:lnTo>
                  <a:lnTo>
                    <a:pt x="225" y="493"/>
                  </a:lnTo>
                  <a:lnTo>
                    <a:pt x="229" y="463"/>
                  </a:lnTo>
                  <a:lnTo>
                    <a:pt x="232" y="446"/>
                  </a:lnTo>
                  <a:lnTo>
                    <a:pt x="232" y="431"/>
                  </a:lnTo>
                  <a:lnTo>
                    <a:pt x="232" y="414"/>
                  </a:lnTo>
                  <a:lnTo>
                    <a:pt x="229" y="398"/>
                  </a:lnTo>
                  <a:lnTo>
                    <a:pt x="223" y="385"/>
                  </a:lnTo>
                  <a:lnTo>
                    <a:pt x="221" y="378"/>
                  </a:lnTo>
                  <a:lnTo>
                    <a:pt x="216" y="372"/>
                  </a:lnTo>
                  <a:lnTo>
                    <a:pt x="216" y="372"/>
                  </a:lnTo>
                  <a:lnTo>
                    <a:pt x="208" y="361"/>
                  </a:lnTo>
                  <a:lnTo>
                    <a:pt x="198" y="352"/>
                  </a:lnTo>
                  <a:lnTo>
                    <a:pt x="186" y="347"/>
                  </a:lnTo>
                  <a:lnTo>
                    <a:pt x="174" y="342"/>
                  </a:lnTo>
                  <a:lnTo>
                    <a:pt x="159" y="340"/>
                  </a:lnTo>
                  <a:lnTo>
                    <a:pt x="147" y="338"/>
                  </a:lnTo>
                  <a:lnTo>
                    <a:pt x="132" y="340"/>
                  </a:lnTo>
                  <a:lnTo>
                    <a:pt x="118" y="341"/>
                  </a:lnTo>
                  <a:lnTo>
                    <a:pt x="118" y="341"/>
                  </a:lnTo>
                  <a:lnTo>
                    <a:pt x="112" y="348"/>
                  </a:lnTo>
                  <a:lnTo>
                    <a:pt x="108" y="355"/>
                  </a:lnTo>
                  <a:lnTo>
                    <a:pt x="104" y="362"/>
                  </a:lnTo>
                  <a:lnTo>
                    <a:pt x="101" y="371"/>
                  </a:lnTo>
                  <a:lnTo>
                    <a:pt x="97" y="388"/>
                  </a:lnTo>
                  <a:lnTo>
                    <a:pt x="94" y="405"/>
                  </a:lnTo>
                  <a:lnTo>
                    <a:pt x="94" y="425"/>
                  </a:lnTo>
                  <a:lnTo>
                    <a:pt x="94" y="445"/>
                  </a:lnTo>
                  <a:lnTo>
                    <a:pt x="94" y="483"/>
                  </a:lnTo>
                  <a:lnTo>
                    <a:pt x="94" y="483"/>
                  </a:lnTo>
                  <a:lnTo>
                    <a:pt x="94" y="492"/>
                  </a:lnTo>
                  <a:lnTo>
                    <a:pt x="94" y="500"/>
                  </a:lnTo>
                  <a:lnTo>
                    <a:pt x="93" y="510"/>
                  </a:lnTo>
                  <a:lnTo>
                    <a:pt x="90" y="519"/>
                  </a:lnTo>
                  <a:lnTo>
                    <a:pt x="87" y="527"/>
                  </a:lnTo>
                  <a:lnTo>
                    <a:pt x="83" y="535"/>
                  </a:lnTo>
                  <a:lnTo>
                    <a:pt x="77" y="542"/>
                  </a:lnTo>
                  <a:lnTo>
                    <a:pt x="70" y="547"/>
                  </a:lnTo>
                  <a:lnTo>
                    <a:pt x="70" y="547"/>
                  </a:lnTo>
                  <a:lnTo>
                    <a:pt x="61" y="549"/>
                  </a:lnTo>
                  <a:lnTo>
                    <a:pt x="53" y="547"/>
                  </a:lnTo>
                  <a:lnTo>
                    <a:pt x="46" y="547"/>
                  </a:lnTo>
                  <a:lnTo>
                    <a:pt x="38" y="544"/>
                  </a:lnTo>
                  <a:lnTo>
                    <a:pt x="33" y="542"/>
                  </a:lnTo>
                  <a:lnTo>
                    <a:pt x="27" y="537"/>
                  </a:lnTo>
                  <a:lnTo>
                    <a:pt x="23" y="532"/>
                  </a:lnTo>
                  <a:lnTo>
                    <a:pt x="19" y="525"/>
                  </a:lnTo>
                  <a:lnTo>
                    <a:pt x="19" y="525"/>
                  </a:lnTo>
                  <a:lnTo>
                    <a:pt x="19" y="503"/>
                  </a:lnTo>
                  <a:lnTo>
                    <a:pt x="20" y="482"/>
                  </a:lnTo>
                  <a:lnTo>
                    <a:pt x="23" y="459"/>
                  </a:lnTo>
                  <a:lnTo>
                    <a:pt x="26" y="436"/>
                  </a:lnTo>
                  <a:lnTo>
                    <a:pt x="26" y="415"/>
                  </a:lnTo>
                  <a:lnTo>
                    <a:pt x="24" y="405"/>
                  </a:lnTo>
                  <a:lnTo>
                    <a:pt x="21" y="395"/>
                  </a:lnTo>
                  <a:lnTo>
                    <a:pt x="19" y="387"/>
                  </a:lnTo>
                  <a:lnTo>
                    <a:pt x="14" y="377"/>
                  </a:lnTo>
                  <a:lnTo>
                    <a:pt x="7" y="370"/>
                  </a:lnTo>
                  <a:lnTo>
                    <a:pt x="0" y="362"/>
                  </a:lnTo>
                  <a:lnTo>
                    <a:pt x="0" y="362"/>
                  </a:lnTo>
                  <a:lnTo>
                    <a:pt x="0" y="358"/>
                  </a:lnTo>
                  <a:lnTo>
                    <a:pt x="3" y="354"/>
                  </a:lnTo>
                  <a:lnTo>
                    <a:pt x="7" y="348"/>
                  </a:lnTo>
                  <a:lnTo>
                    <a:pt x="16" y="344"/>
                  </a:lnTo>
                  <a:lnTo>
                    <a:pt x="23" y="340"/>
                  </a:lnTo>
                  <a:lnTo>
                    <a:pt x="31" y="337"/>
                  </a:lnTo>
                  <a:lnTo>
                    <a:pt x="37" y="331"/>
                  </a:lnTo>
                  <a:lnTo>
                    <a:pt x="40" y="328"/>
                  </a:lnTo>
                  <a:lnTo>
                    <a:pt x="41" y="324"/>
                  </a:lnTo>
                  <a:lnTo>
                    <a:pt x="43" y="320"/>
                  </a:lnTo>
                  <a:lnTo>
                    <a:pt x="43" y="314"/>
                  </a:lnTo>
                  <a:lnTo>
                    <a:pt x="43" y="314"/>
                  </a:lnTo>
                  <a:lnTo>
                    <a:pt x="51" y="305"/>
                  </a:lnTo>
                  <a:lnTo>
                    <a:pt x="58" y="296"/>
                  </a:lnTo>
                  <a:lnTo>
                    <a:pt x="64" y="286"/>
                  </a:lnTo>
                  <a:lnTo>
                    <a:pt x="67" y="276"/>
                  </a:lnTo>
                  <a:lnTo>
                    <a:pt x="70" y="264"/>
                  </a:lnTo>
                  <a:lnTo>
                    <a:pt x="71" y="253"/>
                  </a:lnTo>
                  <a:lnTo>
                    <a:pt x="71" y="241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5" y="224"/>
                  </a:lnTo>
                  <a:lnTo>
                    <a:pt x="63" y="219"/>
                  </a:lnTo>
                  <a:lnTo>
                    <a:pt x="58" y="205"/>
                  </a:lnTo>
                  <a:lnTo>
                    <a:pt x="57" y="190"/>
                  </a:lnTo>
                  <a:lnTo>
                    <a:pt x="57" y="176"/>
                  </a:lnTo>
                  <a:lnTo>
                    <a:pt x="58" y="160"/>
                  </a:lnTo>
                  <a:lnTo>
                    <a:pt x="57" y="146"/>
                  </a:lnTo>
                  <a:lnTo>
                    <a:pt x="56" y="133"/>
                  </a:lnTo>
                  <a:lnTo>
                    <a:pt x="53" y="126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41" y="91"/>
                  </a:lnTo>
                  <a:lnTo>
                    <a:pt x="37" y="74"/>
                  </a:lnTo>
                  <a:lnTo>
                    <a:pt x="33" y="57"/>
                  </a:lnTo>
                  <a:lnTo>
                    <a:pt x="33" y="41"/>
                  </a:lnTo>
                  <a:lnTo>
                    <a:pt x="33" y="32"/>
                  </a:lnTo>
                  <a:lnTo>
                    <a:pt x="36" y="25"/>
                  </a:lnTo>
                  <a:lnTo>
                    <a:pt x="37" y="18"/>
                  </a:lnTo>
                  <a:lnTo>
                    <a:pt x="41" y="11"/>
                  </a:lnTo>
                  <a:lnTo>
                    <a:pt x="47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3"/>
                  </a:lnTo>
                  <a:lnTo>
                    <a:pt x="71" y="8"/>
                  </a:lnTo>
                  <a:lnTo>
                    <a:pt x="77" y="15"/>
                  </a:lnTo>
                  <a:lnTo>
                    <a:pt x="81" y="24"/>
                  </a:lnTo>
                  <a:lnTo>
                    <a:pt x="84" y="34"/>
                  </a:lnTo>
                  <a:lnTo>
                    <a:pt x="87" y="44"/>
                  </a:lnTo>
                  <a:lnTo>
                    <a:pt x="91" y="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" name="Freeform 374"/>
            <p:cNvSpPr>
              <a:spLocks/>
            </p:cNvSpPr>
            <p:nvPr/>
          </p:nvSpPr>
          <p:spPr bwMode="auto">
            <a:xfrm>
              <a:off x="7126" y="2317"/>
              <a:ext cx="131" cy="511"/>
            </a:xfrm>
            <a:custGeom>
              <a:avLst/>
              <a:gdLst>
                <a:gd name="T0" fmla="*/ 15 w 131"/>
                <a:gd name="T1" fmla="*/ 7 h 511"/>
                <a:gd name="T2" fmla="*/ 3 w 131"/>
                <a:gd name="T3" fmla="*/ 17 h 511"/>
                <a:gd name="T4" fmla="*/ 0 w 131"/>
                <a:gd name="T5" fmla="*/ 32 h 511"/>
                <a:gd name="T6" fmla="*/ 2 w 131"/>
                <a:gd name="T7" fmla="*/ 63 h 511"/>
                <a:gd name="T8" fmla="*/ 10 w 131"/>
                <a:gd name="T9" fmla="*/ 77 h 511"/>
                <a:gd name="T10" fmla="*/ 22 w 131"/>
                <a:gd name="T11" fmla="*/ 110 h 511"/>
                <a:gd name="T12" fmla="*/ 27 w 131"/>
                <a:gd name="T13" fmla="*/ 143 h 511"/>
                <a:gd name="T14" fmla="*/ 32 w 131"/>
                <a:gd name="T15" fmla="*/ 195 h 511"/>
                <a:gd name="T16" fmla="*/ 36 w 131"/>
                <a:gd name="T17" fmla="*/ 301 h 511"/>
                <a:gd name="T18" fmla="*/ 39 w 131"/>
                <a:gd name="T19" fmla="*/ 335 h 511"/>
                <a:gd name="T20" fmla="*/ 46 w 131"/>
                <a:gd name="T21" fmla="*/ 352 h 511"/>
                <a:gd name="T22" fmla="*/ 43 w 131"/>
                <a:gd name="T23" fmla="*/ 369 h 511"/>
                <a:gd name="T24" fmla="*/ 39 w 131"/>
                <a:gd name="T25" fmla="*/ 387 h 511"/>
                <a:gd name="T26" fmla="*/ 39 w 131"/>
                <a:gd name="T27" fmla="*/ 407 h 511"/>
                <a:gd name="T28" fmla="*/ 43 w 131"/>
                <a:gd name="T29" fmla="*/ 416 h 511"/>
                <a:gd name="T30" fmla="*/ 46 w 131"/>
                <a:gd name="T31" fmla="*/ 436 h 511"/>
                <a:gd name="T32" fmla="*/ 46 w 131"/>
                <a:gd name="T33" fmla="*/ 467 h 511"/>
                <a:gd name="T34" fmla="*/ 47 w 131"/>
                <a:gd name="T35" fmla="*/ 487 h 511"/>
                <a:gd name="T36" fmla="*/ 53 w 131"/>
                <a:gd name="T37" fmla="*/ 494 h 511"/>
                <a:gd name="T38" fmla="*/ 66 w 131"/>
                <a:gd name="T39" fmla="*/ 505 h 511"/>
                <a:gd name="T40" fmla="*/ 83 w 131"/>
                <a:gd name="T41" fmla="*/ 511 h 511"/>
                <a:gd name="T42" fmla="*/ 103 w 131"/>
                <a:gd name="T43" fmla="*/ 511 h 511"/>
                <a:gd name="T44" fmla="*/ 113 w 131"/>
                <a:gd name="T45" fmla="*/ 508 h 511"/>
                <a:gd name="T46" fmla="*/ 124 w 131"/>
                <a:gd name="T47" fmla="*/ 501 h 511"/>
                <a:gd name="T48" fmla="*/ 130 w 131"/>
                <a:gd name="T49" fmla="*/ 491 h 511"/>
                <a:gd name="T50" fmla="*/ 131 w 131"/>
                <a:gd name="T51" fmla="*/ 480 h 511"/>
                <a:gd name="T52" fmla="*/ 126 w 131"/>
                <a:gd name="T53" fmla="*/ 453 h 511"/>
                <a:gd name="T54" fmla="*/ 118 w 131"/>
                <a:gd name="T55" fmla="*/ 426 h 511"/>
                <a:gd name="T56" fmla="*/ 117 w 131"/>
                <a:gd name="T57" fmla="*/ 413 h 511"/>
                <a:gd name="T58" fmla="*/ 116 w 131"/>
                <a:gd name="T59" fmla="*/ 384 h 511"/>
                <a:gd name="T60" fmla="*/ 121 w 131"/>
                <a:gd name="T61" fmla="*/ 299 h 511"/>
                <a:gd name="T62" fmla="*/ 123 w 131"/>
                <a:gd name="T63" fmla="*/ 256 h 511"/>
                <a:gd name="T64" fmla="*/ 118 w 131"/>
                <a:gd name="T65" fmla="*/ 229 h 511"/>
                <a:gd name="T66" fmla="*/ 110 w 131"/>
                <a:gd name="T67" fmla="*/ 204 h 511"/>
                <a:gd name="T68" fmla="*/ 104 w 131"/>
                <a:gd name="T69" fmla="*/ 191 h 511"/>
                <a:gd name="T70" fmla="*/ 97 w 131"/>
                <a:gd name="T71" fmla="*/ 145 h 511"/>
                <a:gd name="T72" fmla="*/ 80 w 131"/>
                <a:gd name="T73" fmla="*/ 81 h 511"/>
                <a:gd name="T74" fmla="*/ 73 w 131"/>
                <a:gd name="T75" fmla="*/ 37 h 511"/>
                <a:gd name="T76" fmla="*/ 73 w 131"/>
                <a:gd name="T77" fmla="*/ 16 h 511"/>
                <a:gd name="T78" fmla="*/ 62 w 131"/>
                <a:gd name="T79" fmla="*/ 3 h 511"/>
                <a:gd name="T80" fmla="*/ 47 w 131"/>
                <a:gd name="T81" fmla="*/ 0 h 511"/>
                <a:gd name="T82" fmla="*/ 30 w 131"/>
                <a:gd name="T83" fmla="*/ 2 h 511"/>
                <a:gd name="T84" fmla="*/ 15 w 131"/>
                <a:gd name="T85" fmla="*/ 7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" h="511">
                  <a:moveTo>
                    <a:pt x="15" y="7"/>
                  </a:moveTo>
                  <a:lnTo>
                    <a:pt x="15" y="7"/>
                  </a:lnTo>
                  <a:lnTo>
                    <a:pt x="9" y="12"/>
                  </a:lnTo>
                  <a:lnTo>
                    <a:pt x="3" y="17"/>
                  </a:lnTo>
                  <a:lnTo>
                    <a:pt x="2" y="23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10" y="77"/>
                  </a:lnTo>
                  <a:lnTo>
                    <a:pt x="16" y="93"/>
                  </a:lnTo>
                  <a:lnTo>
                    <a:pt x="22" y="110"/>
                  </a:lnTo>
                  <a:lnTo>
                    <a:pt x="25" y="126"/>
                  </a:lnTo>
                  <a:lnTo>
                    <a:pt x="27" y="143"/>
                  </a:lnTo>
                  <a:lnTo>
                    <a:pt x="30" y="160"/>
                  </a:lnTo>
                  <a:lnTo>
                    <a:pt x="32" y="195"/>
                  </a:lnTo>
                  <a:lnTo>
                    <a:pt x="33" y="266"/>
                  </a:lnTo>
                  <a:lnTo>
                    <a:pt x="36" y="301"/>
                  </a:lnTo>
                  <a:lnTo>
                    <a:pt x="39" y="335"/>
                  </a:lnTo>
                  <a:lnTo>
                    <a:pt x="39" y="335"/>
                  </a:lnTo>
                  <a:lnTo>
                    <a:pt x="44" y="343"/>
                  </a:lnTo>
                  <a:lnTo>
                    <a:pt x="46" y="352"/>
                  </a:lnTo>
                  <a:lnTo>
                    <a:pt x="46" y="360"/>
                  </a:lnTo>
                  <a:lnTo>
                    <a:pt x="43" y="369"/>
                  </a:lnTo>
                  <a:lnTo>
                    <a:pt x="40" y="377"/>
                  </a:lnTo>
                  <a:lnTo>
                    <a:pt x="39" y="387"/>
                  </a:lnTo>
                  <a:lnTo>
                    <a:pt x="37" y="39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43" y="416"/>
                  </a:lnTo>
                  <a:lnTo>
                    <a:pt x="44" y="426"/>
                  </a:lnTo>
                  <a:lnTo>
                    <a:pt x="46" y="436"/>
                  </a:lnTo>
                  <a:lnTo>
                    <a:pt x="46" y="446"/>
                  </a:lnTo>
                  <a:lnTo>
                    <a:pt x="46" y="467"/>
                  </a:lnTo>
                  <a:lnTo>
                    <a:pt x="46" y="477"/>
                  </a:lnTo>
                  <a:lnTo>
                    <a:pt x="47" y="487"/>
                  </a:lnTo>
                  <a:lnTo>
                    <a:pt x="47" y="487"/>
                  </a:lnTo>
                  <a:lnTo>
                    <a:pt x="53" y="494"/>
                  </a:lnTo>
                  <a:lnTo>
                    <a:pt x="59" y="501"/>
                  </a:lnTo>
                  <a:lnTo>
                    <a:pt x="66" y="505"/>
                  </a:lnTo>
                  <a:lnTo>
                    <a:pt x="74" y="510"/>
                  </a:lnTo>
                  <a:lnTo>
                    <a:pt x="83" y="511"/>
                  </a:lnTo>
                  <a:lnTo>
                    <a:pt x="93" y="511"/>
                  </a:lnTo>
                  <a:lnTo>
                    <a:pt x="103" y="511"/>
                  </a:lnTo>
                  <a:lnTo>
                    <a:pt x="113" y="508"/>
                  </a:lnTo>
                  <a:lnTo>
                    <a:pt x="113" y="508"/>
                  </a:lnTo>
                  <a:lnTo>
                    <a:pt x="118" y="505"/>
                  </a:lnTo>
                  <a:lnTo>
                    <a:pt x="124" y="501"/>
                  </a:lnTo>
                  <a:lnTo>
                    <a:pt x="127" y="497"/>
                  </a:lnTo>
                  <a:lnTo>
                    <a:pt x="130" y="491"/>
                  </a:lnTo>
                  <a:lnTo>
                    <a:pt x="131" y="485"/>
                  </a:lnTo>
                  <a:lnTo>
                    <a:pt x="131" y="480"/>
                  </a:lnTo>
                  <a:lnTo>
                    <a:pt x="130" y="467"/>
                  </a:lnTo>
                  <a:lnTo>
                    <a:pt x="126" y="453"/>
                  </a:lnTo>
                  <a:lnTo>
                    <a:pt x="123" y="439"/>
                  </a:lnTo>
                  <a:lnTo>
                    <a:pt x="118" y="426"/>
                  </a:lnTo>
                  <a:lnTo>
                    <a:pt x="117" y="413"/>
                  </a:lnTo>
                  <a:lnTo>
                    <a:pt x="117" y="413"/>
                  </a:lnTo>
                  <a:lnTo>
                    <a:pt x="116" y="399"/>
                  </a:lnTo>
                  <a:lnTo>
                    <a:pt x="116" y="384"/>
                  </a:lnTo>
                  <a:lnTo>
                    <a:pt x="117" y="356"/>
                  </a:lnTo>
                  <a:lnTo>
                    <a:pt x="121" y="299"/>
                  </a:lnTo>
                  <a:lnTo>
                    <a:pt x="123" y="271"/>
                  </a:lnTo>
                  <a:lnTo>
                    <a:pt x="123" y="256"/>
                  </a:lnTo>
                  <a:lnTo>
                    <a:pt x="121" y="244"/>
                  </a:lnTo>
                  <a:lnTo>
                    <a:pt x="118" y="229"/>
                  </a:lnTo>
                  <a:lnTo>
                    <a:pt x="116" y="217"/>
                  </a:lnTo>
                  <a:lnTo>
                    <a:pt x="110" y="204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1" y="168"/>
                  </a:lnTo>
                  <a:lnTo>
                    <a:pt x="97" y="145"/>
                  </a:lnTo>
                  <a:lnTo>
                    <a:pt x="86" y="103"/>
                  </a:lnTo>
                  <a:lnTo>
                    <a:pt x="80" y="81"/>
                  </a:lnTo>
                  <a:lnTo>
                    <a:pt x="76" y="60"/>
                  </a:lnTo>
                  <a:lnTo>
                    <a:pt x="73" y="37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67" y="9"/>
                  </a:lnTo>
                  <a:lnTo>
                    <a:pt x="62" y="3"/>
                  </a:lnTo>
                  <a:lnTo>
                    <a:pt x="54" y="2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0" y="2"/>
                  </a:lnTo>
                  <a:lnTo>
                    <a:pt x="22" y="5"/>
                  </a:lnTo>
                  <a:lnTo>
                    <a:pt x="15" y="7"/>
                  </a:lnTo>
                  <a:lnTo>
                    <a:pt x="15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375"/>
            <p:cNvSpPr>
              <a:spLocks/>
            </p:cNvSpPr>
            <p:nvPr/>
          </p:nvSpPr>
          <p:spPr bwMode="auto">
            <a:xfrm>
              <a:off x="6983" y="2462"/>
              <a:ext cx="57" cy="35"/>
            </a:xfrm>
            <a:custGeom>
              <a:avLst/>
              <a:gdLst>
                <a:gd name="T0" fmla="*/ 0 w 57"/>
                <a:gd name="T1" fmla="*/ 28 h 35"/>
                <a:gd name="T2" fmla="*/ 0 w 57"/>
                <a:gd name="T3" fmla="*/ 28 h 35"/>
                <a:gd name="T4" fmla="*/ 10 w 57"/>
                <a:gd name="T5" fmla="*/ 30 h 35"/>
                <a:gd name="T6" fmla="*/ 18 w 57"/>
                <a:gd name="T7" fmla="*/ 33 h 35"/>
                <a:gd name="T8" fmla="*/ 28 w 57"/>
                <a:gd name="T9" fmla="*/ 35 h 35"/>
                <a:gd name="T10" fmla="*/ 38 w 57"/>
                <a:gd name="T11" fmla="*/ 32 h 35"/>
                <a:gd name="T12" fmla="*/ 38 w 57"/>
                <a:gd name="T13" fmla="*/ 32 h 35"/>
                <a:gd name="T14" fmla="*/ 45 w 57"/>
                <a:gd name="T15" fmla="*/ 28 h 35"/>
                <a:gd name="T16" fmla="*/ 52 w 57"/>
                <a:gd name="T17" fmla="*/ 19 h 35"/>
                <a:gd name="T18" fmla="*/ 55 w 57"/>
                <a:gd name="T19" fmla="*/ 15 h 35"/>
                <a:gd name="T20" fmla="*/ 57 w 57"/>
                <a:gd name="T21" fmla="*/ 10 h 35"/>
                <a:gd name="T22" fmla="*/ 55 w 57"/>
                <a:gd name="T23" fmla="*/ 5 h 35"/>
                <a:gd name="T24" fmla="*/ 54 w 57"/>
                <a:gd name="T25" fmla="*/ 0 h 35"/>
                <a:gd name="T26" fmla="*/ 54 w 57"/>
                <a:gd name="T27" fmla="*/ 0 h 35"/>
                <a:gd name="T28" fmla="*/ 37 w 57"/>
                <a:gd name="T29" fmla="*/ 2 h 35"/>
                <a:gd name="T30" fmla="*/ 30 w 57"/>
                <a:gd name="T31" fmla="*/ 3 h 35"/>
                <a:gd name="T32" fmla="*/ 21 w 57"/>
                <a:gd name="T33" fmla="*/ 6 h 35"/>
                <a:gd name="T34" fmla="*/ 14 w 57"/>
                <a:gd name="T35" fmla="*/ 9 h 35"/>
                <a:gd name="T36" fmla="*/ 8 w 57"/>
                <a:gd name="T37" fmla="*/ 13 h 35"/>
                <a:gd name="T38" fmla="*/ 4 w 57"/>
                <a:gd name="T39" fmla="*/ 19 h 35"/>
                <a:gd name="T40" fmla="*/ 0 w 57"/>
                <a:gd name="T41" fmla="*/ 28 h 35"/>
                <a:gd name="T42" fmla="*/ 0 w 57"/>
                <a:gd name="T43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5">
                  <a:moveTo>
                    <a:pt x="0" y="28"/>
                  </a:moveTo>
                  <a:lnTo>
                    <a:pt x="0" y="28"/>
                  </a:lnTo>
                  <a:lnTo>
                    <a:pt x="10" y="30"/>
                  </a:lnTo>
                  <a:lnTo>
                    <a:pt x="18" y="33"/>
                  </a:lnTo>
                  <a:lnTo>
                    <a:pt x="28" y="35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5" y="28"/>
                  </a:lnTo>
                  <a:lnTo>
                    <a:pt x="52" y="19"/>
                  </a:lnTo>
                  <a:lnTo>
                    <a:pt x="55" y="15"/>
                  </a:lnTo>
                  <a:lnTo>
                    <a:pt x="57" y="10"/>
                  </a:lnTo>
                  <a:lnTo>
                    <a:pt x="55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8" y="13"/>
                  </a:lnTo>
                  <a:lnTo>
                    <a:pt x="4" y="19"/>
                  </a:lnTo>
                  <a:lnTo>
                    <a:pt x="0" y="28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376"/>
            <p:cNvSpPr>
              <a:spLocks/>
            </p:cNvSpPr>
            <p:nvPr/>
          </p:nvSpPr>
          <p:spPr bwMode="auto">
            <a:xfrm>
              <a:off x="6205" y="2532"/>
              <a:ext cx="251" cy="340"/>
            </a:xfrm>
            <a:custGeom>
              <a:avLst/>
              <a:gdLst>
                <a:gd name="T0" fmla="*/ 207 w 251"/>
                <a:gd name="T1" fmla="*/ 6 h 340"/>
                <a:gd name="T2" fmla="*/ 180 w 251"/>
                <a:gd name="T3" fmla="*/ 2 h 340"/>
                <a:gd name="T4" fmla="*/ 156 w 251"/>
                <a:gd name="T5" fmla="*/ 2 h 340"/>
                <a:gd name="T6" fmla="*/ 133 w 251"/>
                <a:gd name="T7" fmla="*/ 6 h 340"/>
                <a:gd name="T8" fmla="*/ 110 w 251"/>
                <a:gd name="T9" fmla="*/ 16 h 340"/>
                <a:gd name="T10" fmla="*/ 69 w 251"/>
                <a:gd name="T11" fmla="*/ 39 h 340"/>
                <a:gd name="T12" fmla="*/ 28 w 251"/>
                <a:gd name="T13" fmla="*/ 64 h 340"/>
                <a:gd name="T14" fmla="*/ 21 w 251"/>
                <a:gd name="T15" fmla="*/ 73 h 340"/>
                <a:gd name="T16" fmla="*/ 9 w 251"/>
                <a:gd name="T17" fmla="*/ 88 h 340"/>
                <a:gd name="T18" fmla="*/ 4 w 251"/>
                <a:gd name="T19" fmla="*/ 107 h 340"/>
                <a:gd name="T20" fmla="*/ 0 w 251"/>
                <a:gd name="T21" fmla="*/ 137 h 340"/>
                <a:gd name="T22" fmla="*/ 1 w 251"/>
                <a:gd name="T23" fmla="*/ 181 h 340"/>
                <a:gd name="T24" fmla="*/ 2 w 251"/>
                <a:gd name="T25" fmla="*/ 224 h 340"/>
                <a:gd name="T26" fmla="*/ 5 w 251"/>
                <a:gd name="T27" fmla="*/ 235 h 340"/>
                <a:gd name="T28" fmla="*/ 7 w 251"/>
                <a:gd name="T29" fmla="*/ 273 h 340"/>
                <a:gd name="T30" fmla="*/ 11 w 251"/>
                <a:gd name="T31" fmla="*/ 296 h 340"/>
                <a:gd name="T32" fmla="*/ 19 w 251"/>
                <a:gd name="T33" fmla="*/ 312 h 340"/>
                <a:gd name="T34" fmla="*/ 24 w 251"/>
                <a:gd name="T35" fmla="*/ 317 h 340"/>
                <a:gd name="T36" fmla="*/ 42 w 251"/>
                <a:gd name="T37" fmla="*/ 327 h 340"/>
                <a:gd name="T38" fmla="*/ 62 w 251"/>
                <a:gd name="T39" fmla="*/ 334 h 340"/>
                <a:gd name="T40" fmla="*/ 106 w 251"/>
                <a:gd name="T41" fmla="*/ 340 h 340"/>
                <a:gd name="T42" fmla="*/ 153 w 251"/>
                <a:gd name="T43" fmla="*/ 339 h 340"/>
                <a:gd name="T44" fmla="*/ 197 w 251"/>
                <a:gd name="T45" fmla="*/ 332 h 340"/>
                <a:gd name="T46" fmla="*/ 211 w 251"/>
                <a:gd name="T47" fmla="*/ 327 h 340"/>
                <a:gd name="T48" fmla="*/ 237 w 251"/>
                <a:gd name="T49" fmla="*/ 313 h 340"/>
                <a:gd name="T50" fmla="*/ 248 w 251"/>
                <a:gd name="T51" fmla="*/ 305 h 340"/>
                <a:gd name="T52" fmla="*/ 251 w 251"/>
                <a:gd name="T53" fmla="*/ 293 h 340"/>
                <a:gd name="T54" fmla="*/ 247 w 251"/>
                <a:gd name="T55" fmla="*/ 285 h 340"/>
                <a:gd name="T56" fmla="*/ 244 w 251"/>
                <a:gd name="T57" fmla="*/ 283 h 340"/>
                <a:gd name="T58" fmla="*/ 207 w 251"/>
                <a:gd name="T59" fmla="*/ 285 h 340"/>
                <a:gd name="T60" fmla="*/ 173 w 251"/>
                <a:gd name="T61" fmla="*/ 293 h 340"/>
                <a:gd name="T62" fmla="*/ 162 w 251"/>
                <a:gd name="T63" fmla="*/ 296 h 340"/>
                <a:gd name="T64" fmla="*/ 139 w 251"/>
                <a:gd name="T65" fmla="*/ 296 h 340"/>
                <a:gd name="T66" fmla="*/ 118 w 251"/>
                <a:gd name="T67" fmla="*/ 292 h 340"/>
                <a:gd name="T68" fmla="*/ 98 w 251"/>
                <a:gd name="T69" fmla="*/ 283 h 340"/>
                <a:gd name="T70" fmla="*/ 88 w 251"/>
                <a:gd name="T71" fmla="*/ 278 h 340"/>
                <a:gd name="T72" fmla="*/ 78 w 251"/>
                <a:gd name="T73" fmla="*/ 259 h 340"/>
                <a:gd name="T74" fmla="*/ 75 w 251"/>
                <a:gd name="T75" fmla="*/ 243 h 340"/>
                <a:gd name="T76" fmla="*/ 76 w 251"/>
                <a:gd name="T77" fmla="*/ 238 h 340"/>
                <a:gd name="T78" fmla="*/ 75 w 251"/>
                <a:gd name="T79" fmla="*/ 194 h 340"/>
                <a:gd name="T80" fmla="*/ 72 w 251"/>
                <a:gd name="T81" fmla="*/ 148 h 340"/>
                <a:gd name="T82" fmla="*/ 74 w 251"/>
                <a:gd name="T83" fmla="*/ 115 h 340"/>
                <a:gd name="T84" fmla="*/ 79 w 251"/>
                <a:gd name="T85" fmla="*/ 95 h 340"/>
                <a:gd name="T86" fmla="*/ 89 w 251"/>
                <a:gd name="T87" fmla="*/ 77 h 340"/>
                <a:gd name="T88" fmla="*/ 96 w 251"/>
                <a:gd name="T89" fmla="*/ 68 h 340"/>
                <a:gd name="T90" fmla="*/ 103 w 251"/>
                <a:gd name="T91" fmla="*/ 60 h 340"/>
                <a:gd name="T92" fmla="*/ 123 w 251"/>
                <a:gd name="T93" fmla="*/ 51 h 340"/>
                <a:gd name="T94" fmla="*/ 145 w 251"/>
                <a:gd name="T95" fmla="*/ 47 h 340"/>
                <a:gd name="T96" fmla="*/ 166 w 251"/>
                <a:gd name="T97" fmla="*/ 39 h 340"/>
                <a:gd name="T98" fmla="*/ 173 w 251"/>
                <a:gd name="T99" fmla="*/ 31 h 340"/>
                <a:gd name="T100" fmla="*/ 179 w 251"/>
                <a:gd name="T101" fmla="*/ 29 h 340"/>
                <a:gd name="T102" fmla="*/ 199 w 251"/>
                <a:gd name="T103" fmla="*/ 31 h 340"/>
                <a:gd name="T104" fmla="*/ 209 w 251"/>
                <a:gd name="T105" fmla="*/ 30 h 340"/>
                <a:gd name="T106" fmla="*/ 213 w 251"/>
                <a:gd name="T107" fmla="*/ 27 h 340"/>
                <a:gd name="T108" fmla="*/ 207 w 251"/>
                <a:gd name="T109" fmla="*/ 6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1" h="340">
                  <a:moveTo>
                    <a:pt x="207" y="6"/>
                  </a:moveTo>
                  <a:lnTo>
                    <a:pt x="207" y="6"/>
                  </a:lnTo>
                  <a:lnTo>
                    <a:pt x="193" y="3"/>
                  </a:lnTo>
                  <a:lnTo>
                    <a:pt x="180" y="2"/>
                  </a:lnTo>
                  <a:lnTo>
                    <a:pt x="167" y="0"/>
                  </a:lnTo>
                  <a:lnTo>
                    <a:pt x="156" y="2"/>
                  </a:lnTo>
                  <a:lnTo>
                    <a:pt x="145" y="3"/>
                  </a:lnTo>
                  <a:lnTo>
                    <a:pt x="133" y="6"/>
                  </a:lnTo>
                  <a:lnTo>
                    <a:pt x="122" y="10"/>
                  </a:lnTo>
                  <a:lnTo>
                    <a:pt x="110" y="16"/>
                  </a:lnTo>
                  <a:lnTo>
                    <a:pt x="89" y="26"/>
                  </a:lnTo>
                  <a:lnTo>
                    <a:pt x="69" y="39"/>
                  </a:lnTo>
                  <a:lnTo>
                    <a:pt x="49" y="5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1" y="73"/>
                  </a:lnTo>
                  <a:lnTo>
                    <a:pt x="15" y="80"/>
                  </a:lnTo>
                  <a:lnTo>
                    <a:pt x="9" y="88"/>
                  </a:lnTo>
                  <a:lnTo>
                    <a:pt x="7" y="98"/>
                  </a:lnTo>
                  <a:lnTo>
                    <a:pt x="4" y="107"/>
                  </a:lnTo>
                  <a:lnTo>
                    <a:pt x="1" y="117"/>
                  </a:lnTo>
                  <a:lnTo>
                    <a:pt x="0" y="137"/>
                  </a:lnTo>
                  <a:lnTo>
                    <a:pt x="1" y="158"/>
                  </a:lnTo>
                  <a:lnTo>
                    <a:pt x="1" y="181"/>
                  </a:lnTo>
                  <a:lnTo>
                    <a:pt x="2" y="202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5" y="235"/>
                  </a:lnTo>
                  <a:lnTo>
                    <a:pt x="7" y="248"/>
                  </a:lnTo>
                  <a:lnTo>
                    <a:pt x="7" y="273"/>
                  </a:lnTo>
                  <a:lnTo>
                    <a:pt x="8" y="285"/>
                  </a:lnTo>
                  <a:lnTo>
                    <a:pt x="11" y="296"/>
                  </a:lnTo>
                  <a:lnTo>
                    <a:pt x="15" y="307"/>
                  </a:lnTo>
                  <a:lnTo>
                    <a:pt x="19" y="312"/>
                  </a:lnTo>
                  <a:lnTo>
                    <a:pt x="24" y="317"/>
                  </a:lnTo>
                  <a:lnTo>
                    <a:pt x="24" y="317"/>
                  </a:lnTo>
                  <a:lnTo>
                    <a:pt x="32" y="323"/>
                  </a:lnTo>
                  <a:lnTo>
                    <a:pt x="42" y="327"/>
                  </a:lnTo>
                  <a:lnTo>
                    <a:pt x="51" y="332"/>
                  </a:lnTo>
                  <a:lnTo>
                    <a:pt x="62" y="334"/>
                  </a:lnTo>
                  <a:lnTo>
                    <a:pt x="83" y="339"/>
                  </a:lnTo>
                  <a:lnTo>
                    <a:pt x="106" y="340"/>
                  </a:lnTo>
                  <a:lnTo>
                    <a:pt x="130" y="340"/>
                  </a:lnTo>
                  <a:lnTo>
                    <a:pt x="153" y="339"/>
                  </a:lnTo>
                  <a:lnTo>
                    <a:pt x="176" y="336"/>
                  </a:lnTo>
                  <a:lnTo>
                    <a:pt x="197" y="332"/>
                  </a:lnTo>
                  <a:lnTo>
                    <a:pt x="197" y="332"/>
                  </a:lnTo>
                  <a:lnTo>
                    <a:pt x="211" y="327"/>
                  </a:lnTo>
                  <a:lnTo>
                    <a:pt x="224" y="320"/>
                  </a:lnTo>
                  <a:lnTo>
                    <a:pt x="237" y="313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51" y="299"/>
                  </a:lnTo>
                  <a:lnTo>
                    <a:pt x="251" y="293"/>
                  </a:lnTo>
                  <a:lnTo>
                    <a:pt x="250" y="288"/>
                  </a:lnTo>
                  <a:lnTo>
                    <a:pt x="247" y="285"/>
                  </a:lnTo>
                  <a:lnTo>
                    <a:pt x="244" y="283"/>
                  </a:lnTo>
                  <a:lnTo>
                    <a:pt x="244" y="283"/>
                  </a:lnTo>
                  <a:lnTo>
                    <a:pt x="226" y="283"/>
                  </a:lnTo>
                  <a:lnTo>
                    <a:pt x="207" y="285"/>
                  </a:lnTo>
                  <a:lnTo>
                    <a:pt x="190" y="288"/>
                  </a:lnTo>
                  <a:lnTo>
                    <a:pt x="173" y="293"/>
                  </a:lnTo>
                  <a:lnTo>
                    <a:pt x="173" y="293"/>
                  </a:lnTo>
                  <a:lnTo>
                    <a:pt x="162" y="296"/>
                  </a:lnTo>
                  <a:lnTo>
                    <a:pt x="150" y="296"/>
                  </a:lnTo>
                  <a:lnTo>
                    <a:pt x="139" y="296"/>
                  </a:lnTo>
                  <a:lnTo>
                    <a:pt x="128" y="295"/>
                  </a:lnTo>
                  <a:lnTo>
                    <a:pt x="118" y="292"/>
                  </a:lnTo>
                  <a:lnTo>
                    <a:pt x="108" y="288"/>
                  </a:lnTo>
                  <a:lnTo>
                    <a:pt x="98" y="283"/>
                  </a:lnTo>
                  <a:lnTo>
                    <a:pt x="88" y="278"/>
                  </a:lnTo>
                  <a:lnTo>
                    <a:pt x="88" y="278"/>
                  </a:lnTo>
                  <a:lnTo>
                    <a:pt x="82" y="269"/>
                  </a:lnTo>
                  <a:lnTo>
                    <a:pt x="78" y="259"/>
                  </a:lnTo>
                  <a:lnTo>
                    <a:pt x="75" y="249"/>
                  </a:lnTo>
                  <a:lnTo>
                    <a:pt x="75" y="243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6" y="216"/>
                  </a:lnTo>
                  <a:lnTo>
                    <a:pt x="75" y="194"/>
                  </a:lnTo>
                  <a:lnTo>
                    <a:pt x="74" y="171"/>
                  </a:lnTo>
                  <a:lnTo>
                    <a:pt x="72" y="148"/>
                  </a:lnTo>
                  <a:lnTo>
                    <a:pt x="74" y="125"/>
                  </a:lnTo>
                  <a:lnTo>
                    <a:pt x="74" y="115"/>
                  </a:lnTo>
                  <a:lnTo>
                    <a:pt x="76" y="105"/>
                  </a:lnTo>
                  <a:lnTo>
                    <a:pt x="79" y="95"/>
                  </a:lnTo>
                  <a:lnTo>
                    <a:pt x="83" y="86"/>
                  </a:lnTo>
                  <a:lnTo>
                    <a:pt x="89" y="77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101" y="64"/>
                  </a:lnTo>
                  <a:lnTo>
                    <a:pt x="103" y="60"/>
                  </a:lnTo>
                  <a:lnTo>
                    <a:pt x="113" y="54"/>
                  </a:lnTo>
                  <a:lnTo>
                    <a:pt x="123" y="51"/>
                  </a:lnTo>
                  <a:lnTo>
                    <a:pt x="135" y="49"/>
                  </a:lnTo>
                  <a:lnTo>
                    <a:pt x="145" y="47"/>
                  </a:lnTo>
                  <a:lnTo>
                    <a:pt x="156" y="44"/>
                  </a:lnTo>
                  <a:lnTo>
                    <a:pt x="166" y="39"/>
                  </a:lnTo>
                  <a:lnTo>
                    <a:pt x="170" y="36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9" y="29"/>
                  </a:lnTo>
                  <a:lnTo>
                    <a:pt x="186" y="29"/>
                  </a:lnTo>
                  <a:lnTo>
                    <a:pt x="199" y="31"/>
                  </a:lnTo>
                  <a:lnTo>
                    <a:pt x="204" y="31"/>
                  </a:lnTo>
                  <a:lnTo>
                    <a:pt x="209" y="30"/>
                  </a:lnTo>
                  <a:lnTo>
                    <a:pt x="211" y="29"/>
                  </a:lnTo>
                  <a:lnTo>
                    <a:pt x="213" y="27"/>
                  </a:lnTo>
                  <a:lnTo>
                    <a:pt x="213" y="19"/>
                  </a:lnTo>
                  <a:lnTo>
                    <a:pt x="207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" name="Freeform 377"/>
            <p:cNvSpPr>
              <a:spLocks/>
            </p:cNvSpPr>
            <p:nvPr/>
          </p:nvSpPr>
          <p:spPr bwMode="auto">
            <a:xfrm>
              <a:off x="6930" y="2569"/>
              <a:ext cx="110" cy="295"/>
            </a:xfrm>
            <a:custGeom>
              <a:avLst/>
              <a:gdLst>
                <a:gd name="T0" fmla="*/ 73 w 110"/>
                <a:gd name="T1" fmla="*/ 0 h 295"/>
                <a:gd name="T2" fmla="*/ 73 w 110"/>
                <a:gd name="T3" fmla="*/ 0 h 295"/>
                <a:gd name="T4" fmla="*/ 67 w 110"/>
                <a:gd name="T5" fmla="*/ 2 h 295"/>
                <a:gd name="T6" fmla="*/ 61 w 110"/>
                <a:gd name="T7" fmla="*/ 4 h 295"/>
                <a:gd name="T8" fmla="*/ 57 w 110"/>
                <a:gd name="T9" fmla="*/ 7 h 295"/>
                <a:gd name="T10" fmla="*/ 54 w 110"/>
                <a:gd name="T11" fmla="*/ 12 h 295"/>
                <a:gd name="T12" fmla="*/ 48 w 110"/>
                <a:gd name="T13" fmla="*/ 20 h 295"/>
                <a:gd name="T14" fmla="*/ 43 w 110"/>
                <a:gd name="T15" fmla="*/ 30 h 295"/>
                <a:gd name="T16" fmla="*/ 43 w 110"/>
                <a:gd name="T17" fmla="*/ 30 h 295"/>
                <a:gd name="T18" fmla="*/ 44 w 110"/>
                <a:gd name="T19" fmla="*/ 57 h 295"/>
                <a:gd name="T20" fmla="*/ 41 w 110"/>
                <a:gd name="T21" fmla="*/ 83 h 295"/>
                <a:gd name="T22" fmla="*/ 37 w 110"/>
                <a:gd name="T23" fmla="*/ 108 h 295"/>
                <a:gd name="T24" fmla="*/ 33 w 110"/>
                <a:gd name="T25" fmla="*/ 132 h 295"/>
                <a:gd name="T26" fmla="*/ 26 w 110"/>
                <a:gd name="T27" fmla="*/ 157 h 295"/>
                <a:gd name="T28" fmla="*/ 17 w 110"/>
                <a:gd name="T29" fmla="*/ 181 h 295"/>
                <a:gd name="T30" fmla="*/ 0 w 110"/>
                <a:gd name="T31" fmla="*/ 225 h 295"/>
                <a:gd name="T32" fmla="*/ 0 w 110"/>
                <a:gd name="T33" fmla="*/ 225 h 295"/>
                <a:gd name="T34" fmla="*/ 3 w 110"/>
                <a:gd name="T35" fmla="*/ 245 h 295"/>
                <a:gd name="T36" fmla="*/ 7 w 110"/>
                <a:gd name="T37" fmla="*/ 265 h 295"/>
                <a:gd name="T38" fmla="*/ 11 w 110"/>
                <a:gd name="T39" fmla="*/ 273 h 295"/>
                <a:gd name="T40" fmla="*/ 16 w 110"/>
                <a:gd name="T41" fmla="*/ 280 h 295"/>
                <a:gd name="T42" fmla="*/ 21 w 110"/>
                <a:gd name="T43" fmla="*/ 288 h 295"/>
                <a:gd name="T44" fmla="*/ 28 w 110"/>
                <a:gd name="T45" fmla="*/ 292 h 295"/>
                <a:gd name="T46" fmla="*/ 28 w 110"/>
                <a:gd name="T47" fmla="*/ 292 h 295"/>
                <a:gd name="T48" fmla="*/ 36 w 110"/>
                <a:gd name="T49" fmla="*/ 295 h 295"/>
                <a:gd name="T50" fmla="*/ 44 w 110"/>
                <a:gd name="T51" fmla="*/ 295 h 295"/>
                <a:gd name="T52" fmla="*/ 51 w 110"/>
                <a:gd name="T53" fmla="*/ 295 h 295"/>
                <a:gd name="T54" fmla="*/ 58 w 110"/>
                <a:gd name="T55" fmla="*/ 293 h 295"/>
                <a:gd name="T56" fmla="*/ 65 w 110"/>
                <a:gd name="T57" fmla="*/ 290 h 295"/>
                <a:gd name="T58" fmla="*/ 71 w 110"/>
                <a:gd name="T59" fmla="*/ 286 h 295"/>
                <a:gd name="T60" fmla="*/ 77 w 110"/>
                <a:gd name="T61" fmla="*/ 282 h 295"/>
                <a:gd name="T62" fmla="*/ 81 w 110"/>
                <a:gd name="T63" fmla="*/ 276 h 295"/>
                <a:gd name="T64" fmla="*/ 81 w 110"/>
                <a:gd name="T65" fmla="*/ 276 h 295"/>
                <a:gd name="T66" fmla="*/ 83 w 110"/>
                <a:gd name="T67" fmla="*/ 270 h 295"/>
                <a:gd name="T68" fmla="*/ 84 w 110"/>
                <a:gd name="T69" fmla="*/ 266 h 295"/>
                <a:gd name="T70" fmla="*/ 84 w 110"/>
                <a:gd name="T71" fmla="*/ 262 h 295"/>
                <a:gd name="T72" fmla="*/ 84 w 110"/>
                <a:gd name="T73" fmla="*/ 258 h 295"/>
                <a:gd name="T74" fmla="*/ 81 w 110"/>
                <a:gd name="T75" fmla="*/ 249 h 295"/>
                <a:gd name="T76" fmla="*/ 77 w 110"/>
                <a:gd name="T77" fmla="*/ 242 h 295"/>
                <a:gd name="T78" fmla="*/ 71 w 110"/>
                <a:gd name="T79" fmla="*/ 235 h 295"/>
                <a:gd name="T80" fmla="*/ 68 w 110"/>
                <a:gd name="T81" fmla="*/ 226 h 295"/>
                <a:gd name="T82" fmla="*/ 67 w 110"/>
                <a:gd name="T83" fmla="*/ 222 h 295"/>
                <a:gd name="T84" fmla="*/ 67 w 110"/>
                <a:gd name="T85" fmla="*/ 218 h 295"/>
                <a:gd name="T86" fmla="*/ 68 w 110"/>
                <a:gd name="T87" fmla="*/ 214 h 295"/>
                <a:gd name="T88" fmla="*/ 70 w 110"/>
                <a:gd name="T89" fmla="*/ 209 h 295"/>
                <a:gd name="T90" fmla="*/ 70 w 110"/>
                <a:gd name="T91" fmla="*/ 209 h 295"/>
                <a:gd name="T92" fmla="*/ 81 w 110"/>
                <a:gd name="T93" fmla="*/ 188 h 295"/>
                <a:gd name="T94" fmla="*/ 90 w 110"/>
                <a:gd name="T95" fmla="*/ 167 h 295"/>
                <a:gd name="T96" fmla="*/ 98 w 110"/>
                <a:gd name="T97" fmla="*/ 145 h 295"/>
                <a:gd name="T98" fmla="*/ 102 w 110"/>
                <a:gd name="T99" fmla="*/ 122 h 295"/>
                <a:gd name="T100" fmla="*/ 107 w 110"/>
                <a:gd name="T101" fmla="*/ 98 h 295"/>
                <a:gd name="T102" fmla="*/ 110 w 110"/>
                <a:gd name="T103" fmla="*/ 74 h 295"/>
                <a:gd name="T104" fmla="*/ 110 w 110"/>
                <a:gd name="T105" fmla="*/ 50 h 295"/>
                <a:gd name="T106" fmla="*/ 108 w 110"/>
                <a:gd name="T107" fmla="*/ 24 h 295"/>
                <a:gd name="T108" fmla="*/ 108 w 110"/>
                <a:gd name="T109" fmla="*/ 24 h 295"/>
                <a:gd name="T110" fmla="*/ 105 w 110"/>
                <a:gd name="T111" fmla="*/ 17 h 295"/>
                <a:gd name="T112" fmla="*/ 102 w 110"/>
                <a:gd name="T113" fmla="*/ 13 h 295"/>
                <a:gd name="T114" fmla="*/ 100 w 110"/>
                <a:gd name="T115" fmla="*/ 9 h 295"/>
                <a:gd name="T116" fmla="*/ 95 w 110"/>
                <a:gd name="T117" fmla="*/ 6 h 295"/>
                <a:gd name="T118" fmla="*/ 90 w 110"/>
                <a:gd name="T119" fmla="*/ 3 h 295"/>
                <a:gd name="T120" fmla="*/ 84 w 110"/>
                <a:gd name="T121" fmla="*/ 2 h 295"/>
                <a:gd name="T122" fmla="*/ 73 w 110"/>
                <a:gd name="T123" fmla="*/ 0 h 295"/>
                <a:gd name="T124" fmla="*/ 73 w 110"/>
                <a:gd name="T125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0" h="295">
                  <a:moveTo>
                    <a:pt x="73" y="0"/>
                  </a:moveTo>
                  <a:lnTo>
                    <a:pt x="73" y="0"/>
                  </a:lnTo>
                  <a:lnTo>
                    <a:pt x="67" y="2"/>
                  </a:lnTo>
                  <a:lnTo>
                    <a:pt x="61" y="4"/>
                  </a:lnTo>
                  <a:lnTo>
                    <a:pt x="57" y="7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4" y="57"/>
                  </a:lnTo>
                  <a:lnTo>
                    <a:pt x="41" y="83"/>
                  </a:lnTo>
                  <a:lnTo>
                    <a:pt x="37" y="108"/>
                  </a:lnTo>
                  <a:lnTo>
                    <a:pt x="33" y="132"/>
                  </a:lnTo>
                  <a:lnTo>
                    <a:pt x="26" y="157"/>
                  </a:lnTo>
                  <a:lnTo>
                    <a:pt x="17" y="181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3" y="245"/>
                  </a:lnTo>
                  <a:lnTo>
                    <a:pt x="7" y="265"/>
                  </a:lnTo>
                  <a:lnTo>
                    <a:pt x="11" y="273"/>
                  </a:lnTo>
                  <a:lnTo>
                    <a:pt x="16" y="280"/>
                  </a:lnTo>
                  <a:lnTo>
                    <a:pt x="21" y="288"/>
                  </a:lnTo>
                  <a:lnTo>
                    <a:pt x="28" y="292"/>
                  </a:lnTo>
                  <a:lnTo>
                    <a:pt x="28" y="292"/>
                  </a:lnTo>
                  <a:lnTo>
                    <a:pt x="36" y="295"/>
                  </a:lnTo>
                  <a:lnTo>
                    <a:pt x="44" y="295"/>
                  </a:lnTo>
                  <a:lnTo>
                    <a:pt x="51" y="295"/>
                  </a:lnTo>
                  <a:lnTo>
                    <a:pt x="58" y="293"/>
                  </a:lnTo>
                  <a:lnTo>
                    <a:pt x="65" y="290"/>
                  </a:lnTo>
                  <a:lnTo>
                    <a:pt x="71" y="286"/>
                  </a:lnTo>
                  <a:lnTo>
                    <a:pt x="77" y="282"/>
                  </a:lnTo>
                  <a:lnTo>
                    <a:pt x="81" y="276"/>
                  </a:lnTo>
                  <a:lnTo>
                    <a:pt x="81" y="276"/>
                  </a:lnTo>
                  <a:lnTo>
                    <a:pt x="83" y="270"/>
                  </a:lnTo>
                  <a:lnTo>
                    <a:pt x="84" y="266"/>
                  </a:lnTo>
                  <a:lnTo>
                    <a:pt x="84" y="262"/>
                  </a:lnTo>
                  <a:lnTo>
                    <a:pt x="84" y="258"/>
                  </a:lnTo>
                  <a:lnTo>
                    <a:pt x="81" y="249"/>
                  </a:lnTo>
                  <a:lnTo>
                    <a:pt x="77" y="242"/>
                  </a:lnTo>
                  <a:lnTo>
                    <a:pt x="71" y="235"/>
                  </a:lnTo>
                  <a:lnTo>
                    <a:pt x="68" y="226"/>
                  </a:lnTo>
                  <a:lnTo>
                    <a:pt x="67" y="222"/>
                  </a:lnTo>
                  <a:lnTo>
                    <a:pt x="67" y="218"/>
                  </a:lnTo>
                  <a:lnTo>
                    <a:pt x="68" y="214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81" y="188"/>
                  </a:lnTo>
                  <a:lnTo>
                    <a:pt x="90" y="167"/>
                  </a:lnTo>
                  <a:lnTo>
                    <a:pt x="98" y="145"/>
                  </a:lnTo>
                  <a:lnTo>
                    <a:pt x="102" y="122"/>
                  </a:lnTo>
                  <a:lnTo>
                    <a:pt x="107" y="98"/>
                  </a:lnTo>
                  <a:lnTo>
                    <a:pt x="110" y="74"/>
                  </a:lnTo>
                  <a:lnTo>
                    <a:pt x="110" y="50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5" y="17"/>
                  </a:lnTo>
                  <a:lnTo>
                    <a:pt x="102" y="13"/>
                  </a:lnTo>
                  <a:lnTo>
                    <a:pt x="100" y="9"/>
                  </a:lnTo>
                  <a:lnTo>
                    <a:pt x="95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3" y="0"/>
                  </a:lnTo>
                  <a:lnTo>
                    <a:pt x="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378"/>
            <p:cNvSpPr>
              <a:spLocks/>
            </p:cNvSpPr>
            <p:nvPr/>
          </p:nvSpPr>
          <p:spPr bwMode="auto">
            <a:xfrm>
              <a:off x="7382" y="2317"/>
              <a:ext cx="375" cy="548"/>
            </a:xfrm>
            <a:custGeom>
              <a:avLst/>
              <a:gdLst>
                <a:gd name="T0" fmla="*/ 306 w 375"/>
                <a:gd name="T1" fmla="*/ 3 h 548"/>
                <a:gd name="T2" fmla="*/ 296 w 375"/>
                <a:gd name="T3" fmla="*/ 17 h 548"/>
                <a:gd name="T4" fmla="*/ 292 w 375"/>
                <a:gd name="T5" fmla="*/ 63 h 548"/>
                <a:gd name="T6" fmla="*/ 303 w 375"/>
                <a:gd name="T7" fmla="*/ 214 h 548"/>
                <a:gd name="T8" fmla="*/ 305 w 375"/>
                <a:gd name="T9" fmla="*/ 323 h 548"/>
                <a:gd name="T10" fmla="*/ 295 w 375"/>
                <a:gd name="T11" fmla="*/ 329 h 548"/>
                <a:gd name="T12" fmla="*/ 284 w 375"/>
                <a:gd name="T13" fmla="*/ 325 h 548"/>
                <a:gd name="T14" fmla="*/ 239 w 375"/>
                <a:gd name="T15" fmla="*/ 278 h 548"/>
                <a:gd name="T16" fmla="*/ 235 w 375"/>
                <a:gd name="T17" fmla="*/ 268 h 548"/>
                <a:gd name="T18" fmla="*/ 215 w 375"/>
                <a:gd name="T19" fmla="*/ 258 h 548"/>
                <a:gd name="T20" fmla="*/ 184 w 375"/>
                <a:gd name="T21" fmla="*/ 255 h 548"/>
                <a:gd name="T22" fmla="*/ 167 w 375"/>
                <a:gd name="T23" fmla="*/ 264 h 548"/>
                <a:gd name="T24" fmla="*/ 130 w 375"/>
                <a:gd name="T25" fmla="*/ 268 h 548"/>
                <a:gd name="T26" fmla="*/ 87 w 375"/>
                <a:gd name="T27" fmla="*/ 279 h 548"/>
                <a:gd name="T28" fmla="*/ 27 w 375"/>
                <a:gd name="T29" fmla="*/ 309 h 548"/>
                <a:gd name="T30" fmla="*/ 8 w 375"/>
                <a:gd name="T31" fmla="*/ 363 h 548"/>
                <a:gd name="T32" fmla="*/ 0 w 375"/>
                <a:gd name="T33" fmla="*/ 409 h 548"/>
                <a:gd name="T34" fmla="*/ 6 w 375"/>
                <a:gd name="T35" fmla="*/ 441 h 548"/>
                <a:gd name="T36" fmla="*/ 25 w 375"/>
                <a:gd name="T37" fmla="*/ 480 h 548"/>
                <a:gd name="T38" fmla="*/ 29 w 375"/>
                <a:gd name="T39" fmla="*/ 495 h 548"/>
                <a:gd name="T40" fmla="*/ 40 w 375"/>
                <a:gd name="T41" fmla="*/ 505 h 548"/>
                <a:gd name="T42" fmla="*/ 60 w 375"/>
                <a:gd name="T43" fmla="*/ 508 h 548"/>
                <a:gd name="T44" fmla="*/ 133 w 375"/>
                <a:gd name="T45" fmla="*/ 541 h 548"/>
                <a:gd name="T46" fmla="*/ 192 w 375"/>
                <a:gd name="T47" fmla="*/ 548 h 548"/>
                <a:gd name="T48" fmla="*/ 222 w 375"/>
                <a:gd name="T49" fmla="*/ 544 h 548"/>
                <a:gd name="T50" fmla="*/ 241 w 375"/>
                <a:gd name="T51" fmla="*/ 532 h 548"/>
                <a:gd name="T52" fmla="*/ 261 w 375"/>
                <a:gd name="T53" fmla="*/ 508 h 548"/>
                <a:gd name="T54" fmla="*/ 278 w 375"/>
                <a:gd name="T55" fmla="*/ 508 h 548"/>
                <a:gd name="T56" fmla="*/ 301 w 375"/>
                <a:gd name="T57" fmla="*/ 522 h 548"/>
                <a:gd name="T58" fmla="*/ 325 w 375"/>
                <a:gd name="T59" fmla="*/ 544 h 548"/>
                <a:gd name="T60" fmla="*/ 336 w 375"/>
                <a:gd name="T61" fmla="*/ 547 h 548"/>
                <a:gd name="T62" fmla="*/ 363 w 375"/>
                <a:gd name="T63" fmla="*/ 538 h 548"/>
                <a:gd name="T64" fmla="*/ 375 w 375"/>
                <a:gd name="T65" fmla="*/ 525 h 548"/>
                <a:gd name="T66" fmla="*/ 370 w 375"/>
                <a:gd name="T67" fmla="*/ 504 h 548"/>
                <a:gd name="T68" fmla="*/ 356 w 375"/>
                <a:gd name="T69" fmla="*/ 464 h 548"/>
                <a:gd name="T70" fmla="*/ 355 w 375"/>
                <a:gd name="T71" fmla="*/ 443 h 548"/>
                <a:gd name="T72" fmla="*/ 365 w 375"/>
                <a:gd name="T73" fmla="*/ 325 h 548"/>
                <a:gd name="T74" fmla="*/ 363 w 375"/>
                <a:gd name="T75" fmla="*/ 204 h 548"/>
                <a:gd name="T76" fmla="*/ 356 w 375"/>
                <a:gd name="T77" fmla="*/ 126 h 548"/>
                <a:gd name="T78" fmla="*/ 345 w 375"/>
                <a:gd name="T79" fmla="*/ 42 h 548"/>
                <a:gd name="T80" fmla="*/ 336 w 375"/>
                <a:gd name="T81" fmla="*/ 10 h 548"/>
                <a:gd name="T82" fmla="*/ 318 w 375"/>
                <a:gd name="T83" fmla="*/ 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548">
                  <a:moveTo>
                    <a:pt x="311" y="0"/>
                  </a:moveTo>
                  <a:lnTo>
                    <a:pt x="311" y="0"/>
                  </a:lnTo>
                  <a:lnTo>
                    <a:pt x="306" y="3"/>
                  </a:lnTo>
                  <a:lnTo>
                    <a:pt x="303" y="5"/>
                  </a:lnTo>
                  <a:lnTo>
                    <a:pt x="299" y="10"/>
                  </a:lnTo>
                  <a:lnTo>
                    <a:pt x="296" y="17"/>
                  </a:lnTo>
                  <a:lnTo>
                    <a:pt x="292" y="23"/>
                  </a:lnTo>
                  <a:lnTo>
                    <a:pt x="292" y="23"/>
                  </a:lnTo>
                  <a:lnTo>
                    <a:pt x="292" y="63"/>
                  </a:lnTo>
                  <a:lnTo>
                    <a:pt x="293" y="101"/>
                  </a:lnTo>
                  <a:lnTo>
                    <a:pt x="301" y="177"/>
                  </a:lnTo>
                  <a:lnTo>
                    <a:pt x="303" y="214"/>
                  </a:lnTo>
                  <a:lnTo>
                    <a:pt x="306" y="251"/>
                  </a:lnTo>
                  <a:lnTo>
                    <a:pt x="306" y="288"/>
                  </a:lnTo>
                  <a:lnTo>
                    <a:pt x="305" y="323"/>
                  </a:lnTo>
                  <a:lnTo>
                    <a:pt x="305" y="323"/>
                  </a:lnTo>
                  <a:lnTo>
                    <a:pt x="299" y="329"/>
                  </a:lnTo>
                  <a:lnTo>
                    <a:pt x="295" y="329"/>
                  </a:lnTo>
                  <a:lnTo>
                    <a:pt x="292" y="330"/>
                  </a:lnTo>
                  <a:lnTo>
                    <a:pt x="292" y="330"/>
                  </a:lnTo>
                  <a:lnTo>
                    <a:pt x="284" y="325"/>
                  </a:lnTo>
                  <a:lnTo>
                    <a:pt x="276" y="320"/>
                  </a:lnTo>
                  <a:lnTo>
                    <a:pt x="264" y="308"/>
                  </a:lnTo>
                  <a:lnTo>
                    <a:pt x="239" y="278"/>
                  </a:lnTo>
                  <a:lnTo>
                    <a:pt x="239" y="273"/>
                  </a:lnTo>
                  <a:lnTo>
                    <a:pt x="239" y="273"/>
                  </a:lnTo>
                  <a:lnTo>
                    <a:pt x="235" y="268"/>
                  </a:lnTo>
                  <a:lnTo>
                    <a:pt x="228" y="264"/>
                  </a:lnTo>
                  <a:lnTo>
                    <a:pt x="222" y="261"/>
                  </a:lnTo>
                  <a:lnTo>
                    <a:pt x="215" y="258"/>
                  </a:lnTo>
                  <a:lnTo>
                    <a:pt x="208" y="255"/>
                  </a:lnTo>
                  <a:lnTo>
                    <a:pt x="200" y="255"/>
                  </a:lnTo>
                  <a:lnTo>
                    <a:pt x="184" y="255"/>
                  </a:lnTo>
                  <a:lnTo>
                    <a:pt x="184" y="255"/>
                  </a:lnTo>
                  <a:lnTo>
                    <a:pt x="175" y="261"/>
                  </a:lnTo>
                  <a:lnTo>
                    <a:pt x="167" y="264"/>
                  </a:lnTo>
                  <a:lnTo>
                    <a:pt x="158" y="266"/>
                  </a:lnTo>
                  <a:lnTo>
                    <a:pt x="150" y="266"/>
                  </a:lnTo>
                  <a:lnTo>
                    <a:pt x="13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87" y="279"/>
                  </a:lnTo>
                  <a:lnTo>
                    <a:pt x="63" y="291"/>
                  </a:lnTo>
                  <a:lnTo>
                    <a:pt x="39" y="302"/>
                  </a:lnTo>
                  <a:lnTo>
                    <a:pt x="27" y="309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8" y="363"/>
                  </a:lnTo>
                  <a:lnTo>
                    <a:pt x="3" y="386"/>
                  </a:lnTo>
                  <a:lnTo>
                    <a:pt x="0" y="409"/>
                  </a:lnTo>
                  <a:lnTo>
                    <a:pt x="0" y="409"/>
                  </a:lnTo>
                  <a:lnTo>
                    <a:pt x="0" y="421"/>
                  </a:lnTo>
                  <a:lnTo>
                    <a:pt x="2" y="431"/>
                  </a:lnTo>
                  <a:lnTo>
                    <a:pt x="6" y="441"/>
                  </a:lnTo>
                  <a:lnTo>
                    <a:pt x="10" y="451"/>
                  </a:lnTo>
                  <a:lnTo>
                    <a:pt x="20" y="470"/>
                  </a:lnTo>
                  <a:lnTo>
                    <a:pt x="25" y="480"/>
                  </a:lnTo>
                  <a:lnTo>
                    <a:pt x="27" y="490"/>
                  </a:lnTo>
                  <a:lnTo>
                    <a:pt x="27" y="490"/>
                  </a:lnTo>
                  <a:lnTo>
                    <a:pt x="29" y="495"/>
                  </a:lnTo>
                  <a:lnTo>
                    <a:pt x="32" y="500"/>
                  </a:lnTo>
                  <a:lnTo>
                    <a:pt x="36" y="503"/>
                  </a:lnTo>
                  <a:lnTo>
                    <a:pt x="40" y="505"/>
                  </a:lnTo>
                  <a:lnTo>
                    <a:pt x="50" y="508"/>
                  </a:lnTo>
                  <a:lnTo>
                    <a:pt x="60" y="508"/>
                  </a:lnTo>
                  <a:lnTo>
                    <a:pt x="60" y="508"/>
                  </a:lnTo>
                  <a:lnTo>
                    <a:pt x="96" y="527"/>
                  </a:lnTo>
                  <a:lnTo>
                    <a:pt x="114" y="534"/>
                  </a:lnTo>
                  <a:lnTo>
                    <a:pt x="133" y="541"/>
                  </a:lnTo>
                  <a:lnTo>
                    <a:pt x="151" y="545"/>
                  </a:lnTo>
                  <a:lnTo>
                    <a:pt x="171" y="548"/>
                  </a:lnTo>
                  <a:lnTo>
                    <a:pt x="192" y="548"/>
                  </a:lnTo>
                  <a:lnTo>
                    <a:pt x="215" y="547"/>
                  </a:lnTo>
                  <a:lnTo>
                    <a:pt x="215" y="547"/>
                  </a:lnTo>
                  <a:lnTo>
                    <a:pt x="222" y="544"/>
                  </a:lnTo>
                  <a:lnTo>
                    <a:pt x="229" y="541"/>
                  </a:lnTo>
                  <a:lnTo>
                    <a:pt x="235" y="537"/>
                  </a:lnTo>
                  <a:lnTo>
                    <a:pt x="241" y="532"/>
                  </a:lnTo>
                  <a:lnTo>
                    <a:pt x="249" y="521"/>
                  </a:lnTo>
                  <a:lnTo>
                    <a:pt x="261" y="508"/>
                  </a:lnTo>
                  <a:lnTo>
                    <a:pt x="261" y="508"/>
                  </a:lnTo>
                  <a:lnTo>
                    <a:pt x="266" y="507"/>
                  </a:lnTo>
                  <a:lnTo>
                    <a:pt x="274" y="507"/>
                  </a:lnTo>
                  <a:lnTo>
                    <a:pt x="278" y="508"/>
                  </a:lnTo>
                  <a:lnTo>
                    <a:pt x="284" y="510"/>
                  </a:lnTo>
                  <a:lnTo>
                    <a:pt x="292" y="515"/>
                  </a:lnTo>
                  <a:lnTo>
                    <a:pt x="301" y="522"/>
                  </a:lnTo>
                  <a:lnTo>
                    <a:pt x="308" y="531"/>
                  </a:lnTo>
                  <a:lnTo>
                    <a:pt x="316" y="538"/>
                  </a:lnTo>
                  <a:lnTo>
                    <a:pt x="325" y="544"/>
                  </a:lnTo>
                  <a:lnTo>
                    <a:pt x="330" y="545"/>
                  </a:lnTo>
                  <a:lnTo>
                    <a:pt x="336" y="547"/>
                  </a:lnTo>
                  <a:lnTo>
                    <a:pt x="336" y="547"/>
                  </a:lnTo>
                  <a:lnTo>
                    <a:pt x="348" y="545"/>
                  </a:lnTo>
                  <a:lnTo>
                    <a:pt x="359" y="541"/>
                  </a:lnTo>
                  <a:lnTo>
                    <a:pt x="363" y="538"/>
                  </a:lnTo>
                  <a:lnTo>
                    <a:pt x="369" y="535"/>
                  </a:lnTo>
                  <a:lnTo>
                    <a:pt x="372" y="531"/>
                  </a:lnTo>
                  <a:lnTo>
                    <a:pt x="375" y="525"/>
                  </a:lnTo>
                  <a:lnTo>
                    <a:pt x="375" y="525"/>
                  </a:lnTo>
                  <a:lnTo>
                    <a:pt x="373" y="515"/>
                  </a:lnTo>
                  <a:lnTo>
                    <a:pt x="370" y="504"/>
                  </a:lnTo>
                  <a:lnTo>
                    <a:pt x="363" y="484"/>
                  </a:lnTo>
                  <a:lnTo>
                    <a:pt x="359" y="474"/>
                  </a:lnTo>
                  <a:lnTo>
                    <a:pt x="356" y="464"/>
                  </a:lnTo>
                  <a:lnTo>
                    <a:pt x="355" y="454"/>
                  </a:lnTo>
                  <a:lnTo>
                    <a:pt x="355" y="443"/>
                  </a:lnTo>
                  <a:lnTo>
                    <a:pt x="355" y="443"/>
                  </a:lnTo>
                  <a:lnTo>
                    <a:pt x="359" y="404"/>
                  </a:lnTo>
                  <a:lnTo>
                    <a:pt x="363" y="366"/>
                  </a:lnTo>
                  <a:lnTo>
                    <a:pt x="365" y="325"/>
                  </a:lnTo>
                  <a:lnTo>
                    <a:pt x="366" y="285"/>
                  </a:lnTo>
                  <a:lnTo>
                    <a:pt x="365" y="244"/>
                  </a:lnTo>
                  <a:lnTo>
                    <a:pt x="363" y="204"/>
                  </a:lnTo>
                  <a:lnTo>
                    <a:pt x="360" y="164"/>
                  </a:lnTo>
                  <a:lnTo>
                    <a:pt x="356" y="126"/>
                  </a:lnTo>
                  <a:lnTo>
                    <a:pt x="356" y="126"/>
                  </a:lnTo>
                  <a:lnTo>
                    <a:pt x="352" y="97"/>
                  </a:lnTo>
                  <a:lnTo>
                    <a:pt x="348" y="70"/>
                  </a:lnTo>
                  <a:lnTo>
                    <a:pt x="345" y="42"/>
                  </a:lnTo>
                  <a:lnTo>
                    <a:pt x="339" y="13"/>
                  </a:lnTo>
                  <a:lnTo>
                    <a:pt x="339" y="13"/>
                  </a:lnTo>
                  <a:lnTo>
                    <a:pt x="336" y="10"/>
                  </a:lnTo>
                  <a:lnTo>
                    <a:pt x="333" y="7"/>
                  </a:lnTo>
                  <a:lnTo>
                    <a:pt x="326" y="5"/>
                  </a:lnTo>
                  <a:lnTo>
                    <a:pt x="318" y="3"/>
                  </a:lnTo>
                  <a:lnTo>
                    <a:pt x="311" y="0"/>
                  </a:lnTo>
                  <a:lnTo>
                    <a:pt x="3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" name="Freeform 379"/>
            <p:cNvSpPr>
              <a:spLocks/>
            </p:cNvSpPr>
            <p:nvPr/>
          </p:nvSpPr>
          <p:spPr bwMode="auto">
            <a:xfrm>
              <a:off x="7461" y="2618"/>
              <a:ext cx="166" cy="203"/>
            </a:xfrm>
            <a:custGeom>
              <a:avLst/>
              <a:gdLst>
                <a:gd name="T0" fmla="*/ 143 w 166"/>
                <a:gd name="T1" fmla="*/ 25 h 203"/>
                <a:gd name="T2" fmla="*/ 143 w 166"/>
                <a:gd name="T3" fmla="*/ 25 h 203"/>
                <a:gd name="T4" fmla="*/ 146 w 166"/>
                <a:gd name="T5" fmla="*/ 41 h 203"/>
                <a:gd name="T6" fmla="*/ 150 w 166"/>
                <a:gd name="T7" fmla="*/ 55 h 203"/>
                <a:gd name="T8" fmla="*/ 153 w 166"/>
                <a:gd name="T9" fmla="*/ 62 h 203"/>
                <a:gd name="T10" fmla="*/ 156 w 166"/>
                <a:gd name="T11" fmla="*/ 69 h 203"/>
                <a:gd name="T12" fmla="*/ 160 w 166"/>
                <a:gd name="T13" fmla="*/ 75 h 203"/>
                <a:gd name="T14" fmla="*/ 166 w 166"/>
                <a:gd name="T15" fmla="*/ 81 h 203"/>
                <a:gd name="T16" fmla="*/ 166 w 166"/>
                <a:gd name="T17" fmla="*/ 81 h 203"/>
                <a:gd name="T18" fmla="*/ 165 w 166"/>
                <a:gd name="T19" fmla="*/ 102 h 203"/>
                <a:gd name="T20" fmla="*/ 162 w 166"/>
                <a:gd name="T21" fmla="*/ 125 h 203"/>
                <a:gd name="T22" fmla="*/ 153 w 166"/>
                <a:gd name="T23" fmla="*/ 169 h 203"/>
                <a:gd name="T24" fmla="*/ 153 w 166"/>
                <a:gd name="T25" fmla="*/ 169 h 203"/>
                <a:gd name="T26" fmla="*/ 146 w 166"/>
                <a:gd name="T27" fmla="*/ 180 h 203"/>
                <a:gd name="T28" fmla="*/ 136 w 166"/>
                <a:gd name="T29" fmla="*/ 189 h 203"/>
                <a:gd name="T30" fmla="*/ 126 w 166"/>
                <a:gd name="T31" fmla="*/ 197 h 203"/>
                <a:gd name="T32" fmla="*/ 113 w 166"/>
                <a:gd name="T33" fmla="*/ 202 h 203"/>
                <a:gd name="T34" fmla="*/ 113 w 166"/>
                <a:gd name="T35" fmla="*/ 202 h 203"/>
                <a:gd name="T36" fmla="*/ 99 w 166"/>
                <a:gd name="T37" fmla="*/ 203 h 203"/>
                <a:gd name="T38" fmla="*/ 85 w 166"/>
                <a:gd name="T39" fmla="*/ 202 h 203"/>
                <a:gd name="T40" fmla="*/ 71 w 166"/>
                <a:gd name="T41" fmla="*/ 199 h 203"/>
                <a:gd name="T42" fmla="*/ 58 w 166"/>
                <a:gd name="T43" fmla="*/ 193 h 203"/>
                <a:gd name="T44" fmla="*/ 47 w 166"/>
                <a:gd name="T45" fmla="*/ 187 h 203"/>
                <a:gd name="T46" fmla="*/ 35 w 166"/>
                <a:gd name="T47" fmla="*/ 179 h 203"/>
                <a:gd name="T48" fmla="*/ 25 w 166"/>
                <a:gd name="T49" fmla="*/ 169 h 203"/>
                <a:gd name="T50" fmla="*/ 18 w 166"/>
                <a:gd name="T51" fmla="*/ 157 h 203"/>
                <a:gd name="T52" fmla="*/ 18 w 166"/>
                <a:gd name="T53" fmla="*/ 157 h 203"/>
                <a:gd name="T54" fmla="*/ 11 w 166"/>
                <a:gd name="T55" fmla="*/ 146 h 203"/>
                <a:gd name="T56" fmla="*/ 5 w 166"/>
                <a:gd name="T57" fmla="*/ 132 h 203"/>
                <a:gd name="T58" fmla="*/ 1 w 166"/>
                <a:gd name="T59" fmla="*/ 116 h 203"/>
                <a:gd name="T60" fmla="*/ 0 w 166"/>
                <a:gd name="T61" fmla="*/ 102 h 203"/>
                <a:gd name="T62" fmla="*/ 0 w 166"/>
                <a:gd name="T63" fmla="*/ 86 h 203"/>
                <a:gd name="T64" fmla="*/ 1 w 166"/>
                <a:gd name="T65" fmla="*/ 71 h 203"/>
                <a:gd name="T66" fmla="*/ 5 w 166"/>
                <a:gd name="T67" fmla="*/ 56 h 203"/>
                <a:gd name="T68" fmla="*/ 12 w 166"/>
                <a:gd name="T69" fmla="*/ 44 h 203"/>
                <a:gd name="T70" fmla="*/ 12 w 166"/>
                <a:gd name="T71" fmla="*/ 44 h 203"/>
                <a:gd name="T72" fmla="*/ 20 w 166"/>
                <a:gd name="T73" fmla="*/ 32 h 203"/>
                <a:gd name="T74" fmla="*/ 30 w 166"/>
                <a:gd name="T75" fmla="*/ 24 h 203"/>
                <a:gd name="T76" fmla="*/ 41 w 166"/>
                <a:gd name="T77" fmla="*/ 17 h 203"/>
                <a:gd name="T78" fmla="*/ 54 w 166"/>
                <a:gd name="T79" fmla="*/ 9 h 203"/>
                <a:gd name="T80" fmla="*/ 68 w 166"/>
                <a:gd name="T81" fmla="*/ 5 h 203"/>
                <a:gd name="T82" fmla="*/ 82 w 166"/>
                <a:gd name="T83" fmla="*/ 2 h 203"/>
                <a:gd name="T84" fmla="*/ 96 w 166"/>
                <a:gd name="T85" fmla="*/ 0 h 203"/>
                <a:gd name="T86" fmla="*/ 109 w 166"/>
                <a:gd name="T87" fmla="*/ 0 h 203"/>
                <a:gd name="T88" fmla="*/ 109 w 166"/>
                <a:gd name="T89" fmla="*/ 0 h 203"/>
                <a:gd name="T90" fmla="*/ 121 w 166"/>
                <a:gd name="T91" fmla="*/ 4 h 203"/>
                <a:gd name="T92" fmla="*/ 129 w 166"/>
                <a:gd name="T93" fmla="*/ 9 h 203"/>
                <a:gd name="T94" fmla="*/ 138 w 166"/>
                <a:gd name="T95" fmla="*/ 17 h 203"/>
                <a:gd name="T96" fmla="*/ 143 w 166"/>
                <a:gd name="T97" fmla="*/ 25 h 203"/>
                <a:gd name="T98" fmla="*/ 143 w 166"/>
                <a:gd name="T99" fmla="*/ 2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6" h="203">
                  <a:moveTo>
                    <a:pt x="143" y="25"/>
                  </a:moveTo>
                  <a:lnTo>
                    <a:pt x="143" y="25"/>
                  </a:lnTo>
                  <a:lnTo>
                    <a:pt x="146" y="41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6" y="69"/>
                  </a:lnTo>
                  <a:lnTo>
                    <a:pt x="160" y="75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5" y="102"/>
                  </a:lnTo>
                  <a:lnTo>
                    <a:pt x="162" y="125"/>
                  </a:lnTo>
                  <a:lnTo>
                    <a:pt x="153" y="169"/>
                  </a:lnTo>
                  <a:lnTo>
                    <a:pt x="153" y="169"/>
                  </a:lnTo>
                  <a:lnTo>
                    <a:pt x="146" y="180"/>
                  </a:lnTo>
                  <a:lnTo>
                    <a:pt x="136" y="189"/>
                  </a:lnTo>
                  <a:lnTo>
                    <a:pt x="126" y="197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99" y="203"/>
                  </a:lnTo>
                  <a:lnTo>
                    <a:pt x="85" y="202"/>
                  </a:lnTo>
                  <a:lnTo>
                    <a:pt x="71" y="199"/>
                  </a:lnTo>
                  <a:lnTo>
                    <a:pt x="58" y="193"/>
                  </a:lnTo>
                  <a:lnTo>
                    <a:pt x="47" y="187"/>
                  </a:lnTo>
                  <a:lnTo>
                    <a:pt x="35" y="179"/>
                  </a:lnTo>
                  <a:lnTo>
                    <a:pt x="25" y="169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1" y="146"/>
                  </a:lnTo>
                  <a:lnTo>
                    <a:pt x="5" y="132"/>
                  </a:lnTo>
                  <a:lnTo>
                    <a:pt x="1" y="116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1" y="71"/>
                  </a:lnTo>
                  <a:lnTo>
                    <a:pt x="5" y="5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20" y="32"/>
                  </a:lnTo>
                  <a:lnTo>
                    <a:pt x="30" y="24"/>
                  </a:lnTo>
                  <a:lnTo>
                    <a:pt x="41" y="17"/>
                  </a:lnTo>
                  <a:lnTo>
                    <a:pt x="54" y="9"/>
                  </a:lnTo>
                  <a:lnTo>
                    <a:pt x="68" y="5"/>
                  </a:lnTo>
                  <a:lnTo>
                    <a:pt x="82" y="2"/>
                  </a:lnTo>
                  <a:lnTo>
                    <a:pt x="9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21" y="4"/>
                  </a:lnTo>
                  <a:lnTo>
                    <a:pt x="129" y="9"/>
                  </a:lnTo>
                  <a:lnTo>
                    <a:pt x="138" y="17"/>
                  </a:lnTo>
                  <a:lnTo>
                    <a:pt x="143" y="25"/>
                  </a:lnTo>
                  <a:lnTo>
                    <a:pt x="143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380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381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382"/>
            <p:cNvSpPr>
              <a:spLocks noEditPoints="1"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  <a:gd name="T18" fmla="*/ 200 w 535"/>
                <a:gd name="T19" fmla="*/ 322 h 541"/>
                <a:gd name="T20" fmla="*/ 299 w 535"/>
                <a:gd name="T21" fmla="*/ 322 h 541"/>
                <a:gd name="T22" fmla="*/ 252 w 535"/>
                <a:gd name="T23" fmla="*/ 137 h 541"/>
                <a:gd name="T24" fmla="*/ 200 w 535"/>
                <a:gd name="T25" fmla="*/ 32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  <a:close/>
                  <a:moveTo>
                    <a:pt x="200" y="322"/>
                  </a:moveTo>
                  <a:lnTo>
                    <a:pt x="299" y="322"/>
                  </a:lnTo>
                  <a:lnTo>
                    <a:pt x="252" y="137"/>
                  </a:lnTo>
                  <a:lnTo>
                    <a:pt x="200" y="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383"/>
            <p:cNvSpPr>
              <a:spLocks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" name="Freeform 384"/>
            <p:cNvSpPr>
              <a:spLocks/>
            </p:cNvSpPr>
            <p:nvPr/>
          </p:nvSpPr>
          <p:spPr bwMode="auto">
            <a:xfrm>
              <a:off x="6986" y="1551"/>
              <a:ext cx="99" cy="185"/>
            </a:xfrm>
            <a:custGeom>
              <a:avLst/>
              <a:gdLst>
                <a:gd name="T0" fmla="*/ 0 w 99"/>
                <a:gd name="T1" fmla="*/ 185 h 185"/>
                <a:gd name="T2" fmla="*/ 99 w 99"/>
                <a:gd name="T3" fmla="*/ 185 h 185"/>
                <a:gd name="T4" fmla="*/ 52 w 99"/>
                <a:gd name="T5" fmla="*/ 0 h 185"/>
                <a:gd name="T6" fmla="*/ 0 w 99"/>
                <a:gd name="T7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85">
                  <a:moveTo>
                    <a:pt x="0" y="185"/>
                  </a:moveTo>
                  <a:lnTo>
                    <a:pt x="99" y="185"/>
                  </a:lnTo>
                  <a:lnTo>
                    <a:pt x="52" y="0"/>
                  </a:lnTo>
                  <a:lnTo>
                    <a:pt x="0" y="18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" name="Freeform 385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6" name="Freeform 386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7" name="Freeform 387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  <a:gd name="T52" fmla="*/ 166 w 166"/>
                <a:gd name="T53" fmla="*/ 5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  <a:lnTo>
                    <a:pt x="166" y="54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8" name="Freeform 388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3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302" y="6330820"/>
            <a:ext cx="571500" cy="365125"/>
          </a:xfrm>
        </p:spPr>
        <p:txBody>
          <a:bodyPr/>
          <a:lstStyle/>
          <a:p>
            <a:fld id="{AEE12407-35E7-4E87-8757-FD495B64908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724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26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2192000" cy="11811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72411"/>
            <a:ext cx="10515600" cy="1325563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180742"/>
          </a:xfrm>
          <a:prstGeom prst="rect">
            <a:avLst/>
          </a:prstGeom>
        </p:spPr>
      </p:pic>
      <p:grpSp>
        <p:nvGrpSpPr>
          <p:cNvPr id="8" name="Group 363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11500626" y="6215063"/>
            <a:ext cx="585788" cy="538162"/>
            <a:chOff x="5907" y="1132"/>
            <a:chExt cx="2151" cy="1976"/>
          </a:xfrm>
        </p:grpSpPr>
        <p:sp>
          <p:nvSpPr>
            <p:cNvPr id="9" name="Freeform 364"/>
            <p:cNvSpPr>
              <a:spLocks/>
            </p:cNvSpPr>
            <p:nvPr/>
          </p:nvSpPr>
          <p:spPr bwMode="auto">
            <a:xfrm>
              <a:off x="5966" y="2117"/>
              <a:ext cx="2028" cy="0"/>
            </a:xfrm>
            <a:custGeom>
              <a:avLst/>
              <a:gdLst>
                <a:gd name="T0" fmla="*/ 0 w 2028"/>
                <a:gd name="T1" fmla="*/ 2028 w 2028"/>
                <a:gd name="T2" fmla="*/ 0 w 202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28">
                  <a:moveTo>
                    <a:pt x="0" y="0"/>
                  </a:moveTo>
                  <a:lnTo>
                    <a:pt x="202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Line 365"/>
            <p:cNvSpPr>
              <a:spLocks noChangeShapeType="1"/>
            </p:cNvSpPr>
            <p:nvPr/>
          </p:nvSpPr>
          <p:spPr bwMode="auto">
            <a:xfrm>
              <a:off x="5966" y="2117"/>
              <a:ext cx="202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Rectangle 366"/>
            <p:cNvSpPr>
              <a:spLocks noChangeArrowheads="1"/>
            </p:cNvSpPr>
            <p:nvPr/>
          </p:nvSpPr>
          <p:spPr bwMode="auto">
            <a:xfrm>
              <a:off x="5968" y="1194"/>
              <a:ext cx="2030" cy="1853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367"/>
            <p:cNvSpPr>
              <a:spLocks noEditPoints="1"/>
            </p:cNvSpPr>
            <p:nvPr/>
          </p:nvSpPr>
          <p:spPr bwMode="auto">
            <a:xfrm>
              <a:off x="5907" y="1132"/>
              <a:ext cx="2151" cy="1976"/>
            </a:xfrm>
            <a:custGeom>
              <a:avLst/>
              <a:gdLst>
                <a:gd name="T0" fmla="*/ 0 w 2151"/>
                <a:gd name="T1" fmla="*/ 1976 h 1976"/>
                <a:gd name="T2" fmla="*/ 2151 w 2151"/>
                <a:gd name="T3" fmla="*/ 1976 h 1976"/>
                <a:gd name="T4" fmla="*/ 2151 w 2151"/>
                <a:gd name="T5" fmla="*/ 0 h 1976"/>
                <a:gd name="T6" fmla="*/ 0 w 2151"/>
                <a:gd name="T7" fmla="*/ 0 h 1976"/>
                <a:gd name="T8" fmla="*/ 0 w 2151"/>
                <a:gd name="T9" fmla="*/ 1976 h 1976"/>
                <a:gd name="T10" fmla="*/ 123 w 2151"/>
                <a:gd name="T11" fmla="*/ 1854 h 1976"/>
                <a:gd name="T12" fmla="*/ 123 w 2151"/>
                <a:gd name="T13" fmla="*/ 1854 h 1976"/>
                <a:gd name="T14" fmla="*/ 123 w 2151"/>
                <a:gd name="T15" fmla="*/ 1046 h 1976"/>
                <a:gd name="T16" fmla="*/ 2030 w 2151"/>
                <a:gd name="T17" fmla="*/ 1046 h 1976"/>
                <a:gd name="T18" fmla="*/ 2030 w 2151"/>
                <a:gd name="T19" fmla="*/ 1046 h 1976"/>
                <a:gd name="T20" fmla="*/ 2030 w 2151"/>
                <a:gd name="T21" fmla="*/ 1854 h 1976"/>
                <a:gd name="T22" fmla="*/ 2030 w 2151"/>
                <a:gd name="T23" fmla="*/ 1854 h 1976"/>
                <a:gd name="T24" fmla="*/ 123 w 2151"/>
                <a:gd name="T25" fmla="*/ 1854 h 1976"/>
                <a:gd name="T26" fmla="*/ 123 w 2151"/>
                <a:gd name="T27" fmla="*/ 1854 h 1976"/>
                <a:gd name="T28" fmla="*/ 2030 w 2151"/>
                <a:gd name="T29" fmla="*/ 123 h 1976"/>
                <a:gd name="T30" fmla="*/ 2030 w 2151"/>
                <a:gd name="T31" fmla="*/ 123 h 1976"/>
                <a:gd name="T32" fmla="*/ 2030 w 2151"/>
                <a:gd name="T33" fmla="*/ 924 h 1976"/>
                <a:gd name="T34" fmla="*/ 123 w 2151"/>
                <a:gd name="T35" fmla="*/ 924 h 1976"/>
                <a:gd name="T36" fmla="*/ 123 w 2151"/>
                <a:gd name="T37" fmla="*/ 924 h 1976"/>
                <a:gd name="T38" fmla="*/ 123 w 2151"/>
                <a:gd name="T39" fmla="*/ 123 h 1976"/>
                <a:gd name="T40" fmla="*/ 123 w 2151"/>
                <a:gd name="T41" fmla="*/ 123 h 1976"/>
                <a:gd name="T42" fmla="*/ 2030 w 2151"/>
                <a:gd name="T43" fmla="*/ 123 h 1976"/>
                <a:gd name="T44" fmla="*/ 2030 w 2151"/>
                <a:gd name="T45" fmla="*/ 123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51" h="1976">
                  <a:moveTo>
                    <a:pt x="0" y="1976"/>
                  </a:moveTo>
                  <a:lnTo>
                    <a:pt x="2151" y="1976"/>
                  </a:lnTo>
                  <a:lnTo>
                    <a:pt x="2151" y="0"/>
                  </a:lnTo>
                  <a:lnTo>
                    <a:pt x="0" y="0"/>
                  </a:lnTo>
                  <a:lnTo>
                    <a:pt x="0" y="1976"/>
                  </a:lnTo>
                  <a:close/>
                  <a:moveTo>
                    <a:pt x="123" y="1854"/>
                  </a:moveTo>
                  <a:lnTo>
                    <a:pt x="123" y="1854"/>
                  </a:lnTo>
                  <a:lnTo>
                    <a:pt x="123" y="1046"/>
                  </a:lnTo>
                  <a:lnTo>
                    <a:pt x="2030" y="1046"/>
                  </a:lnTo>
                  <a:lnTo>
                    <a:pt x="2030" y="1046"/>
                  </a:lnTo>
                  <a:lnTo>
                    <a:pt x="2030" y="1854"/>
                  </a:lnTo>
                  <a:lnTo>
                    <a:pt x="2030" y="1854"/>
                  </a:lnTo>
                  <a:lnTo>
                    <a:pt x="123" y="1854"/>
                  </a:lnTo>
                  <a:lnTo>
                    <a:pt x="123" y="1854"/>
                  </a:lnTo>
                  <a:close/>
                  <a:moveTo>
                    <a:pt x="2030" y="123"/>
                  </a:moveTo>
                  <a:lnTo>
                    <a:pt x="2030" y="123"/>
                  </a:lnTo>
                  <a:lnTo>
                    <a:pt x="2030" y="924"/>
                  </a:lnTo>
                  <a:lnTo>
                    <a:pt x="123" y="924"/>
                  </a:lnTo>
                  <a:lnTo>
                    <a:pt x="123" y="924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2030" y="123"/>
                  </a:lnTo>
                  <a:lnTo>
                    <a:pt x="2030" y="123"/>
                  </a:lnTo>
                  <a:close/>
                </a:path>
              </a:pathLst>
            </a:custGeom>
            <a:solidFill>
              <a:srgbClr val="EF3E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368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64 h 587"/>
                <a:gd name="T34" fmla="*/ 953 w 1552"/>
                <a:gd name="T35" fmla="*/ 227 h 587"/>
                <a:gd name="T36" fmla="*/ 960 w 1552"/>
                <a:gd name="T37" fmla="*/ 419 h 587"/>
                <a:gd name="T38" fmla="*/ 968 w 1552"/>
                <a:gd name="T39" fmla="*/ 519 h 587"/>
                <a:gd name="T40" fmla="*/ 1034 w 1552"/>
                <a:gd name="T41" fmla="*/ 540 h 587"/>
                <a:gd name="T42" fmla="*/ 1039 w 1552"/>
                <a:gd name="T43" fmla="*/ 458 h 587"/>
                <a:gd name="T44" fmla="*/ 1039 w 1552"/>
                <a:gd name="T45" fmla="*/ 261 h 587"/>
                <a:gd name="T46" fmla="*/ 994 w 1552"/>
                <a:gd name="T47" fmla="*/ 69 h 587"/>
                <a:gd name="T48" fmla="*/ 936 w 1552"/>
                <a:gd name="T49" fmla="*/ 39 h 587"/>
                <a:gd name="T50" fmla="*/ 830 w 1552"/>
                <a:gd name="T51" fmla="*/ 196 h 587"/>
                <a:gd name="T52" fmla="*/ 786 w 1552"/>
                <a:gd name="T53" fmla="*/ 190 h 587"/>
                <a:gd name="T54" fmla="*/ 145 w 1552"/>
                <a:gd name="T55" fmla="*/ 250 h 587"/>
                <a:gd name="T56" fmla="*/ 15 w 1552"/>
                <a:gd name="T57" fmla="*/ 327 h 587"/>
                <a:gd name="T58" fmla="*/ 2 w 1552"/>
                <a:gd name="T59" fmla="*/ 471 h 587"/>
                <a:gd name="T60" fmla="*/ 32 w 1552"/>
                <a:gd name="T61" fmla="*/ 570 h 587"/>
                <a:gd name="T62" fmla="*/ 197 w 1552"/>
                <a:gd name="T63" fmla="*/ 579 h 587"/>
                <a:gd name="T64" fmla="*/ 244 w 1552"/>
                <a:gd name="T65" fmla="*/ 530 h 587"/>
                <a:gd name="T66" fmla="*/ 128 w 1552"/>
                <a:gd name="T67" fmla="*/ 542 h 587"/>
                <a:gd name="T68" fmla="*/ 76 w 1552"/>
                <a:gd name="T69" fmla="*/ 485 h 587"/>
                <a:gd name="T70" fmla="*/ 83 w 1552"/>
                <a:gd name="T71" fmla="*/ 333 h 587"/>
                <a:gd name="T72" fmla="*/ 156 w 1552"/>
                <a:gd name="T73" fmla="*/ 291 h 587"/>
                <a:gd name="T74" fmla="*/ 211 w 1552"/>
                <a:gd name="T75" fmla="*/ 276 h 587"/>
                <a:gd name="T76" fmla="*/ 773 w 1552"/>
                <a:gd name="T77" fmla="*/ 304 h 587"/>
                <a:gd name="T78" fmla="*/ 725 w 1552"/>
                <a:gd name="T79" fmla="*/ 509 h 587"/>
                <a:gd name="T80" fmla="*/ 776 w 1552"/>
                <a:gd name="T81" fmla="*/ 579 h 587"/>
                <a:gd name="T82" fmla="*/ 809 w 1552"/>
                <a:gd name="T83" fmla="*/ 542 h 587"/>
                <a:gd name="T84" fmla="*/ 806 w 1552"/>
                <a:gd name="T85" fmla="*/ 472 h 587"/>
                <a:gd name="T86" fmla="*/ 827 w 1552"/>
                <a:gd name="T87" fmla="*/ 297 h 587"/>
                <a:gd name="T88" fmla="*/ 1480 w 1552"/>
                <a:gd name="T89" fmla="*/ 37 h 587"/>
                <a:gd name="T90" fmla="*/ 1483 w 1552"/>
                <a:gd name="T91" fmla="*/ 320 h 587"/>
                <a:gd name="T92" fmla="*/ 1416 w 1552"/>
                <a:gd name="T93" fmla="*/ 310 h 587"/>
                <a:gd name="T94" fmla="*/ 1361 w 1552"/>
                <a:gd name="T95" fmla="*/ 287 h 587"/>
                <a:gd name="T96" fmla="*/ 1216 w 1552"/>
                <a:gd name="T97" fmla="*/ 334 h 587"/>
                <a:gd name="T98" fmla="*/ 1183 w 1552"/>
                <a:gd name="T99" fmla="*/ 473 h 587"/>
                <a:gd name="T100" fmla="*/ 1227 w 1552"/>
                <a:gd name="T101" fmla="*/ 540 h 587"/>
                <a:gd name="T102" fmla="*/ 1392 w 1552"/>
                <a:gd name="T103" fmla="*/ 579 h 587"/>
                <a:gd name="T104" fmla="*/ 1455 w 1552"/>
                <a:gd name="T105" fmla="*/ 540 h 587"/>
                <a:gd name="T106" fmla="*/ 1525 w 1552"/>
                <a:gd name="T107" fmla="*/ 577 h 587"/>
                <a:gd name="T108" fmla="*/ 1536 w 1552"/>
                <a:gd name="T109" fmla="*/ 506 h 587"/>
                <a:gd name="T110" fmla="*/ 1540 w 1552"/>
                <a:gd name="T111" fmla="*/ 236 h 587"/>
                <a:gd name="T112" fmla="*/ 1510 w 1552"/>
                <a:gd name="T113" fmla="*/ 39 h 587"/>
                <a:gd name="T114" fmla="*/ 1412 w 1552"/>
                <a:gd name="T115" fmla="*/ 402 h 587"/>
                <a:gd name="T116" fmla="*/ 1382 w 1552"/>
                <a:gd name="T117" fmla="*/ 530 h 587"/>
                <a:gd name="T118" fmla="*/ 1274 w 1552"/>
                <a:gd name="T119" fmla="*/ 490 h 587"/>
                <a:gd name="T120" fmla="*/ 1268 w 1552"/>
                <a:gd name="T121" fmla="*/ 377 h 587"/>
                <a:gd name="T122" fmla="*/ 1377 w 1552"/>
                <a:gd name="T123" fmla="*/ 337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noFill/>
            <a:ln w="0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369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370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371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  <a:gd name="T42" fmla="*/ 0 w 57"/>
                <a:gd name="T43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372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79 h 587"/>
                <a:gd name="T34" fmla="*/ 954 w 1552"/>
                <a:gd name="T35" fmla="*/ 298 h 587"/>
                <a:gd name="T36" fmla="*/ 958 w 1552"/>
                <a:gd name="T37" fmla="*/ 429 h 587"/>
                <a:gd name="T38" fmla="*/ 968 w 1552"/>
                <a:gd name="T39" fmla="*/ 519 h 587"/>
                <a:gd name="T40" fmla="*/ 1039 w 1552"/>
                <a:gd name="T41" fmla="*/ 537 h 587"/>
                <a:gd name="T42" fmla="*/ 1038 w 1552"/>
                <a:gd name="T43" fmla="*/ 445 h 587"/>
                <a:gd name="T44" fmla="*/ 1037 w 1552"/>
                <a:gd name="T45" fmla="*/ 249 h 587"/>
                <a:gd name="T46" fmla="*/ 994 w 1552"/>
                <a:gd name="T47" fmla="*/ 48 h 587"/>
                <a:gd name="T48" fmla="*/ 936 w 1552"/>
                <a:gd name="T49" fmla="*/ 39 h 587"/>
                <a:gd name="T50" fmla="*/ 833 w 1552"/>
                <a:gd name="T51" fmla="*/ 192 h 587"/>
                <a:gd name="T52" fmla="*/ 782 w 1552"/>
                <a:gd name="T53" fmla="*/ 196 h 587"/>
                <a:gd name="T54" fmla="*/ 133 w 1552"/>
                <a:gd name="T55" fmla="*/ 253 h 587"/>
                <a:gd name="T56" fmla="*/ 9 w 1552"/>
                <a:gd name="T57" fmla="*/ 335 h 587"/>
                <a:gd name="T58" fmla="*/ 5 w 1552"/>
                <a:gd name="T59" fmla="*/ 482 h 587"/>
                <a:gd name="T60" fmla="*/ 42 w 1552"/>
                <a:gd name="T61" fmla="*/ 574 h 587"/>
                <a:gd name="T62" fmla="*/ 211 w 1552"/>
                <a:gd name="T63" fmla="*/ 574 h 587"/>
                <a:gd name="T64" fmla="*/ 244 w 1552"/>
                <a:gd name="T65" fmla="*/ 530 h 587"/>
                <a:gd name="T66" fmla="*/ 118 w 1552"/>
                <a:gd name="T67" fmla="*/ 539 h 587"/>
                <a:gd name="T68" fmla="*/ 76 w 1552"/>
                <a:gd name="T69" fmla="*/ 485 h 587"/>
                <a:gd name="T70" fmla="*/ 89 w 1552"/>
                <a:gd name="T71" fmla="*/ 324 h 587"/>
                <a:gd name="T72" fmla="*/ 166 w 1552"/>
                <a:gd name="T73" fmla="*/ 286 h 587"/>
                <a:gd name="T74" fmla="*/ 213 w 1552"/>
                <a:gd name="T75" fmla="*/ 274 h 587"/>
                <a:gd name="T76" fmla="*/ 768 w 1552"/>
                <a:gd name="T77" fmla="*/ 314 h 587"/>
                <a:gd name="T78" fmla="*/ 728 w 1552"/>
                <a:gd name="T79" fmla="*/ 529 h 587"/>
                <a:gd name="T80" fmla="*/ 783 w 1552"/>
                <a:gd name="T81" fmla="*/ 577 h 587"/>
                <a:gd name="T82" fmla="*/ 806 w 1552"/>
                <a:gd name="T83" fmla="*/ 533 h 587"/>
                <a:gd name="T84" fmla="*/ 815 w 1552"/>
                <a:gd name="T85" fmla="*/ 451 h 587"/>
                <a:gd name="T86" fmla="*/ 825 w 1552"/>
                <a:gd name="T87" fmla="*/ 293 h 587"/>
                <a:gd name="T88" fmla="*/ 1476 w 1552"/>
                <a:gd name="T89" fmla="*/ 42 h 587"/>
                <a:gd name="T90" fmla="*/ 1482 w 1552"/>
                <a:gd name="T91" fmla="*/ 355 h 587"/>
                <a:gd name="T92" fmla="*/ 1416 w 1552"/>
                <a:gd name="T93" fmla="*/ 305 h 587"/>
                <a:gd name="T94" fmla="*/ 1352 w 1552"/>
                <a:gd name="T95" fmla="*/ 293 h 587"/>
                <a:gd name="T96" fmla="*/ 1204 w 1552"/>
                <a:gd name="T97" fmla="*/ 341 h 587"/>
                <a:gd name="T98" fmla="*/ 1187 w 1552"/>
                <a:gd name="T99" fmla="*/ 483 h 587"/>
                <a:gd name="T100" fmla="*/ 1237 w 1552"/>
                <a:gd name="T101" fmla="*/ 540 h 587"/>
                <a:gd name="T102" fmla="*/ 1399 w 1552"/>
                <a:gd name="T103" fmla="*/ 576 h 587"/>
                <a:gd name="T104" fmla="*/ 1461 w 1552"/>
                <a:gd name="T105" fmla="*/ 542 h 587"/>
                <a:gd name="T106" fmla="*/ 1536 w 1552"/>
                <a:gd name="T107" fmla="*/ 573 h 587"/>
                <a:gd name="T108" fmla="*/ 1533 w 1552"/>
                <a:gd name="T109" fmla="*/ 496 h 587"/>
                <a:gd name="T110" fmla="*/ 1537 w 1552"/>
                <a:gd name="T111" fmla="*/ 196 h 587"/>
                <a:gd name="T112" fmla="*/ 1503 w 1552"/>
                <a:gd name="T113" fmla="*/ 37 h 587"/>
                <a:gd name="T114" fmla="*/ 1416 w 1552"/>
                <a:gd name="T115" fmla="*/ 408 h 587"/>
                <a:gd name="T116" fmla="*/ 1369 w 1552"/>
                <a:gd name="T117" fmla="*/ 535 h 587"/>
                <a:gd name="T118" fmla="*/ 1274 w 1552"/>
                <a:gd name="T119" fmla="*/ 490 h 587"/>
                <a:gd name="T120" fmla="*/ 1276 w 1552"/>
                <a:gd name="T121" fmla="*/ 365 h 587"/>
                <a:gd name="T122" fmla="*/ 1385 w 1552"/>
                <a:gd name="T123" fmla="*/ 34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373"/>
            <p:cNvSpPr>
              <a:spLocks/>
            </p:cNvSpPr>
            <p:nvPr/>
          </p:nvSpPr>
          <p:spPr bwMode="auto">
            <a:xfrm>
              <a:off x="6526" y="2285"/>
              <a:ext cx="299" cy="549"/>
            </a:xfrm>
            <a:custGeom>
              <a:avLst/>
              <a:gdLst>
                <a:gd name="T0" fmla="*/ 97 w 299"/>
                <a:gd name="T1" fmla="*/ 84 h 549"/>
                <a:gd name="T2" fmla="*/ 114 w 299"/>
                <a:gd name="T3" fmla="*/ 197 h 549"/>
                <a:gd name="T4" fmla="*/ 125 w 299"/>
                <a:gd name="T5" fmla="*/ 241 h 549"/>
                <a:gd name="T6" fmla="*/ 118 w 299"/>
                <a:gd name="T7" fmla="*/ 280 h 549"/>
                <a:gd name="T8" fmla="*/ 122 w 299"/>
                <a:gd name="T9" fmla="*/ 304 h 549"/>
                <a:gd name="T10" fmla="*/ 196 w 299"/>
                <a:gd name="T11" fmla="*/ 301 h 549"/>
                <a:gd name="T12" fmla="*/ 243 w 299"/>
                <a:gd name="T13" fmla="*/ 310 h 549"/>
                <a:gd name="T14" fmla="*/ 272 w 299"/>
                <a:gd name="T15" fmla="*/ 325 h 549"/>
                <a:gd name="T16" fmla="*/ 292 w 299"/>
                <a:gd name="T17" fmla="*/ 355 h 549"/>
                <a:gd name="T18" fmla="*/ 297 w 299"/>
                <a:gd name="T19" fmla="*/ 421 h 549"/>
                <a:gd name="T20" fmla="*/ 296 w 299"/>
                <a:gd name="T21" fmla="*/ 489 h 549"/>
                <a:gd name="T22" fmla="*/ 286 w 299"/>
                <a:gd name="T23" fmla="*/ 519 h 549"/>
                <a:gd name="T24" fmla="*/ 276 w 299"/>
                <a:gd name="T25" fmla="*/ 535 h 549"/>
                <a:gd name="T26" fmla="*/ 258 w 299"/>
                <a:gd name="T27" fmla="*/ 546 h 549"/>
                <a:gd name="T28" fmla="*/ 236 w 299"/>
                <a:gd name="T29" fmla="*/ 547 h 549"/>
                <a:gd name="T30" fmla="*/ 223 w 299"/>
                <a:gd name="T31" fmla="*/ 540 h 549"/>
                <a:gd name="T32" fmla="*/ 218 w 299"/>
                <a:gd name="T33" fmla="*/ 523 h 549"/>
                <a:gd name="T34" fmla="*/ 225 w 299"/>
                <a:gd name="T35" fmla="*/ 493 h 549"/>
                <a:gd name="T36" fmla="*/ 232 w 299"/>
                <a:gd name="T37" fmla="*/ 446 h 549"/>
                <a:gd name="T38" fmla="*/ 229 w 299"/>
                <a:gd name="T39" fmla="*/ 398 h 549"/>
                <a:gd name="T40" fmla="*/ 216 w 299"/>
                <a:gd name="T41" fmla="*/ 372 h 549"/>
                <a:gd name="T42" fmla="*/ 198 w 299"/>
                <a:gd name="T43" fmla="*/ 352 h 549"/>
                <a:gd name="T44" fmla="*/ 159 w 299"/>
                <a:gd name="T45" fmla="*/ 340 h 549"/>
                <a:gd name="T46" fmla="*/ 118 w 299"/>
                <a:gd name="T47" fmla="*/ 341 h 549"/>
                <a:gd name="T48" fmla="*/ 108 w 299"/>
                <a:gd name="T49" fmla="*/ 355 h 549"/>
                <a:gd name="T50" fmla="*/ 97 w 299"/>
                <a:gd name="T51" fmla="*/ 388 h 549"/>
                <a:gd name="T52" fmla="*/ 94 w 299"/>
                <a:gd name="T53" fmla="*/ 445 h 549"/>
                <a:gd name="T54" fmla="*/ 94 w 299"/>
                <a:gd name="T55" fmla="*/ 492 h 549"/>
                <a:gd name="T56" fmla="*/ 90 w 299"/>
                <a:gd name="T57" fmla="*/ 519 h 549"/>
                <a:gd name="T58" fmla="*/ 77 w 299"/>
                <a:gd name="T59" fmla="*/ 542 h 549"/>
                <a:gd name="T60" fmla="*/ 61 w 299"/>
                <a:gd name="T61" fmla="*/ 549 h 549"/>
                <a:gd name="T62" fmla="*/ 38 w 299"/>
                <a:gd name="T63" fmla="*/ 544 h 549"/>
                <a:gd name="T64" fmla="*/ 23 w 299"/>
                <a:gd name="T65" fmla="*/ 532 h 549"/>
                <a:gd name="T66" fmla="*/ 19 w 299"/>
                <a:gd name="T67" fmla="*/ 503 h 549"/>
                <a:gd name="T68" fmla="*/ 26 w 299"/>
                <a:gd name="T69" fmla="*/ 436 h 549"/>
                <a:gd name="T70" fmla="*/ 21 w 299"/>
                <a:gd name="T71" fmla="*/ 395 h 549"/>
                <a:gd name="T72" fmla="*/ 7 w 299"/>
                <a:gd name="T73" fmla="*/ 370 h 549"/>
                <a:gd name="T74" fmla="*/ 0 w 299"/>
                <a:gd name="T75" fmla="*/ 358 h 549"/>
                <a:gd name="T76" fmla="*/ 16 w 299"/>
                <a:gd name="T77" fmla="*/ 344 h 549"/>
                <a:gd name="T78" fmla="*/ 37 w 299"/>
                <a:gd name="T79" fmla="*/ 331 h 549"/>
                <a:gd name="T80" fmla="*/ 43 w 299"/>
                <a:gd name="T81" fmla="*/ 320 h 549"/>
                <a:gd name="T82" fmla="*/ 51 w 299"/>
                <a:gd name="T83" fmla="*/ 305 h 549"/>
                <a:gd name="T84" fmla="*/ 67 w 299"/>
                <a:gd name="T85" fmla="*/ 276 h 549"/>
                <a:gd name="T86" fmla="*/ 71 w 299"/>
                <a:gd name="T87" fmla="*/ 241 h 549"/>
                <a:gd name="T88" fmla="*/ 65 w 299"/>
                <a:gd name="T89" fmla="*/ 224 h 549"/>
                <a:gd name="T90" fmla="*/ 57 w 299"/>
                <a:gd name="T91" fmla="*/ 190 h 549"/>
                <a:gd name="T92" fmla="*/ 57 w 299"/>
                <a:gd name="T93" fmla="*/ 146 h 549"/>
                <a:gd name="T94" fmla="*/ 50 w 299"/>
                <a:gd name="T95" fmla="*/ 121 h 549"/>
                <a:gd name="T96" fmla="*/ 37 w 299"/>
                <a:gd name="T97" fmla="*/ 74 h 549"/>
                <a:gd name="T98" fmla="*/ 33 w 299"/>
                <a:gd name="T99" fmla="*/ 32 h 549"/>
                <a:gd name="T100" fmla="*/ 41 w 299"/>
                <a:gd name="T101" fmla="*/ 11 h 549"/>
                <a:gd name="T102" fmla="*/ 54 w 299"/>
                <a:gd name="T103" fmla="*/ 0 h 549"/>
                <a:gd name="T104" fmla="*/ 77 w 299"/>
                <a:gd name="T105" fmla="*/ 15 h 549"/>
                <a:gd name="T106" fmla="*/ 87 w 299"/>
                <a:gd name="T107" fmla="*/ 44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9" h="549">
                  <a:moveTo>
                    <a:pt x="91" y="62"/>
                  </a:moveTo>
                  <a:lnTo>
                    <a:pt x="91" y="62"/>
                  </a:lnTo>
                  <a:lnTo>
                    <a:pt x="97" y="84"/>
                  </a:lnTo>
                  <a:lnTo>
                    <a:pt x="102" y="105"/>
                  </a:lnTo>
                  <a:lnTo>
                    <a:pt x="108" y="152"/>
                  </a:lnTo>
                  <a:lnTo>
                    <a:pt x="114" y="197"/>
                  </a:lnTo>
                  <a:lnTo>
                    <a:pt x="118" y="219"/>
                  </a:lnTo>
                  <a:lnTo>
                    <a:pt x="125" y="241"/>
                  </a:lnTo>
                  <a:lnTo>
                    <a:pt x="125" y="241"/>
                  </a:lnTo>
                  <a:lnTo>
                    <a:pt x="121" y="256"/>
                  </a:lnTo>
                  <a:lnTo>
                    <a:pt x="118" y="273"/>
                  </a:lnTo>
                  <a:lnTo>
                    <a:pt x="118" y="280"/>
                  </a:lnTo>
                  <a:lnTo>
                    <a:pt x="118" y="288"/>
                  </a:lnTo>
                  <a:lnTo>
                    <a:pt x="120" y="296"/>
                  </a:lnTo>
                  <a:lnTo>
                    <a:pt x="122" y="304"/>
                  </a:lnTo>
                  <a:lnTo>
                    <a:pt x="122" y="304"/>
                  </a:lnTo>
                  <a:lnTo>
                    <a:pt x="171" y="301"/>
                  </a:lnTo>
                  <a:lnTo>
                    <a:pt x="196" y="301"/>
                  </a:lnTo>
                  <a:lnTo>
                    <a:pt x="221" y="304"/>
                  </a:lnTo>
                  <a:lnTo>
                    <a:pt x="232" y="305"/>
                  </a:lnTo>
                  <a:lnTo>
                    <a:pt x="243" y="310"/>
                  </a:lnTo>
                  <a:lnTo>
                    <a:pt x="253" y="314"/>
                  </a:lnTo>
                  <a:lnTo>
                    <a:pt x="263" y="318"/>
                  </a:lnTo>
                  <a:lnTo>
                    <a:pt x="272" y="325"/>
                  </a:lnTo>
                  <a:lnTo>
                    <a:pt x="279" y="334"/>
                  </a:lnTo>
                  <a:lnTo>
                    <a:pt x="286" y="344"/>
                  </a:lnTo>
                  <a:lnTo>
                    <a:pt x="292" y="355"/>
                  </a:lnTo>
                  <a:lnTo>
                    <a:pt x="292" y="355"/>
                  </a:lnTo>
                  <a:lnTo>
                    <a:pt x="296" y="398"/>
                  </a:lnTo>
                  <a:lnTo>
                    <a:pt x="297" y="421"/>
                  </a:lnTo>
                  <a:lnTo>
                    <a:pt x="299" y="445"/>
                  </a:lnTo>
                  <a:lnTo>
                    <a:pt x="299" y="468"/>
                  </a:lnTo>
                  <a:lnTo>
                    <a:pt x="296" y="489"/>
                  </a:lnTo>
                  <a:lnTo>
                    <a:pt x="293" y="499"/>
                  </a:lnTo>
                  <a:lnTo>
                    <a:pt x="290" y="510"/>
                  </a:lnTo>
                  <a:lnTo>
                    <a:pt x="286" y="519"/>
                  </a:lnTo>
                  <a:lnTo>
                    <a:pt x="280" y="529"/>
                  </a:lnTo>
                  <a:lnTo>
                    <a:pt x="280" y="529"/>
                  </a:lnTo>
                  <a:lnTo>
                    <a:pt x="276" y="535"/>
                  </a:lnTo>
                  <a:lnTo>
                    <a:pt x="270" y="539"/>
                  </a:lnTo>
                  <a:lnTo>
                    <a:pt x="263" y="543"/>
                  </a:lnTo>
                  <a:lnTo>
                    <a:pt x="258" y="546"/>
                  </a:lnTo>
                  <a:lnTo>
                    <a:pt x="250" y="547"/>
                  </a:lnTo>
                  <a:lnTo>
                    <a:pt x="243" y="547"/>
                  </a:lnTo>
                  <a:lnTo>
                    <a:pt x="236" y="547"/>
                  </a:lnTo>
                  <a:lnTo>
                    <a:pt x="229" y="546"/>
                  </a:lnTo>
                  <a:lnTo>
                    <a:pt x="229" y="546"/>
                  </a:lnTo>
                  <a:lnTo>
                    <a:pt x="223" y="540"/>
                  </a:lnTo>
                  <a:lnTo>
                    <a:pt x="221" y="536"/>
                  </a:lnTo>
                  <a:lnTo>
                    <a:pt x="219" y="530"/>
                  </a:lnTo>
                  <a:lnTo>
                    <a:pt x="218" y="523"/>
                  </a:lnTo>
                  <a:lnTo>
                    <a:pt x="219" y="512"/>
                  </a:lnTo>
                  <a:lnTo>
                    <a:pt x="221" y="499"/>
                  </a:lnTo>
                  <a:lnTo>
                    <a:pt x="225" y="493"/>
                  </a:lnTo>
                  <a:lnTo>
                    <a:pt x="225" y="493"/>
                  </a:lnTo>
                  <a:lnTo>
                    <a:pt x="229" y="463"/>
                  </a:lnTo>
                  <a:lnTo>
                    <a:pt x="232" y="446"/>
                  </a:lnTo>
                  <a:lnTo>
                    <a:pt x="232" y="431"/>
                  </a:lnTo>
                  <a:lnTo>
                    <a:pt x="232" y="414"/>
                  </a:lnTo>
                  <a:lnTo>
                    <a:pt x="229" y="398"/>
                  </a:lnTo>
                  <a:lnTo>
                    <a:pt x="223" y="385"/>
                  </a:lnTo>
                  <a:lnTo>
                    <a:pt x="221" y="378"/>
                  </a:lnTo>
                  <a:lnTo>
                    <a:pt x="216" y="372"/>
                  </a:lnTo>
                  <a:lnTo>
                    <a:pt x="216" y="372"/>
                  </a:lnTo>
                  <a:lnTo>
                    <a:pt x="208" y="361"/>
                  </a:lnTo>
                  <a:lnTo>
                    <a:pt x="198" y="352"/>
                  </a:lnTo>
                  <a:lnTo>
                    <a:pt x="186" y="347"/>
                  </a:lnTo>
                  <a:lnTo>
                    <a:pt x="174" y="342"/>
                  </a:lnTo>
                  <a:lnTo>
                    <a:pt x="159" y="340"/>
                  </a:lnTo>
                  <a:lnTo>
                    <a:pt x="147" y="338"/>
                  </a:lnTo>
                  <a:lnTo>
                    <a:pt x="132" y="340"/>
                  </a:lnTo>
                  <a:lnTo>
                    <a:pt x="118" y="341"/>
                  </a:lnTo>
                  <a:lnTo>
                    <a:pt x="118" y="341"/>
                  </a:lnTo>
                  <a:lnTo>
                    <a:pt x="112" y="348"/>
                  </a:lnTo>
                  <a:lnTo>
                    <a:pt x="108" y="355"/>
                  </a:lnTo>
                  <a:lnTo>
                    <a:pt x="104" y="362"/>
                  </a:lnTo>
                  <a:lnTo>
                    <a:pt x="101" y="371"/>
                  </a:lnTo>
                  <a:lnTo>
                    <a:pt x="97" y="388"/>
                  </a:lnTo>
                  <a:lnTo>
                    <a:pt x="94" y="405"/>
                  </a:lnTo>
                  <a:lnTo>
                    <a:pt x="94" y="425"/>
                  </a:lnTo>
                  <a:lnTo>
                    <a:pt x="94" y="445"/>
                  </a:lnTo>
                  <a:lnTo>
                    <a:pt x="94" y="483"/>
                  </a:lnTo>
                  <a:lnTo>
                    <a:pt x="94" y="483"/>
                  </a:lnTo>
                  <a:lnTo>
                    <a:pt x="94" y="492"/>
                  </a:lnTo>
                  <a:lnTo>
                    <a:pt x="94" y="500"/>
                  </a:lnTo>
                  <a:lnTo>
                    <a:pt x="93" y="510"/>
                  </a:lnTo>
                  <a:lnTo>
                    <a:pt x="90" y="519"/>
                  </a:lnTo>
                  <a:lnTo>
                    <a:pt x="87" y="527"/>
                  </a:lnTo>
                  <a:lnTo>
                    <a:pt x="83" y="535"/>
                  </a:lnTo>
                  <a:lnTo>
                    <a:pt x="77" y="542"/>
                  </a:lnTo>
                  <a:lnTo>
                    <a:pt x="70" y="547"/>
                  </a:lnTo>
                  <a:lnTo>
                    <a:pt x="70" y="547"/>
                  </a:lnTo>
                  <a:lnTo>
                    <a:pt x="61" y="549"/>
                  </a:lnTo>
                  <a:lnTo>
                    <a:pt x="53" y="547"/>
                  </a:lnTo>
                  <a:lnTo>
                    <a:pt x="46" y="547"/>
                  </a:lnTo>
                  <a:lnTo>
                    <a:pt x="38" y="544"/>
                  </a:lnTo>
                  <a:lnTo>
                    <a:pt x="33" y="542"/>
                  </a:lnTo>
                  <a:lnTo>
                    <a:pt x="27" y="537"/>
                  </a:lnTo>
                  <a:lnTo>
                    <a:pt x="23" y="532"/>
                  </a:lnTo>
                  <a:lnTo>
                    <a:pt x="19" y="525"/>
                  </a:lnTo>
                  <a:lnTo>
                    <a:pt x="19" y="525"/>
                  </a:lnTo>
                  <a:lnTo>
                    <a:pt x="19" y="503"/>
                  </a:lnTo>
                  <a:lnTo>
                    <a:pt x="20" y="482"/>
                  </a:lnTo>
                  <a:lnTo>
                    <a:pt x="23" y="459"/>
                  </a:lnTo>
                  <a:lnTo>
                    <a:pt x="26" y="436"/>
                  </a:lnTo>
                  <a:lnTo>
                    <a:pt x="26" y="415"/>
                  </a:lnTo>
                  <a:lnTo>
                    <a:pt x="24" y="405"/>
                  </a:lnTo>
                  <a:lnTo>
                    <a:pt x="21" y="395"/>
                  </a:lnTo>
                  <a:lnTo>
                    <a:pt x="19" y="387"/>
                  </a:lnTo>
                  <a:lnTo>
                    <a:pt x="14" y="377"/>
                  </a:lnTo>
                  <a:lnTo>
                    <a:pt x="7" y="370"/>
                  </a:lnTo>
                  <a:lnTo>
                    <a:pt x="0" y="362"/>
                  </a:lnTo>
                  <a:lnTo>
                    <a:pt x="0" y="362"/>
                  </a:lnTo>
                  <a:lnTo>
                    <a:pt x="0" y="358"/>
                  </a:lnTo>
                  <a:lnTo>
                    <a:pt x="3" y="354"/>
                  </a:lnTo>
                  <a:lnTo>
                    <a:pt x="7" y="348"/>
                  </a:lnTo>
                  <a:lnTo>
                    <a:pt x="16" y="344"/>
                  </a:lnTo>
                  <a:lnTo>
                    <a:pt x="23" y="340"/>
                  </a:lnTo>
                  <a:lnTo>
                    <a:pt x="31" y="337"/>
                  </a:lnTo>
                  <a:lnTo>
                    <a:pt x="37" y="331"/>
                  </a:lnTo>
                  <a:lnTo>
                    <a:pt x="40" y="328"/>
                  </a:lnTo>
                  <a:lnTo>
                    <a:pt x="41" y="324"/>
                  </a:lnTo>
                  <a:lnTo>
                    <a:pt x="43" y="320"/>
                  </a:lnTo>
                  <a:lnTo>
                    <a:pt x="43" y="314"/>
                  </a:lnTo>
                  <a:lnTo>
                    <a:pt x="43" y="314"/>
                  </a:lnTo>
                  <a:lnTo>
                    <a:pt x="51" y="305"/>
                  </a:lnTo>
                  <a:lnTo>
                    <a:pt x="58" y="296"/>
                  </a:lnTo>
                  <a:lnTo>
                    <a:pt x="64" y="286"/>
                  </a:lnTo>
                  <a:lnTo>
                    <a:pt x="67" y="276"/>
                  </a:lnTo>
                  <a:lnTo>
                    <a:pt x="70" y="264"/>
                  </a:lnTo>
                  <a:lnTo>
                    <a:pt x="71" y="253"/>
                  </a:lnTo>
                  <a:lnTo>
                    <a:pt x="71" y="241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5" y="224"/>
                  </a:lnTo>
                  <a:lnTo>
                    <a:pt x="63" y="219"/>
                  </a:lnTo>
                  <a:lnTo>
                    <a:pt x="58" y="205"/>
                  </a:lnTo>
                  <a:lnTo>
                    <a:pt x="57" y="190"/>
                  </a:lnTo>
                  <a:lnTo>
                    <a:pt x="57" y="176"/>
                  </a:lnTo>
                  <a:lnTo>
                    <a:pt x="58" y="160"/>
                  </a:lnTo>
                  <a:lnTo>
                    <a:pt x="57" y="146"/>
                  </a:lnTo>
                  <a:lnTo>
                    <a:pt x="56" y="133"/>
                  </a:lnTo>
                  <a:lnTo>
                    <a:pt x="53" y="126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41" y="91"/>
                  </a:lnTo>
                  <a:lnTo>
                    <a:pt x="37" y="74"/>
                  </a:lnTo>
                  <a:lnTo>
                    <a:pt x="33" y="57"/>
                  </a:lnTo>
                  <a:lnTo>
                    <a:pt x="33" y="41"/>
                  </a:lnTo>
                  <a:lnTo>
                    <a:pt x="33" y="32"/>
                  </a:lnTo>
                  <a:lnTo>
                    <a:pt x="36" y="25"/>
                  </a:lnTo>
                  <a:lnTo>
                    <a:pt x="37" y="18"/>
                  </a:lnTo>
                  <a:lnTo>
                    <a:pt x="41" y="11"/>
                  </a:lnTo>
                  <a:lnTo>
                    <a:pt x="47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3"/>
                  </a:lnTo>
                  <a:lnTo>
                    <a:pt x="71" y="8"/>
                  </a:lnTo>
                  <a:lnTo>
                    <a:pt x="77" y="15"/>
                  </a:lnTo>
                  <a:lnTo>
                    <a:pt x="81" y="24"/>
                  </a:lnTo>
                  <a:lnTo>
                    <a:pt x="84" y="34"/>
                  </a:lnTo>
                  <a:lnTo>
                    <a:pt x="87" y="44"/>
                  </a:lnTo>
                  <a:lnTo>
                    <a:pt x="91" y="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374"/>
            <p:cNvSpPr>
              <a:spLocks/>
            </p:cNvSpPr>
            <p:nvPr/>
          </p:nvSpPr>
          <p:spPr bwMode="auto">
            <a:xfrm>
              <a:off x="7126" y="2317"/>
              <a:ext cx="131" cy="511"/>
            </a:xfrm>
            <a:custGeom>
              <a:avLst/>
              <a:gdLst>
                <a:gd name="T0" fmla="*/ 15 w 131"/>
                <a:gd name="T1" fmla="*/ 7 h 511"/>
                <a:gd name="T2" fmla="*/ 3 w 131"/>
                <a:gd name="T3" fmla="*/ 17 h 511"/>
                <a:gd name="T4" fmla="*/ 0 w 131"/>
                <a:gd name="T5" fmla="*/ 32 h 511"/>
                <a:gd name="T6" fmla="*/ 2 w 131"/>
                <a:gd name="T7" fmla="*/ 63 h 511"/>
                <a:gd name="T8" fmla="*/ 10 w 131"/>
                <a:gd name="T9" fmla="*/ 77 h 511"/>
                <a:gd name="T10" fmla="*/ 22 w 131"/>
                <a:gd name="T11" fmla="*/ 110 h 511"/>
                <a:gd name="T12" fmla="*/ 27 w 131"/>
                <a:gd name="T13" fmla="*/ 143 h 511"/>
                <a:gd name="T14" fmla="*/ 32 w 131"/>
                <a:gd name="T15" fmla="*/ 195 h 511"/>
                <a:gd name="T16" fmla="*/ 36 w 131"/>
                <a:gd name="T17" fmla="*/ 301 h 511"/>
                <a:gd name="T18" fmla="*/ 39 w 131"/>
                <a:gd name="T19" fmla="*/ 335 h 511"/>
                <a:gd name="T20" fmla="*/ 46 w 131"/>
                <a:gd name="T21" fmla="*/ 352 h 511"/>
                <a:gd name="T22" fmla="*/ 43 w 131"/>
                <a:gd name="T23" fmla="*/ 369 h 511"/>
                <a:gd name="T24" fmla="*/ 39 w 131"/>
                <a:gd name="T25" fmla="*/ 387 h 511"/>
                <a:gd name="T26" fmla="*/ 39 w 131"/>
                <a:gd name="T27" fmla="*/ 407 h 511"/>
                <a:gd name="T28" fmla="*/ 43 w 131"/>
                <a:gd name="T29" fmla="*/ 416 h 511"/>
                <a:gd name="T30" fmla="*/ 46 w 131"/>
                <a:gd name="T31" fmla="*/ 436 h 511"/>
                <a:gd name="T32" fmla="*/ 46 w 131"/>
                <a:gd name="T33" fmla="*/ 467 h 511"/>
                <a:gd name="T34" fmla="*/ 47 w 131"/>
                <a:gd name="T35" fmla="*/ 487 h 511"/>
                <a:gd name="T36" fmla="*/ 53 w 131"/>
                <a:gd name="T37" fmla="*/ 494 h 511"/>
                <a:gd name="T38" fmla="*/ 66 w 131"/>
                <a:gd name="T39" fmla="*/ 505 h 511"/>
                <a:gd name="T40" fmla="*/ 83 w 131"/>
                <a:gd name="T41" fmla="*/ 511 h 511"/>
                <a:gd name="T42" fmla="*/ 103 w 131"/>
                <a:gd name="T43" fmla="*/ 511 h 511"/>
                <a:gd name="T44" fmla="*/ 113 w 131"/>
                <a:gd name="T45" fmla="*/ 508 h 511"/>
                <a:gd name="T46" fmla="*/ 124 w 131"/>
                <a:gd name="T47" fmla="*/ 501 h 511"/>
                <a:gd name="T48" fmla="*/ 130 w 131"/>
                <a:gd name="T49" fmla="*/ 491 h 511"/>
                <a:gd name="T50" fmla="*/ 131 w 131"/>
                <a:gd name="T51" fmla="*/ 480 h 511"/>
                <a:gd name="T52" fmla="*/ 126 w 131"/>
                <a:gd name="T53" fmla="*/ 453 h 511"/>
                <a:gd name="T54" fmla="*/ 118 w 131"/>
                <a:gd name="T55" fmla="*/ 426 h 511"/>
                <a:gd name="T56" fmla="*/ 117 w 131"/>
                <a:gd name="T57" fmla="*/ 413 h 511"/>
                <a:gd name="T58" fmla="*/ 116 w 131"/>
                <a:gd name="T59" fmla="*/ 384 h 511"/>
                <a:gd name="T60" fmla="*/ 121 w 131"/>
                <a:gd name="T61" fmla="*/ 299 h 511"/>
                <a:gd name="T62" fmla="*/ 123 w 131"/>
                <a:gd name="T63" fmla="*/ 256 h 511"/>
                <a:gd name="T64" fmla="*/ 118 w 131"/>
                <a:gd name="T65" fmla="*/ 229 h 511"/>
                <a:gd name="T66" fmla="*/ 110 w 131"/>
                <a:gd name="T67" fmla="*/ 204 h 511"/>
                <a:gd name="T68" fmla="*/ 104 w 131"/>
                <a:gd name="T69" fmla="*/ 191 h 511"/>
                <a:gd name="T70" fmla="*/ 97 w 131"/>
                <a:gd name="T71" fmla="*/ 145 h 511"/>
                <a:gd name="T72" fmla="*/ 80 w 131"/>
                <a:gd name="T73" fmla="*/ 81 h 511"/>
                <a:gd name="T74" fmla="*/ 73 w 131"/>
                <a:gd name="T75" fmla="*/ 37 h 511"/>
                <a:gd name="T76" fmla="*/ 73 w 131"/>
                <a:gd name="T77" fmla="*/ 16 h 511"/>
                <a:gd name="T78" fmla="*/ 62 w 131"/>
                <a:gd name="T79" fmla="*/ 3 h 511"/>
                <a:gd name="T80" fmla="*/ 47 w 131"/>
                <a:gd name="T81" fmla="*/ 0 h 511"/>
                <a:gd name="T82" fmla="*/ 30 w 131"/>
                <a:gd name="T83" fmla="*/ 2 h 511"/>
                <a:gd name="T84" fmla="*/ 15 w 131"/>
                <a:gd name="T85" fmla="*/ 7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" h="511">
                  <a:moveTo>
                    <a:pt x="15" y="7"/>
                  </a:moveTo>
                  <a:lnTo>
                    <a:pt x="15" y="7"/>
                  </a:lnTo>
                  <a:lnTo>
                    <a:pt x="9" y="12"/>
                  </a:lnTo>
                  <a:lnTo>
                    <a:pt x="3" y="17"/>
                  </a:lnTo>
                  <a:lnTo>
                    <a:pt x="2" y="23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10" y="77"/>
                  </a:lnTo>
                  <a:lnTo>
                    <a:pt x="16" y="93"/>
                  </a:lnTo>
                  <a:lnTo>
                    <a:pt x="22" y="110"/>
                  </a:lnTo>
                  <a:lnTo>
                    <a:pt x="25" y="126"/>
                  </a:lnTo>
                  <a:lnTo>
                    <a:pt x="27" y="143"/>
                  </a:lnTo>
                  <a:lnTo>
                    <a:pt x="30" y="160"/>
                  </a:lnTo>
                  <a:lnTo>
                    <a:pt x="32" y="195"/>
                  </a:lnTo>
                  <a:lnTo>
                    <a:pt x="33" y="266"/>
                  </a:lnTo>
                  <a:lnTo>
                    <a:pt x="36" y="301"/>
                  </a:lnTo>
                  <a:lnTo>
                    <a:pt x="39" y="335"/>
                  </a:lnTo>
                  <a:lnTo>
                    <a:pt x="39" y="335"/>
                  </a:lnTo>
                  <a:lnTo>
                    <a:pt x="44" y="343"/>
                  </a:lnTo>
                  <a:lnTo>
                    <a:pt x="46" y="352"/>
                  </a:lnTo>
                  <a:lnTo>
                    <a:pt x="46" y="360"/>
                  </a:lnTo>
                  <a:lnTo>
                    <a:pt x="43" y="369"/>
                  </a:lnTo>
                  <a:lnTo>
                    <a:pt x="40" y="377"/>
                  </a:lnTo>
                  <a:lnTo>
                    <a:pt x="39" y="387"/>
                  </a:lnTo>
                  <a:lnTo>
                    <a:pt x="37" y="39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43" y="416"/>
                  </a:lnTo>
                  <a:lnTo>
                    <a:pt x="44" y="426"/>
                  </a:lnTo>
                  <a:lnTo>
                    <a:pt x="46" y="436"/>
                  </a:lnTo>
                  <a:lnTo>
                    <a:pt x="46" y="446"/>
                  </a:lnTo>
                  <a:lnTo>
                    <a:pt x="46" y="467"/>
                  </a:lnTo>
                  <a:lnTo>
                    <a:pt x="46" y="477"/>
                  </a:lnTo>
                  <a:lnTo>
                    <a:pt x="47" y="487"/>
                  </a:lnTo>
                  <a:lnTo>
                    <a:pt x="47" y="487"/>
                  </a:lnTo>
                  <a:lnTo>
                    <a:pt x="53" y="494"/>
                  </a:lnTo>
                  <a:lnTo>
                    <a:pt x="59" y="501"/>
                  </a:lnTo>
                  <a:lnTo>
                    <a:pt x="66" y="505"/>
                  </a:lnTo>
                  <a:lnTo>
                    <a:pt x="74" y="510"/>
                  </a:lnTo>
                  <a:lnTo>
                    <a:pt x="83" y="511"/>
                  </a:lnTo>
                  <a:lnTo>
                    <a:pt x="93" y="511"/>
                  </a:lnTo>
                  <a:lnTo>
                    <a:pt x="103" y="511"/>
                  </a:lnTo>
                  <a:lnTo>
                    <a:pt x="113" y="508"/>
                  </a:lnTo>
                  <a:lnTo>
                    <a:pt x="113" y="508"/>
                  </a:lnTo>
                  <a:lnTo>
                    <a:pt x="118" y="505"/>
                  </a:lnTo>
                  <a:lnTo>
                    <a:pt x="124" y="501"/>
                  </a:lnTo>
                  <a:lnTo>
                    <a:pt x="127" y="497"/>
                  </a:lnTo>
                  <a:lnTo>
                    <a:pt x="130" y="491"/>
                  </a:lnTo>
                  <a:lnTo>
                    <a:pt x="131" y="485"/>
                  </a:lnTo>
                  <a:lnTo>
                    <a:pt x="131" y="480"/>
                  </a:lnTo>
                  <a:lnTo>
                    <a:pt x="130" y="467"/>
                  </a:lnTo>
                  <a:lnTo>
                    <a:pt x="126" y="453"/>
                  </a:lnTo>
                  <a:lnTo>
                    <a:pt x="123" y="439"/>
                  </a:lnTo>
                  <a:lnTo>
                    <a:pt x="118" y="426"/>
                  </a:lnTo>
                  <a:lnTo>
                    <a:pt x="117" y="413"/>
                  </a:lnTo>
                  <a:lnTo>
                    <a:pt x="117" y="413"/>
                  </a:lnTo>
                  <a:lnTo>
                    <a:pt x="116" y="399"/>
                  </a:lnTo>
                  <a:lnTo>
                    <a:pt x="116" y="384"/>
                  </a:lnTo>
                  <a:lnTo>
                    <a:pt x="117" y="356"/>
                  </a:lnTo>
                  <a:lnTo>
                    <a:pt x="121" y="299"/>
                  </a:lnTo>
                  <a:lnTo>
                    <a:pt x="123" y="271"/>
                  </a:lnTo>
                  <a:lnTo>
                    <a:pt x="123" y="256"/>
                  </a:lnTo>
                  <a:lnTo>
                    <a:pt x="121" y="244"/>
                  </a:lnTo>
                  <a:lnTo>
                    <a:pt x="118" y="229"/>
                  </a:lnTo>
                  <a:lnTo>
                    <a:pt x="116" y="217"/>
                  </a:lnTo>
                  <a:lnTo>
                    <a:pt x="110" y="204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1" y="168"/>
                  </a:lnTo>
                  <a:lnTo>
                    <a:pt x="97" y="145"/>
                  </a:lnTo>
                  <a:lnTo>
                    <a:pt x="86" y="103"/>
                  </a:lnTo>
                  <a:lnTo>
                    <a:pt x="80" y="81"/>
                  </a:lnTo>
                  <a:lnTo>
                    <a:pt x="76" y="60"/>
                  </a:lnTo>
                  <a:lnTo>
                    <a:pt x="73" y="37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67" y="9"/>
                  </a:lnTo>
                  <a:lnTo>
                    <a:pt x="62" y="3"/>
                  </a:lnTo>
                  <a:lnTo>
                    <a:pt x="54" y="2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0" y="2"/>
                  </a:lnTo>
                  <a:lnTo>
                    <a:pt x="22" y="5"/>
                  </a:lnTo>
                  <a:lnTo>
                    <a:pt x="15" y="7"/>
                  </a:lnTo>
                  <a:lnTo>
                    <a:pt x="15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375"/>
            <p:cNvSpPr>
              <a:spLocks/>
            </p:cNvSpPr>
            <p:nvPr/>
          </p:nvSpPr>
          <p:spPr bwMode="auto">
            <a:xfrm>
              <a:off x="6983" y="2462"/>
              <a:ext cx="57" cy="35"/>
            </a:xfrm>
            <a:custGeom>
              <a:avLst/>
              <a:gdLst>
                <a:gd name="T0" fmla="*/ 0 w 57"/>
                <a:gd name="T1" fmla="*/ 28 h 35"/>
                <a:gd name="T2" fmla="*/ 0 w 57"/>
                <a:gd name="T3" fmla="*/ 28 h 35"/>
                <a:gd name="T4" fmla="*/ 10 w 57"/>
                <a:gd name="T5" fmla="*/ 30 h 35"/>
                <a:gd name="T6" fmla="*/ 18 w 57"/>
                <a:gd name="T7" fmla="*/ 33 h 35"/>
                <a:gd name="T8" fmla="*/ 28 w 57"/>
                <a:gd name="T9" fmla="*/ 35 h 35"/>
                <a:gd name="T10" fmla="*/ 38 w 57"/>
                <a:gd name="T11" fmla="*/ 32 h 35"/>
                <a:gd name="T12" fmla="*/ 38 w 57"/>
                <a:gd name="T13" fmla="*/ 32 h 35"/>
                <a:gd name="T14" fmla="*/ 45 w 57"/>
                <a:gd name="T15" fmla="*/ 28 h 35"/>
                <a:gd name="T16" fmla="*/ 52 w 57"/>
                <a:gd name="T17" fmla="*/ 19 h 35"/>
                <a:gd name="T18" fmla="*/ 55 w 57"/>
                <a:gd name="T19" fmla="*/ 15 h 35"/>
                <a:gd name="T20" fmla="*/ 57 w 57"/>
                <a:gd name="T21" fmla="*/ 10 h 35"/>
                <a:gd name="T22" fmla="*/ 55 w 57"/>
                <a:gd name="T23" fmla="*/ 5 h 35"/>
                <a:gd name="T24" fmla="*/ 54 w 57"/>
                <a:gd name="T25" fmla="*/ 0 h 35"/>
                <a:gd name="T26" fmla="*/ 54 w 57"/>
                <a:gd name="T27" fmla="*/ 0 h 35"/>
                <a:gd name="T28" fmla="*/ 37 w 57"/>
                <a:gd name="T29" fmla="*/ 2 h 35"/>
                <a:gd name="T30" fmla="*/ 30 w 57"/>
                <a:gd name="T31" fmla="*/ 3 h 35"/>
                <a:gd name="T32" fmla="*/ 21 w 57"/>
                <a:gd name="T33" fmla="*/ 6 h 35"/>
                <a:gd name="T34" fmla="*/ 14 w 57"/>
                <a:gd name="T35" fmla="*/ 9 h 35"/>
                <a:gd name="T36" fmla="*/ 8 w 57"/>
                <a:gd name="T37" fmla="*/ 13 h 35"/>
                <a:gd name="T38" fmla="*/ 4 w 57"/>
                <a:gd name="T39" fmla="*/ 19 h 35"/>
                <a:gd name="T40" fmla="*/ 0 w 57"/>
                <a:gd name="T41" fmla="*/ 28 h 35"/>
                <a:gd name="T42" fmla="*/ 0 w 57"/>
                <a:gd name="T43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5">
                  <a:moveTo>
                    <a:pt x="0" y="28"/>
                  </a:moveTo>
                  <a:lnTo>
                    <a:pt x="0" y="28"/>
                  </a:lnTo>
                  <a:lnTo>
                    <a:pt x="10" y="30"/>
                  </a:lnTo>
                  <a:lnTo>
                    <a:pt x="18" y="33"/>
                  </a:lnTo>
                  <a:lnTo>
                    <a:pt x="28" y="35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5" y="28"/>
                  </a:lnTo>
                  <a:lnTo>
                    <a:pt x="52" y="19"/>
                  </a:lnTo>
                  <a:lnTo>
                    <a:pt x="55" y="15"/>
                  </a:lnTo>
                  <a:lnTo>
                    <a:pt x="57" y="10"/>
                  </a:lnTo>
                  <a:lnTo>
                    <a:pt x="55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8" y="13"/>
                  </a:lnTo>
                  <a:lnTo>
                    <a:pt x="4" y="19"/>
                  </a:lnTo>
                  <a:lnTo>
                    <a:pt x="0" y="28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376"/>
            <p:cNvSpPr>
              <a:spLocks/>
            </p:cNvSpPr>
            <p:nvPr/>
          </p:nvSpPr>
          <p:spPr bwMode="auto">
            <a:xfrm>
              <a:off x="6205" y="2532"/>
              <a:ext cx="251" cy="340"/>
            </a:xfrm>
            <a:custGeom>
              <a:avLst/>
              <a:gdLst>
                <a:gd name="T0" fmla="*/ 207 w 251"/>
                <a:gd name="T1" fmla="*/ 6 h 340"/>
                <a:gd name="T2" fmla="*/ 180 w 251"/>
                <a:gd name="T3" fmla="*/ 2 h 340"/>
                <a:gd name="T4" fmla="*/ 156 w 251"/>
                <a:gd name="T5" fmla="*/ 2 h 340"/>
                <a:gd name="T6" fmla="*/ 133 w 251"/>
                <a:gd name="T7" fmla="*/ 6 h 340"/>
                <a:gd name="T8" fmla="*/ 110 w 251"/>
                <a:gd name="T9" fmla="*/ 16 h 340"/>
                <a:gd name="T10" fmla="*/ 69 w 251"/>
                <a:gd name="T11" fmla="*/ 39 h 340"/>
                <a:gd name="T12" fmla="*/ 28 w 251"/>
                <a:gd name="T13" fmla="*/ 64 h 340"/>
                <a:gd name="T14" fmla="*/ 21 w 251"/>
                <a:gd name="T15" fmla="*/ 73 h 340"/>
                <a:gd name="T16" fmla="*/ 9 w 251"/>
                <a:gd name="T17" fmla="*/ 88 h 340"/>
                <a:gd name="T18" fmla="*/ 4 w 251"/>
                <a:gd name="T19" fmla="*/ 107 h 340"/>
                <a:gd name="T20" fmla="*/ 0 w 251"/>
                <a:gd name="T21" fmla="*/ 137 h 340"/>
                <a:gd name="T22" fmla="*/ 1 w 251"/>
                <a:gd name="T23" fmla="*/ 181 h 340"/>
                <a:gd name="T24" fmla="*/ 2 w 251"/>
                <a:gd name="T25" fmla="*/ 224 h 340"/>
                <a:gd name="T26" fmla="*/ 5 w 251"/>
                <a:gd name="T27" fmla="*/ 235 h 340"/>
                <a:gd name="T28" fmla="*/ 7 w 251"/>
                <a:gd name="T29" fmla="*/ 273 h 340"/>
                <a:gd name="T30" fmla="*/ 11 w 251"/>
                <a:gd name="T31" fmla="*/ 296 h 340"/>
                <a:gd name="T32" fmla="*/ 19 w 251"/>
                <a:gd name="T33" fmla="*/ 312 h 340"/>
                <a:gd name="T34" fmla="*/ 24 w 251"/>
                <a:gd name="T35" fmla="*/ 317 h 340"/>
                <a:gd name="T36" fmla="*/ 42 w 251"/>
                <a:gd name="T37" fmla="*/ 327 h 340"/>
                <a:gd name="T38" fmla="*/ 62 w 251"/>
                <a:gd name="T39" fmla="*/ 334 h 340"/>
                <a:gd name="T40" fmla="*/ 106 w 251"/>
                <a:gd name="T41" fmla="*/ 340 h 340"/>
                <a:gd name="T42" fmla="*/ 153 w 251"/>
                <a:gd name="T43" fmla="*/ 339 h 340"/>
                <a:gd name="T44" fmla="*/ 197 w 251"/>
                <a:gd name="T45" fmla="*/ 332 h 340"/>
                <a:gd name="T46" fmla="*/ 211 w 251"/>
                <a:gd name="T47" fmla="*/ 327 h 340"/>
                <a:gd name="T48" fmla="*/ 237 w 251"/>
                <a:gd name="T49" fmla="*/ 313 h 340"/>
                <a:gd name="T50" fmla="*/ 248 w 251"/>
                <a:gd name="T51" fmla="*/ 305 h 340"/>
                <a:gd name="T52" fmla="*/ 251 w 251"/>
                <a:gd name="T53" fmla="*/ 293 h 340"/>
                <a:gd name="T54" fmla="*/ 247 w 251"/>
                <a:gd name="T55" fmla="*/ 285 h 340"/>
                <a:gd name="T56" fmla="*/ 244 w 251"/>
                <a:gd name="T57" fmla="*/ 283 h 340"/>
                <a:gd name="T58" fmla="*/ 207 w 251"/>
                <a:gd name="T59" fmla="*/ 285 h 340"/>
                <a:gd name="T60" fmla="*/ 173 w 251"/>
                <a:gd name="T61" fmla="*/ 293 h 340"/>
                <a:gd name="T62" fmla="*/ 162 w 251"/>
                <a:gd name="T63" fmla="*/ 296 h 340"/>
                <a:gd name="T64" fmla="*/ 139 w 251"/>
                <a:gd name="T65" fmla="*/ 296 h 340"/>
                <a:gd name="T66" fmla="*/ 118 w 251"/>
                <a:gd name="T67" fmla="*/ 292 h 340"/>
                <a:gd name="T68" fmla="*/ 98 w 251"/>
                <a:gd name="T69" fmla="*/ 283 h 340"/>
                <a:gd name="T70" fmla="*/ 88 w 251"/>
                <a:gd name="T71" fmla="*/ 278 h 340"/>
                <a:gd name="T72" fmla="*/ 78 w 251"/>
                <a:gd name="T73" fmla="*/ 259 h 340"/>
                <a:gd name="T74" fmla="*/ 75 w 251"/>
                <a:gd name="T75" fmla="*/ 243 h 340"/>
                <a:gd name="T76" fmla="*/ 76 w 251"/>
                <a:gd name="T77" fmla="*/ 238 h 340"/>
                <a:gd name="T78" fmla="*/ 75 w 251"/>
                <a:gd name="T79" fmla="*/ 194 h 340"/>
                <a:gd name="T80" fmla="*/ 72 w 251"/>
                <a:gd name="T81" fmla="*/ 148 h 340"/>
                <a:gd name="T82" fmla="*/ 74 w 251"/>
                <a:gd name="T83" fmla="*/ 115 h 340"/>
                <a:gd name="T84" fmla="*/ 79 w 251"/>
                <a:gd name="T85" fmla="*/ 95 h 340"/>
                <a:gd name="T86" fmla="*/ 89 w 251"/>
                <a:gd name="T87" fmla="*/ 77 h 340"/>
                <a:gd name="T88" fmla="*/ 96 w 251"/>
                <a:gd name="T89" fmla="*/ 68 h 340"/>
                <a:gd name="T90" fmla="*/ 103 w 251"/>
                <a:gd name="T91" fmla="*/ 60 h 340"/>
                <a:gd name="T92" fmla="*/ 123 w 251"/>
                <a:gd name="T93" fmla="*/ 51 h 340"/>
                <a:gd name="T94" fmla="*/ 145 w 251"/>
                <a:gd name="T95" fmla="*/ 47 h 340"/>
                <a:gd name="T96" fmla="*/ 166 w 251"/>
                <a:gd name="T97" fmla="*/ 39 h 340"/>
                <a:gd name="T98" fmla="*/ 173 w 251"/>
                <a:gd name="T99" fmla="*/ 31 h 340"/>
                <a:gd name="T100" fmla="*/ 179 w 251"/>
                <a:gd name="T101" fmla="*/ 29 h 340"/>
                <a:gd name="T102" fmla="*/ 199 w 251"/>
                <a:gd name="T103" fmla="*/ 31 h 340"/>
                <a:gd name="T104" fmla="*/ 209 w 251"/>
                <a:gd name="T105" fmla="*/ 30 h 340"/>
                <a:gd name="T106" fmla="*/ 213 w 251"/>
                <a:gd name="T107" fmla="*/ 27 h 340"/>
                <a:gd name="T108" fmla="*/ 207 w 251"/>
                <a:gd name="T109" fmla="*/ 6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1" h="340">
                  <a:moveTo>
                    <a:pt x="207" y="6"/>
                  </a:moveTo>
                  <a:lnTo>
                    <a:pt x="207" y="6"/>
                  </a:lnTo>
                  <a:lnTo>
                    <a:pt x="193" y="3"/>
                  </a:lnTo>
                  <a:lnTo>
                    <a:pt x="180" y="2"/>
                  </a:lnTo>
                  <a:lnTo>
                    <a:pt x="167" y="0"/>
                  </a:lnTo>
                  <a:lnTo>
                    <a:pt x="156" y="2"/>
                  </a:lnTo>
                  <a:lnTo>
                    <a:pt x="145" y="3"/>
                  </a:lnTo>
                  <a:lnTo>
                    <a:pt x="133" y="6"/>
                  </a:lnTo>
                  <a:lnTo>
                    <a:pt x="122" y="10"/>
                  </a:lnTo>
                  <a:lnTo>
                    <a:pt x="110" y="16"/>
                  </a:lnTo>
                  <a:lnTo>
                    <a:pt x="89" y="26"/>
                  </a:lnTo>
                  <a:lnTo>
                    <a:pt x="69" y="39"/>
                  </a:lnTo>
                  <a:lnTo>
                    <a:pt x="49" y="5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1" y="73"/>
                  </a:lnTo>
                  <a:lnTo>
                    <a:pt x="15" y="80"/>
                  </a:lnTo>
                  <a:lnTo>
                    <a:pt x="9" y="88"/>
                  </a:lnTo>
                  <a:lnTo>
                    <a:pt x="7" y="98"/>
                  </a:lnTo>
                  <a:lnTo>
                    <a:pt x="4" y="107"/>
                  </a:lnTo>
                  <a:lnTo>
                    <a:pt x="1" y="117"/>
                  </a:lnTo>
                  <a:lnTo>
                    <a:pt x="0" y="137"/>
                  </a:lnTo>
                  <a:lnTo>
                    <a:pt x="1" y="158"/>
                  </a:lnTo>
                  <a:lnTo>
                    <a:pt x="1" y="181"/>
                  </a:lnTo>
                  <a:lnTo>
                    <a:pt x="2" y="202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5" y="235"/>
                  </a:lnTo>
                  <a:lnTo>
                    <a:pt x="7" y="248"/>
                  </a:lnTo>
                  <a:lnTo>
                    <a:pt x="7" y="273"/>
                  </a:lnTo>
                  <a:lnTo>
                    <a:pt x="8" y="285"/>
                  </a:lnTo>
                  <a:lnTo>
                    <a:pt x="11" y="296"/>
                  </a:lnTo>
                  <a:lnTo>
                    <a:pt x="15" y="307"/>
                  </a:lnTo>
                  <a:lnTo>
                    <a:pt x="19" y="312"/>
                  </a:lnTo>
                  <a:lnTo>
                    <a:pt x="24" y="317"/>
                  </a:lnTo>
                  <a:lnTo>
                    <a:pt x="24" y="317"/>
                  </a:lnTo>
                  <a:lnTo>
                    <a:pt x="32" y="323"/>
                  </a:lnTo>
                  <a:lnTo>
                    <a:pt x="42" y="327"/>
                  </a:lnTo>
                  <a:lnTo>
                    <a:pt x="51" y="332"/>
                  </a:lnTo>
                  <a:lnTo>
                    <a:pt x="62" y="334"/>
                  </a:lnTo>
                  <a:lnTo>
                    <a:pt x="83" y="339"/>
                  </a:lnTo>
                  <a:lnTo>
                    <a:pt x="106" y="340"/>
                  </a:lnTo>
                  <a:lnTo>
                    <a:pt x="130" y="340"/>
                  </a:lnTo>
                  <a:lnTo>
                    <a:pt x="153" y="339"/>
                  </a:lnTo>
                  <a:lnTo>
                    <a:pt x="176" y="336"/>
                  </a:lnTo>
                  <a:lnTo>
                    <a:pt x="197" y="332"/>
                  </a:lnTo>
                  <a:lnTo>
                    <a:pt x="197" y="332"/>
                  </a:lnTo>
                  <a:lnTo>
                    <a:pt x="211" y="327"/>
                  </a:lnTo>
                  <a:lnTo>
                    <a:pt x="224" y="320"/>
                  </a:lnTo>
                  <a:lnTo>
                    <a:pt x="237" y="313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51" y="299"/>
                  </a:lnTo>
                  <a:lnTo>
                    <a:pt x="251" y="293"/>
                  </a:lnTo>
                  <a:lnTo>
                    <a:pt x="250" y="288"/>
                  </a:lnTo>
                  <a:lnTo>
                    <a:pt x="247" y="285"/>
                  </a:lnTo>
                  <a:lnTo>
                    <a:pt x="244" y="283"/>
                  </a:lnTo>
                  <a:lnTo>
                    <a:pt x="244" y="283"/>
                  </a:lnTo>
                  <a:lnTo>
                    <a:pt x="226" y="283"/>
                  </a:lnTo>
                  <a:lnTo>
                    <a:pt x="207" y="285"/>
                  </a:lnTo>
                  <a:lnTo>
                    <a:pt x="190" y="288"/>
                  </a:lnTo>
                  <a:lnTo>
                    <a:pt x="173" y="293"/>
                  </a:lnTo>
                  <a:lnTo>
                    <a:pt x="173" y="293"/>
                  </a:lnTo>
                  <a:lnTo>
                    <a:pt x="162" y="296"/>
                  </a:lnTo>
                  <a:lnTo>
                    <a:pt x="150" y="296"/>
                  </a:lnTo>
                  <a:lnTo>
                    <a:pt x="139" y="296"/>
                  </a:lnTo>
                  <a:lnTo>
                    <a:pt x="128" y="295"/>
                  </a:lnTo>
                  <a:lnTo>
                    <a:pt x="118" y="292"/>
                  </a:lnTo>
                  <a:lnTo>
                    <a:pt x="108" y="288"/>
                  </a:lnTo>
                  <a:lnTo>
                    <a:pt x="98" y="283"/>
                  </a:lnTo>
                  <a:lnTo>
                    <a:pt x="88" y="278"/>
                  </a:lnTo>
                  <a:lnTo>
                    <a:pt x="88" y="278"/>
                  </a:lnTo>
                  <a:lnTo>
                    <a:pt x="82" y="269"/>
                  </a:lnTo>
                  <a:lnTo>
                    <a:pt x="78" y="259"/>
                  </a:lnTo>
                  <a:lnTo>
                    <a:pt x="75" y="249"/>
                  </a:lnTo>
                  <a:lnTo>
                    <a:pt x="75" y="243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6" y="216"/>
                  </a:lnTo>
                  <a:lnTo>
                    <a:pt x="75" y="194"/>
                  </a:lnTo>
                  <a:lnTo>
                    <a:pt x="74" y="171"/>
                  </a:lnTo>
                  <a:lnTo>
                    <a:pt x="72" y="148"/>
                  </a:lnTo>
                  <a:lnTo>
                    <a:pt x="74" y="125"/>
                  </a:lnTo>
                  <a:lnTo>
                    <a:pt x="74" y="115"/>
                  </a:lnTo>
                  <a:lnTo>
                    <a:pt x="76" y="105"/>
                  </a:lnTo>
                  <a:lnTo>
                    <a:pt x="79" y="95"/>
                  </a:lnTo>
                  <a:lnTo>
                    <a:pt x="83" y="86"/>
                  </a:lnTo>
                  <a:lnTo>
                    <a:pt x="89" y="77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101" y="64"/>
                  </a:lnTo>
                  <a:lnTo>
                    <a:pt x="103" y="60"/>
                  </a:lnTo>
                  <a:lnTo>
                    <a:pt x="113" y="54"/>
                  </a:lnTo>
                  <a:lnTo>
                    <a:pt x="123" y="51"/>
                  </a:lnTo>
                  <a:lnTo>
                    <a:pt x="135" y="49"/>
                  </a:lnTo>
                  <a:lnTo>
                    <a:pt x="145" y="47"/>
                  </a:lnTo>
                  <a:lnTo>
                    <a:pt x="156" y="44"/>
                  </a:lnTo>
                  <a:lnTo>
                    <a:pt x="166" y="39"/>
                  </a:lnTo>
                  <a:lnTo>
                    <a:pt x="170" y="36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9" y="29"/>
                  </a:lnTo>
                  <a:lnTo>
                    <a:pt x="186" y="29"/>
                  </a:lnTo>
                  <a:lnTo>
                    <a:pt x="199" y="31"/>
                  </a:lnTo>
                  <a:lnTo>
                    <a:pt x="204" y="31"/>
                  </a:lnTo>
                  <a:lnTo>
                    <a:pt x="209" y="30"/>
                  </a:lnTo>
                  <a:lnTo>
                    <a:pt x="211" y="29"/>
                  </a:lnTo>
                  <a:lnTo>
                    <a:pt x="213" y="27"/>
                  </a:lnTo>
                  <a:lnTo>
                    <a:pt x="213" y="19"/>
                  </a:lnTo>
                  <a:lnTo>
                    <a:pt x="207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377"/>
            <p:cNvSpPr>
              <a:spLocks/>
            </p:cNvSpPr>
            <p:nvPr/>
          </p:nvSpPr>
          <p:spPr bwMode="auto">
            <a:xfrm>
              <a:off x="6930" y="2569"/>
              <a:ext cx="110" cy="295"/>
            </a:xfrm>
            <a:custGeom>
              <a:avLst/>
              <a:gdLst>
                <a:gd name="T0" fmla="*/ 73 w 110"/>
                <a:gd name="T1" fmla="*/ 0 h 295"/>
                <a:gd name="T2" fmla="*/ 73 w 110"/>
                <a:gd name="T3" fmla="*/ 0 h 295"/>
                <a:gd name="T4" fmla="*/ 67 w 110"/>
                <a:gd name="T5" fmla="*/ 2 h 295"/>
                <a:gd name="T6" fmla="*/ 61 w 110"/>
                <a:gd name="T7" fmla="*/ 4 h 295"/>
                <a:gd name="T8" fmla="*/ 57 w 110"/>
                <a:gd name="T9" fmla="*/ 7 h 295"/>
                <a:gd name="T10" fmla="*/ 54 w 110"/>
                <a:gd name="T11" fmla="*/ 12 h 295"/>
                <a:gd name="T12" fmla="*/ 48 w 110"/>
                <a:gd name="T13" fmla="*/ 20 h 295"/>
                <a:gd name="T14" fmla="*/ 43 w 110"/>
                <a:gd name="T15" fmla="*/ 30 h 295"/>
                <a:gd name="T16" fmla="*/ 43 w 110"/>
                <a:gd name="T17" fmla="*/ 30 h 295"/>
                <a:gd name="T18" fmla="*/ 44 w 110"/>
                <a:gd name="T19" fmla="*/ 57 h 295"/>
                <a:gd name="T20" fmla="*/ 41 w 110"/>
                <a:gd name="T21" fmla="*/ 83 h 295"/>
                <a:gd name="T22" fmla="*/ 37 w 110"/>
                <a:gd name="T23" fmla="*/ 108 h 295"/>
                <a:gd name="T24" fmla="*/ 33 w 110"/>
                <a:gd name="T25" fmla="*/ 132 h 295"/>
                <a:gd name="T26" fmla="*/ 26 w 110"/>
                <a:gd name="T27" fmla="*/ 157 h 295"/>
                <a:gd name="T28" fmla="*/ 17 w 110"/>
                <a:gd name="T29" fmla="*/ 181 h 295"/>
                <a:gd name="T30" fmla="*/ 0 w 110"/>
                <a:gd name="T31" fmla="*/ 225 h 295"/>
                <a:gd name="T32" fmla="*/ 0 w 110"/>
                <a:gd name="T33" fmla="*/ 225 h 295"/>
                <a:gd name="T34" fmla="*/ 3 w 110"/>
                <a:gd name="T35" fmla="*/ 245 h 295"/>
                <a:gd name="T36" fmla="*/ 7 w 110"/>
                <a:gd name="T37" fmla="*/ 265 h 295"/>
                <a:gd name="T38" fmla="*/ 11 w 110"/>
                <a:gd name="T39" fmla="*/ 273 h 295"/>
                <a:gd name="T40" fmla="*/ 16 w 110"/>
                <a:gd name="T41" fmla="*/ 280 h 295"/>
                <a:gd name="T42" fmla="*/ 21 w 110"/>
                <a:gd name="T43" fmla="*/ 288 h 295"/>
                <a:gd name="T44" fmla="*/ 28 w 110"/>
                <a:gd name="T45" fmla="*/ 292 h 295"/>
                <a:gd name="T46" fmla="*/ 28 w 110"/>
                <a:gd name="T47" fmla="*/ 292 h 295"/>
                <a:gd name="T48" fmla="*/ 36 w 110"/>
                <a:gd name="T49" fmla="*/ 295 h 295"/>
                <a:gd name="T50" fmla="*/ 44 w 110"/>
                <a:gd name="T51" fmla="*/ 295 h 295"/>
                <a:gd name="T52" fmla="*/ 51 w 110"/>
                <a:gd name="T53" fmla="*/ 295 h 295"/>
                <a:gd name="T54" fmla="*/ 58 w 110"/>
                <a:gd name="T55" fmla="*/ 293 h 295"/>
                <a:gd name="T56" fmla="*/ 65 w 110"/>
                <a:gd name="T57" fmla="*/ 290 h 295"/>
                <a:gd name="T58" fmla="*/ 71 w 110"/>
                <a:gd name="T59" fmla="*/ 286 h 295"/>
                <a:gd name="T60" fmla="*/ 77 w 110"/>
                <a:gd name="T61" fmla="*/ 282 h 295"/>
                <a:gd name="T62" fmla="*/ 81 w 110"/>
                <a:gd name="T63" fmla="*/ 276 h 295"/>
                <a:gd name="T64" fmla="*/ 81 w 110"/>
                <a:gd name="T65" fmla="*/ 276 h 295"/>
                <a:gd name="T66" fmla="*/ 83 w 110"/>
                <a:gd name="T67" fmla="*/ 270 h 295"/>
                <a:gd name="T68" fmla="*/ 84 w 110"/>
                <a:gd name="T69" fmla="*/ 266 h 295"/>
                <a:gd name="T70" fmla="*/ 84 w 110"/>
                <a:gd name="T71" fmla="*/ 262 h 295"/>
                <a:gd name="T72" fmla="*/ 84 w 110"/>
                <a:gd name="T73" fmla="*/ 258 h 295"/>
                <a:gd name="T74" fmla="*/ 81 w 110"/>
                <a:gd name="T75" fmla="*/ 249 h 295"/>
                <a:gd name="T76" fmla="*/ 77 w 110"/>
                <a:gd name="T77" fmla="*/ 242 h 295"/>
                <a:gd name="T78" fmla="*/ 71 w 110"/>
                <a:gd name="T79" fmla="*/ 235 h 295"/>
                <a:gd name="T80" fmla="*/ 68 w 110"/>
                <a:gd name="T81" fmla="*/ 226 h 295"/>
                <a:gd name="T82" fmla="*/ 67 w 110"/>
                <a:gd name="T83" fmla="*/ 222 h 295"/>
                <a:gd name="T84" fmla="*/ 67 w 110"/>
                <a:gd name="T85" fmla="*/ 218 h 295"/>
                <a:gd name="T86" fmla="*/ 68 w 110"/>
                <a:gd name="T87" fmla="*/ 214 h 295"/>
                <a:gd name="T88" fmla="*/ 70 w 110"/>
                <a:gd name="T89" fmla="*/ 209 h 295"/>
                <a:gd name="T90" fmla="*/ 70 w 110"/>
                <a:gd name="T91" fmla="*/ 209 h 295"/>
                <a:gd name="T92" fmla="*/ 81 w 110"/>
                <a:gd name="T93" fmla="*/ 188 h 295"/>
                <a:gd name="T94" fmla="*/ 90 w 110"/>
                <a:gd name="T95" fmla="*/ 167 h 295"/>
                <a:gd name="T96" fmla="*/ 98 w 110"/>
                <a:gd name="T97" fmla="*/ 145 h 295"/>
                <a:gd name="T98" fmla="*/ 102 w 110"/>
                <a:gd name="T99" fmla="*/ 122 h 295"/>
                <a:gd name="T100" fmla="*/ 107 w 110"/>
                <a:gd name="T101" fmla="*/ 98 h 295"/>
                <a:gd name="T102" fmla="*/ 110 w 110"/>
                <a:gd name="T103" fmla="*/ 74 h 295"/>
                <a:gd name="T104" fmla="*/ 110 w 110"/>
                <a:gd name="T105" fmla="*/ 50 h 295"/>
                <a:gd name="T106" fmla="*/ 108 w 110"/>
                <a:gd name="T107" fmla="*/ 24 h 295"/>
                <a:gd name="T108" fmla="*/ 108 w 110"/>
                <a:gd name="T109" fmla="*/ 24 h 295"/>
                <a:gd name="T110" fmla="*/ 105 w 110"/>
                <a:gd name="T111" fmla="*/ 17 h 295"/>
                <a:gd name="T112" fmla="*/ 102 w 110"/>
                <a:gd name="T113" fmla="*/ 13 h 295"/>
                <a:gd name="T114" fmla="*/ 100 w 110"/>
                <a:gd name="T115" fmla="*/ 9 h 295"/>
                <a:gd name="T116" fmla="*/ 95 w 110"/>
                <a:gd name="T117" fmla="*/ 6 h 295"/>
                <a:gd name="T118" fmla="*/ 90 w 110"/>
                <a:gd name="T119" fmla="*/ 3 h 295"/>
                <a:gd name="T120" fmla="*/ 84 w 110"/>
                <a:gd name="T121" fmla="*/ 2 h 295"/>
                <a:gd name="T122" fmla="*/ 73 w 110"/>
                <a:gd name="T123" fmla="*/ 0 h 295"/>
                <a:gd name="T124" fmla="*/ 73 w 110"/>
                <a:gd name="T125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0" h="295">
                  <a:moveTo>
                    <a:pt x="73" y="0"/>
                  </a:moveTo>
                  <a:lnTo>
                    <a:pt x="73" y="0"/>
                  </a:lnTo>
                  <a:lnTo>
                    <a:pt x="67" y="2"/>
                  </a:lnTo>
                  <a:lnTo>
                    <a:pt x="61" y="4"/>
                  </a:lnTo>
                  <a:lnTo>
                    <a:pt x="57" y="7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4" y="57"/>
                  </a:lnTo>
                  <a:lnTo>
                    <a:pt x="41" y="83"/>
                  </a:lnTo>
                  <a:lnTo>
                    <a:pt x="37" y="108"/>
                  </a:lnTo>
                  <a:lnTo>
                    <a:pt x="33" y="132"/>
                  </a:lnTo>
                  <a:lnTo>
                    <a:pt x="26" y="157"/>
                  </a:lnTo>
                  <a:lnTo>
                    <a:pt x="17" y="181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3" y="245"/>
                  </a:lnTo>
                  <a:lnTo>
                    <a:pt x="7" y="265"/>
                  </a:lnTo>
                  <a:lnTo>
                    <a:pt x="11" y="273"/>
                  </a:lnTo>
                  <a:lnTo>
                    <a:pt x="16" y="280"/>
                  </a:lnTo>
                  <a:lnTo>
                    <a:pt x="21" y="288"/>
                  </a:lnTo>
                  <a:lnTo>
                    <a:pt x="28" y="292"/>
                  </a:lnTo>
                  <a:lnTo>
                    <a:pt x="28" y="292"/>
                  </a:lnTo>
                  <a:lnTo>
                    <a:pt x="36" y="295"/>
                  </a:lnTo>
                  <a:lnTo>
                    <a:pt x="44" y="295"/>
                  </a:lnTo>
                  <a:lnTo>
                    <a:pt x="51" y="295"/>
                  </a:lnTo>
                  <a:lnTo>
                    <a:pt x="58" y="293"/>
                  </a:lnTo>
                  <a:lnTo>
                    <a:pt x="65" y="290"/>
                  </a:lnTo>
                  <a:lnTo>
                    <a:pt x="71" y="286"/>
                  </a:lnTo>
                  <a:lnTo>
                    <a:pt x="77" y="282"/>
                  </a:lnTo>
                  <a:lnTo>
                    <a:pt x="81" y="276"/>
                  </a:lnTo>
                  <a:lnTo>
                    <a:pt x="81" y="276"/>
                  </a:lnTo>
                  <a:lnTo>
                    <a:pt x="83" y="270"/>
                  </a:lnTo>
                  <a:lnTo>
                    <a:pt x="84" y="266"/>
                  </a:lnTo>
                  <a:lnTo>
                    <a:pt x="84" y="262"/>
                  </a:lnTo>
                  <a:lnTo>
                    <a:pt x="84" y="258"/>
                  </a:lnTo>
                  <a:lnTo>
                    <a:pt x="81" y="249"/>
                  </a:lnTo>
                  <a:lnTo>
                    <a:pt x="77" y="242"/>
                  </a:lnTo>
                  <a:lnTo>
                    <a:pt x="71" y="235"/>
                  </a:lnTo>
                  <a:lnTo>
                    <a:pt x="68" y="226"/>
                  </a:lnTo>
                  <a:lnTo>
                    <a:pt x="67" y="222"/>
                  </a:lnTo>
                  <a:lnTo>
                    <a:pt x="67" y="218"/>
                  </a:lnTo>
                  <a:lnTo>
                    <a:pt x="68" y="214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81" y="188"/>
                  </a:lnTo>
                  <a:lnTo>
                    <a:pt x="90" y="167"/>
                  </a:lnTo>
                  <a:lnTo>
                    <a:pt x="98" y="145"/>
                  </a:lnTo>
                  <a:lnTo>
                    <a:pt x="102" y="122"/>
                  </a:lnTo>
                  <a:lnTo>
                    <a:pt x="107" y="98"/>
                  </a:lnTo>
                  <a:lnTo>
                    <a:pt x="110" y="74"/>
                  </a:lnTo>
                  <a:lnTo>
                    <a:pt x="110" y="50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5" y="17"/>
                  </a:lnTo>
                  <a:lnTo>
                    <a:pt x="102" y="13"/>
                  </a:lnTo>
                  <a:lnTo>
                    <a:pt x="100" y="9"/>
                  </a:lnTo>
                  <a:lnTo>
                    <a:pt x="95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3" y="0"/>
                  </a:lnTo>
                  <a:lnTo>
                    <a:pt x="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" name="Freeform 378"/>
            <p:cNvSpPr>
              <a:spLocks/>
            </p:cNvSpPr>
            <p:nvPr/>
          </p:nvSpPr>
          <p:spPr bwMode="auto">
            <a:xfrm>
              <a:off x="7382" y="2317"/>
              <a:ext cx="375" cy="548"/>
            </a:xfrm>
            <a:custGeom>
              <a:avLst/>
              <a:gdLst>
                <a:gd name="T0" fmla="*/ 306 w 375"/>
                <a:gd name="T1" fmla="*/ 3 h 548"/>
                <a:gd name="T2" fmla="*/ 296 w 375"/>
                <a:gd name="T3" fmla="*/ 17 h 548"/>
                <a:gd name="T4" fmla="*/ 292 w 375"/>
                <a:gd name="T5" fmla="*/ 63 h 548"/>
                <a:gd name="T6" fmla="*/ 303 w 375"/>
                <a:gd name="T7" fmla="*/ 214 h 548"/>
                <a:gd name="T8" fmla="*/ 305 w 375"/>
                <a:gd name="T9" fmla="*/ 323 h 548"/>
                <a:gd name="T10" fmla="*/ 295 w 375"/>
                <a:gd name="T11" fmla="*/ 329 h 548"/>
                <a:gd name="T12" fmla="*/ 284 w 375"/>
                <a:gd name="T13" fmla="*/ 325 h 548"/>
                <a:gd name="T14" fmla="*/ 239 w 375"/>
                <a:gd name="T15" fmla="*/ 278 h 548"/>
                <a:gd name="T16" fmla="*/ 235 w 375"/>
                <a:gd name="T17" fmla="*/ 268 h 548"/>
                <a:gd name="T18" fmla="*/ 215 w 375"/>
                <a:gd name="T19" fmla="*/ 258 h 548"/>
                <a:gd name="T20" fmla="*/ 184 w 375"/>
                <a:gd name="T21" fmla="*/ 255 h 548"/>
                <a:gd name="T22" fmla="*/ 167 w 375"/>
                <a:gd name="T23" fmla="*/ 264 h 548"/>
                <a:gd name="T24" fmla="*/ 130 w 375"/>
                <a:gd name="T25" fmla="*/ 268 h 548"/>
                <a:gd name="T26" fmla="*/ 87 w 375"/>
                <a:gd name="T27" fmla="*/ 279 h 548"/>
                <a:gd name="T28" fmla="*/ 27 w 375"/>
                <a:gd name="T29" fmla="*/ 309 h 548"/>
                <a:gd name="T30" fmla="*/ 8 w 375"/>
                <a:gd name="T31" fmla="*/ 363 h 548"/>
                <a:gd name="T32" fmla="*/ 0 w 375"/>
                <a:gd name="T33" fmla="*/ 409 h 548"/>
                <a:gd name="T34" fmla="*/ 6 w 375"/>
                <a:gd name="T35" fmla="*/ 441 h 548"/>
                <a:gd name="T36" fmla="*/ 25 w 375"/>
                <a:gd name="T37" fmla="*/ 480 h 548"/>
                <a:gd name="T38" fmla="*/ 29 w 375"/>
                <a:gd name="T39" fmla="*/ 495 h 548"/>
                <a:gd name="T40" fmla="*/ 40 w 375"/>
                <a:gd name="T41" fmla="*/ 505 h 548"/>
                <a:gd name="T42" fmla="*/ 60 w 375"/>
                <a:gd name="T43" fmla="*/ 508 h 548"/>
                <a:gd name="T44" fmla="*/ 133 w 375"/>
                <a:gd name="T45" fmla="*/ 541 h 548"/>
                <a:gd name="T46" fmla="*/ 192 w 375"/>
                <a:gd name="T47" fmla="*/ 548 h 548"/>
                <a:gd name="T48" fmla="*/ 222 w 375"/>
                <a:gd name="T49" fmla="*/ 544 h 548"/>
                <a:gd name="T50" fmla="*/ 241 w 375"/>
                <a:gd name="T51" fmla="*/ 532 h 548"/>
                <a:gd name="T52" fmla="*/ 261 w 375"/>
                <a:gd name="T53" fmla="*/ 508 h 548"/>
                <a:gd name="T54" fmla="*/ 278 w 375"/>
                <a:gd name="T55" fmla="*/ 508 h 548"/>
                <a:gd name="T56" fmla="*/ 301 w 375"/>
                <a:gd name="T57" fmla="*/ 522 h 548"/>
                <a:gd name="T58" fmla="*/ 325 w 375"/>
                <a:gd name="T59" fmla="*/ 544 h 548"/>
                <a:gd name="T60" fmla="*/ 336 w 375"/>
                <a:gd name="T61" fmla="*/ 547 h 548"/>
                <a:gd name="T62" fmla="*/ 363 w 375"/>
                <a:gd name="T63" fmla="*/ 538 h 548"/>
                <a:gd name="T64" fmla="*/ 375 w 375"/>
                <a:gd name="T65" fmla="*/ 525 h 548"/>
                <a:gd name="T66" fmla="*/ 370 w 375"/>
                <a:gd name="T67" fmla="*/ 504 h 548"/>
                <a:gd name="T68" fmla="*/ 356 w 375"/>
                <a:gd name="T69" fmla="*/ 464 h 548"/>
                <a:gd name="T70" fmla="*/ 355 w 375"/>
                <a:gd name="T71" fmla="*/ 443 h 548"/>
                <a:gd name="T72" fmla="*/ 365 w 375"/>
                <a:gd name="T73" fmla="*/ 325 h 548"/>
                <a:gd name="T74" fmla="*/ 363 w 375"/>
                <a:gd name="T75" fmla="*/ 204 h 548"/>
                <a:gd name="T76" fmla="*/ 356 w 375"/>
                <a:gd name="T77" fmla="*/ 126 h 548"/>
                <a:gd name="T78" fmla="*/ 345 w 375"/>
                <a:gd name="T79" fmla="*/ 42 h 548"/>
                <a:gd name="T80" fmla="*/ 336 w 375"/>
                <a:gd name="T81" fmla="*/ 10 h 548"/>
                <a:gd name="T82" fmla="*/ 318 w 375"/>
                <a:gd name="T83" fmla="*/ 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548">
                  <a:moveTo>
                    <a:pt x="311" y="0"/>
                  </a:moveTo>
                  <a:lnTo>
                    <a:pt x="311" y="0"/>
                  </a:lnTo>
                  <a:lnTo>
                    <a:pt x="306" y="3"/>
                  </a:lnTo>
                  <a:lnTo>
                    <a:pt x="303" y="5"/>
                  </a:lnTo>
                  <a:lnTo>
                    <a:pt x="299" y="10"/>
                  </a:lnTo>
                  <a:lnTo>
                    <a:pt x="296" y="17"/>
                  </a:lnTo>
                  <a:lnTo>
                    <a:pt x="292" y="23"/>
                  </a:lnTo>
                  <a:lnTo>
                    <a:pt x="292" y="23"/>
                  </a:lnTo>
                  <a:lnTo>
                    <a:pt x="292" y="63"/>
                  </a:lnTo>
                  <a:lnTo>
                    <a:pt x="293" y="101"/>
                  </a:lnTo>
                  <a:lnTo>
                    <a:pt x="301" y="177"/>
                  </a:lnTo>
                  <a:lnTo>
                    <a:pt x="303" y="214"/>
                  </a:lnTo>
                  <a:lnTo>
                    <a:pt x="306" y="251"/>
                  </a:lnTo>
                  <a:lnTo>
                    <a:pt x="306" y="288"/>
                  </a:lnTo>
                  <a:lnTo>
                    <a:pt x="305" y="323"/>
                  </a:lnTo>
                  <a:lnTo>
                    <a:pt x="305" y="323"/>
                  </a:lnTo>
                  <a:lnTo>
                    <a:pt x="299" y="329"/>
                  </a:lnTo>
                  <a:lnTo>
                    <a:pt x="295" y="329"/>
                  </a:lnTo>
                  <a:lnTo>
                    <a:pt x="292" y="330"/>
                  </a:lnTo>
                  <a:lnTo>
                    <a:pt x="292" y="330"/>
                  </a:lnTo>
                  <a:lnTo>
                    <a:pt x="284" y="325"/>
                  </a:lnTo>
                  <a:lnTo>
                    <a:pt x="276" y="320"/>
                  </a:lnTo>
                  <a:lnTo>
                    <a:pt x="264" y="308"/>
                  </a:lnTo>
                  <a:lnTo>
                    <a:pt x="239" y="278"/>
                  </a:lnTo>
                  <a:lnTo>
                    <a:pt x="239" y="273"/>
                  </a:lnTo>
                  <a:lnTo>
                    <a:pt x="239" y="273"/>
                  </a:lnTo>
                  <a:lnTo>
                    <a:pt x="235" y="268"/>
                  </a:lnTo>
                  <a:lnTo>
                    <a:pt x="228" y="264"/>
                  </a:lnTo>
                  <a:lnTo>
                    <a:pt x="222" y="261"/>
                  </a:lnTo>
                  <a:lnTo>
                    <a:pt x="215" y="258"/>
                  </a:lnTo>
                  <a:lnTo>
                    <a:pt x="208" y="255"/>
                  </a:lnTo>
                  <a:lnTo>
                    <a:pt x="200" y="255"/>
                  </a:lnTo>
                  <a:lnTo>
                    <a:pt x="184" y="255"/>
                  </a:lnTo>
                  <a:lnTo>
                    <a:pt x="184" y="255"/>
                  </a:lnTo>
                  <a:lnTo>
                    <a:pt x="175" y="261"/>
                  </a:lnTo>
                  <a:lnTo>
                    <a:pt x="167" y="264"/>
                  </a:lnTo>
                  <a:lnTo>
                    <a:pt x="158" y="266"/>
                  </a:lnTo>
                  <a:lnTo>
                    <a:pt x="150" y="266"/>
                  </a:lnTo>
                  <a:lnTo>
                    <a:pt x="13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87" y="279"/>
                  </a:lnTo>
                  <a:lnTo>
                    <a:pt x="63" y="291"/>
                  </a:lnTo>
                  <a:lnTo>
                    <a:pt x="39" y="302"/>
                  </a:lnTo>
                  <a:lnTo>
                    <a:pt x="27" y="309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8" y="363"/>
                  </a:lnTo>
                  <a:lnTo>
                    <a:pt x="3" y="386"/>
                  </a:lnTo>
                  <a:lnTo>
                    <a:pt x="0" y="409"/>
                  </a:lnTo>
                  <a:lnTo>
                    <a:pt x="0" y="409"/>
                  </a:lnTo>
                  <a:lnTo>
                    <a:pt x="0" y="421"/>
                  </a:lnTo>
                  <a:lnTo>
                    <a:pt x="2" y="431"/>
                  </a:lnTo>
                  <a:lnTo>
                    <a:pt x="6" y="441"/>
                  </a:lnTo>
                  <a:lnTo>
                    <a:pt x="10" y="451"/>
                  </a:lnTo>
                  <a:lnTo>
                    <a:pt x="20" y="470"/>
                  </a:lnTo>
                  <a:lnTo>
                    <a:pt x="25" y="480"/>
                  </a:lnTo>
                  <a:lnTo>
                    <a:pt x="27" y="490"/>
                  </a:lnTo>
                  <a:lnTo>
                    <a:pt x="27" y="490"/>
                  </a:lnTo>
                  <a:lnTo>
                    <a:pt x="29" y="495"/>
                  </a:lnTo>
                  <a:lnTo>
                    <a:pt x="32" y="500"/>
                  </a:lnTo>
                  <a:lnTo>
                    <a:pt x="36" y="503"/>
                  </a:lnTo>
                  <a:lnTo>
                    <a:pt x="40" y="505"/>
                  </a:lnTo>
                  <a:lnTo>
                    <a:pt x="50" y="508"/>
                  </a:lnTo>
                  <a:lnTo>
                    <a:pt x="60" y="508"/>
                  </a:lnTo>
                  <a:lnTo>
                    <a:pt x="60" y="508"/>
                  </a:lnTo>
                  <a:lnTo>
                    <a:pt x="96" y="527"/>
                  </a:lnTo>
                  <a:lnTo>
                    <a:pt x="114" y="534"/>
                  </a:lnTo>
                  <a:lnTo>
                    <a:pt x="133" y="541"/>
                  </a:lnTo>
                  <a:lnTo>
                    <a:pt x="151" y="545"/>
                  </a:lnTo>
                  <a:lnTo>
                    <a:pt x="171" y="548"/>
                  </a:lnTo>
                  <a:lnTo>
                    <a:pt x="192" y="548"/>
                  </a:lnTo>
                  <a:lnTo>
                    <a:pt x="215" y="547"/>
                  </a:lnTo>
                  <a:lnTo>
                    <a:pt x="215" y="547"/>
                  </a:lnTo>
                  <a:lnTo>
                    <a:pt x="222" y="544"/>
                  </a:lnTo>
                  <a:lnTo>
                    <a:pt x="229" y="541"/>
                  </a:lnTo>
                  <a:lnTo>
                    <a:pt x="235" y="537"/>
                  </a:lnTo>
                  <a:lnTo>
                    <a:pt x="241" y="532"/>
                  </a:lnTo>
                  <a:lnTo>
                    <a:pt x="249" y="521"/>
                  </a:lnTo>
                  <a:lnTo>
                    <a:pt x="261" y="508"/>
                  </a:lnTo>
                  <a:lnTo>
                    <a:pt x="261" y="508"/>
                  </a:lnTo>
                  <a:lnTo>
                    <a:pt x="266" y="507"/>
                  </a:lnTo>
                  <a:lnTo>
                    <a:pt x="274" y="507"/>
                  </a:lnTo>
                  <a:lnTo>
                    <a:pt x="278" y="508"/>
                  </a:lnTo>
                  <a:lnTo>
                    <a:pt x="284" y="510"/>
                  </a:lnTo>
                  <a:lnTo>
                    <a:pt x="292" y="515"/>
                  </a:lnTo>
                  <a:lnTo>
                    <a:pt x="301" y="522"/>
                  </a:lnTo>
                  <a:lnTo>
                    <a:pt x="308" y="531"/>
                  </a:lnTo>
                  <a:lnTo>
                    <a:pt x="316" y="538"/>
                  </a:lnTo>
                  <a:lnTo>
                    <a:pt x="325" y="544"/>
                  </a:lnTo>
                  <a:lnTo>
                    <a:pt x="330" y="545"/>
                  </a:lnTo>
                  <a:lnTo>
                    <a:pt x="336" y="547"/>
                  </a:lnTo>
                  <a:lnTo>
                    <a:pt x="336" y="547"/>
                  </a:lnTo>
                  <a:lnTo>
                    <a:pt x="348" y="545"/>
                  </a:lnTo>
                  <a:lnTo>
                    <a:pt x="359" y="541"/>
                  </a:lnTo>
                  <a:lnTo>
                    <a:pt x="363" y="538"/>
                  </a:lnTo>
                  <a:lnTo>
                    <a:pt x="369" y="535"/>
                  </a:lnTo>
                  <a:lnTo>
                    <a:pt x="372" y="531"/>
                  </a:lnTo>
                  <a:lnTo>
                    <a:pt x="375" y="525"/>
                  </a:lnTo>
                  <a:lnTo>
                    <a:pt x="375" y="525"/>
                  </a:lnTo>
                  <a:lnTo>
                    <a:pt x="373" y="515"/>
                  </a:lnTo>
                  <a:lnTo>
                    <a:pt x="370" y="504"/>
                  </a:lnTo>
                  <a:lnTo>
                    <a:pt x="363" y="484"/>
                  </a:lnTo>
                  <a:lnTo>
                    <a:pt x="359" y="474"/>
                  </a:lnTo>
                  <a:lnTo>
                    <a:pt x="356" y="464"/>
                  </a:lnTo>
                  <a:lnTo>
                    <a:pt x="355" y="454"/>
                  </a:lnTo>
                  <a:lnTo>
                    <a:pt x="355" y="443"/>
                  </a:lnTo>
                  <a:lnTo>
                    <a:pt x="355" y="443"/>
                  </a:lnTo>
                  <a:lnTo>
                    <a:pt x="359" y="404"/>
                  </a:lnTo>
                  <a:lnTo>
                    <a:pt x="363" y="366"/>
                  </a:lnTo>
                  <a:lnTo>
                    <a:pt x="365" y="325"/>
                  </a:lnTo>
                  <a:lnTo>
                    <a:pt x="366" y="285"/>
                  </a:lnTo>
                  <a:lnTo>
                    <a:pt x="365" y="244"/>
                  </a:lnTo>
                  <a:lnTo>
                    <a:pt x="363" y="204"/>
                  </a:lnTo>
                  <a:lnTo>
                    <a:pt x="360" y="164"/>
                  </a:lnTo>
                  <a:lnTo>
                    <a:pt x="356" y="126"/>
                  </a:lnTo>
                  <a:lnTo>
                    <a:pt x="356" y="126"/>
                  </a:lnTo>
                  <a:lnTo>
                    <a:pt x="352" y="97"/>
                  </a:lnTo>
                  <a:lnTo>
                    <a:pt x="348" y="70"/>
                  </a:lnTo>
                  <a:lnTo>
                    <a:pt x="345" y="42"/>
                  </a:lnTo>
                  <a:lnTo>
                    <a:pt x="339" y="13"/>
                  </a:lnTo>
                  <a:lnTo>
                    <a:pt x="339" y="13"/>
                  </a:lnTo>
                  <a:lnTo>
                    <a:pt x="336" y="10"/>
                  </a:lnTo>
                  <a:lnTo>
                    <a:pt x="333" y="7"/>
                  </a:lnTo>
                  <a:lnTo>
                    <a:pt x="326" y="5"/>
                  </a:lnTo>
                  <a:lnTo>
                    <a:pt x="318" y="3"/>
                  </a:lnTo>
                  <a:lnTo>
                    <a:pt x="311" y="0"/>
                  </a:lnTo>
                  <a:lnTo>
                    <a:pt x="3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" name="Freeform 379"/>
            <p:cNvSpPr>
              <a:spLocks/>
            </p:cNvSpPr>
            <p:nvPr/>
          </p:nvSpPr>
          <p:spPr bwMode="auto">
            <a:xfrm>
              <a:off x="7461" y="2618"/>
              <a:ext cx="166" cy="203"/>
            </a:xfrm>
            <a:custGeom>
              <a:avLst/>
              <a:gdLst>
                <a:gd name="T0" fmla="*/ 143 w 166"/>
                <a:gd name="T1" fmla="*/ 25 h 203"/>
                <a:gd name="T2" fmla="*/ 143 w 166"/>
                <a:gd name="T3" fmla="*/ 25 h 203"/>
                <a:gd name="T4" fmla="*/ 146 w 166"/>
                <a:gd name="T5" fmla="*/ 41 h 203"/>
                <a:gd name="T6" fmla="*/ 150 w 166"/>
                <a:gd name="T7" fmla="*/ 55 h 203"/>
                <a:gd name="T8" fmla="*/ 153 w 166"/>
                <a:gd name="T9" fmla="*/ 62 h 203"/>
                <a:gd name="T10" fmla="*/ 156 w 166"/>
                <a:gd name="T11" fmla="*/ 69 h 203"/>
                <a:gd name="T12" fmla="*/ 160 w 166"/>
                <a:gd name="T13" fmla="*/ 75 h 203"/>
                <a:gd name="T14" fmla="*/ 166 w 166"/>
                <a:gd name="T15" fmla="*/ 81 h 203"/>
                <a:gd name="T16" fmla="*/ 166 w 166"/>
                <a:gd name="T17" fmla="*/ 81 h 203"/>
                <a:gd name="T18" fmla="*/ 165 w 166"/>
                <a:gd name="T19" fmla="*/ 102 h 203"/>
                <a:gd name="T20" fmla="*/ 162 w 166"/>
                <a:gd name="T21" fmla="*/ 125 h 203"/>
                <a:gd name="T22" fmla="*/ 153 w 166"/>
                <a:gd name="T23" fmla="*/ 169 h 203"/>
                <a:gd name="T24" fmla="*/ 153 w 166"/>
                <a:gd name="T25" fmla="*/ 169 h 203"/>
                <a:gd name="T26" fmla="*/ 146 w 166"/>
                <a:gd name="T27" fmla="*/ 180 h 203"/>
                <a:gd name="T28" fmla="*/ 136 w 166"/>
                <a:gd name="T29" fmla="*/ 189 h 203"/>
                <a:gd name="T30" fmla="*/ 126 w 166"/>
                <a:gd name="T31" fmla="*/ 197 h 203"/>
                <a:gd name="T32" fmla="*/ 113 w 166"/>
                <a:gd name="T33" fmla="*/ 202 h 203"/>
                <a:gd name="T34" fmla="*/ 113 w 166"/>
                <a:gd name="T35" fmla="*/ 202 h 203"/>
                <a:gd name="T36" fmla="*/ 99 w 166"/>
                <a:gd name="T37" fmla="*/ 203 h 203"/>
                <a:gd name="T38" fmla="*/ 85 w 166"/>
                <a:gd name="T39" fmla="*/ 202 h 203"/>
                <a:gd name="T40" fmla="*/ 71 w 166"/>
                <a:gd name="T41" fmla="*/ 199 h 203"/>
                <a:gd name="T42" fmla="*/ 58 w 166"/>
                <a:gd name="T43" fmla="*/ 193 h 203"/>
                <a:gd name="T44" fmla="*/ 47 w 166"/>
                <a:gd name="T45" fmla="*/ 187 h 203"/>
                <a:gd name="T46" fmla="*/ 35 w 166"/>
                <a:gd name="T47" fmla="*/ 179 h 203"/>
                <a:gd name="T48" fmla="*/ 25 w 166"/>
                <a:gd name="T49" fmla="*/ 169 h 203"/>
                <a:gd name="T50" fmla="*/ 18 w 166"/>
                <a:gd name="T51" fmla="*/ 157 h 203"/>
                <a:gd name="T52" fmla="*/ 18 w 166"/>
                <a:gd name="T53" fmla="*/ 157 h 203"/>
                <a:gd name="T54" fmla="*/ 11 w 166"/>
                <a:gd name="T55" fmla="*/ 146 h 203"/>
                <a:gd name="T56" fmla="*/ 5 w 166"/>
                <a:gd name="T57" fmla="*/ 132 h 203"/>
                <a:gd name="T58" fmla="*/ 1 w 166"/>
                <a:gd name="T59" fmla="*/ 116 h 203"/>
                <a:gd name="T60" fmla="*/ 0 w 166"/>
                <a:gd name="T61" fmla="*/ 102 h 203"/>
                <a:gd name="T62" fmla="*/ 0 w 166"/>
                <a:gd name="T63" fmla="*/ 86 h 203"/>
                <a:gd name="T64" fmla="*/ 1 w 166"/>
                <a:gd name="T65" fmla="*/ 71 h 203"/>
                <a:gd name="T66" fmla="*/ 5 w 166"/>
                <a:gd name="T67" fmla="*/ 56 h 203"/>
                <a:gd name="T68" fmla="*/ 12 w 166"/>
                <a:gd name="T69" fmla="*/ 44 h 203"/>
                <a:gd name="T70" fmla="*/ 12 w 166"/>
                <a:gd name="T71" fmla="*/ 44 h 203"/>
                <a:gd name="T72" fmla="*/ 20 w 166"/>
                <a:gd name="T73" fmla="*/ 32 h 203"/>
                <a:gd name="T74" fmla="*/ 30 w 166"/>
                <a:gd name="T75" fmla="*/ 24 h 203"/>
                <a:gd name="T76" fmla="*/ 41 w 166"/>
                <a:gd name="T77" fmla="*/ 17 h 203"/>
                <a:gd name="T78" fmla="*/ 54 w 166"/>
                <a:gd name="T79" fmla="*/ 9 h 203"/>
                <a:gd name="T80" fmla="*/ 68 w 166"/>
                <a:gd name="T81" fmla="*/ 5 h 203"/>
                <a:gd name="T82" fmla="*/ 82 w 166"/>
                <a:gd name="T83" fmla="*/ 2 h 203"/>
                <a:gd name="T84" fmla="*/ 96 w 166"/>
                <a:gd name="T85" fmla="*/ 0 h 203"/>
                <a:gd name="T86" fmla="*/ 109 w 166"/>
                <a:gd name="T87" fmla="*/ 0 h 203"/>
                <a:gd name="T88" fmla="*/ 109 w 166"/>
                <a:gd name="T89" fmla="*/ 0 h 203"/>
                <a:gd name="T90" fmla="*/ 121 w 166"/>
                <a:gd name="T91" fmla="*/ 4 h 203"/>
                <a:gd name="T92" fmla="*/ 129 w 166"/>
                <a:gd name="T93" fmla="*/ 9 h 203"/>
                <a:gd name="T94" fmla="*/ 138 w 166"/>
                <a:gd name="T95" fmla="*/ 17 h 203"/>
                <a:gd name="T96" fmla="*/ 143 w 166"/>
                <a:gd name="T97" fmla="*/ 25 h 203"/>
                <a:gd name="T98" fmla="*/ 143 w 166"/>
                <a:gd name="T99" fmla="*/ 2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6" h="203">
                  <a:moveTo>
                    <a:pt x="143" y="25"/>
                  </a:moveTo>
                  <a:lnTo>
                    <a:pt x="143" y="25"/>
                  </a:lnTo>
                  <a:lnTo>
                    <a:pt x="146" y="41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6" y="69"/>
                  </a:lnTo>
                  <a:lnTo>
                    <a:pt x="160" y="75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5" y="102"/>
                  </a:lnTo>
                  <a:lnTo>
                    <a:pt x="162" y="125"/>
                  </a:lnTo>
                  <a:lnTo>
                    <a:pt x="153" y="169"/>
                  </a:lnTo>
                  <a:lnTo>
                    <a:pt x="153" y="169"/>
                  </a:lnTo>
                  <a:lnTo>
                    <a:pt x="146" y="180"/>
                  </a:lnTo>
                  <a:lnTo>
                    <a:pt x="136" y="189"/>
                  </a:lnTo>
                  <a:lnTo>
                    <a:pt x="126" y="197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99" y="203"/>
                  </a:lnTo>
                  <a:lnTo>
                    <a:pt x="85" y="202"/>
                  </a:lnTo>
                  <a:lnTo>
                    <a:pt x="71" y="199"/>
                  </a:lnTo>
                  <a:lnTo>
                    <a:pt x="58" y="193"/>
                  </a:lnTo>
                  <a:lnTo>
                    <a:pt x="47" y="187"/>
                  </a:lnTo>
                  <a:lnTo>
                    <a:pt x="35" y="179"/>
                  </a:lnTo>
                  <a:lnTo>
                    <a:pt x="25" y="169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1" y="146"/>
                  </a:lnTo>
                  <a:lnTo>
                    <a:pt x="5" y="132"/>
                  </a:lnTo>
                  <a:lnTo>
                    <a:pt x="1" y="116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1" y="71"/>
                  </a:lnTo>
                  <a:lnTo>
                    <a:pt x="5" y="5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20" y="32"/>
                  </a:lnTo>
                  <a:lnTo>
                    <a:pt x="30" y="24"/>
                  </a:lnTo>
                  <a:lnTo>
                    <a:pt x="41" y="17"/>
                  </a:lnTo>
                  <a:lnTo>
                    <a:pt x="54" y="9"/>
                  </a:lnTo>
                  <a:lnTo>
                    <a:pt x="68" y="5"/>
                  </a:lnTo>
                  <a:lnTo>
                    <a:pt x="82" y="2"/>
                  </a:lnTo>
                  <a:lnTo>
                    <a:pt x="9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21" y="4"/>
                  </a:lnTo>
                  <a:lnTo>
                    <a:pt x="129" y="9"/>
                  </a:lnTo>
                  <a:lnTo>
                    <a:pt x="138" y="17"/>
                  </a:lnTo>
                  <a:lnTo>
                    <a:pt x="143" y="25"/>
                  </a:lnTo>
                  <a:lnTo>
                    <a:pt x="143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380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381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" name="Freeform 382"/>
            <p:cNvSpPr>
              <a:spLocks noEditPoints="1"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  <a:gd name="T18" fmla="*/ 200 w 535"/>
                <a:gd name="T19" fmla="*/ 322 h 541"/>
                <a:gd name="T20" fmla="*/ 299 w 535"/>
                <a:gd name="T21" fmla="*/ 322 h 541"/>
                <a:gd name="T22" fmla="*/ 252 w 535"/>
                <a:gd name="T23" fmla="*/ 137 h 541"/>
                <a:gd name="T24" fmla="*/ 200 w 535"/>
                <a:gd name="T25" fmla="*/ 32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  <a:close/>
                  <a:moveTo>
                    <a:pt x="200" y="322"/>
                  </a:moveTo>
                  <a:lnTo>
                    <a:pt x="299" y="322"/>
                  </a:lnTo>
                  <a:lnTo>
                    <a:pt x="252" y="137"/>
                  </a:lnTo>
                  <a:lnTo>
                    <a:pt x="200" y="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383"/>
            <p:cNvSpPr>
              <a:spLocks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" name="Freeform 384"/>
            <p:cNvSpPr>
              <a:spLocks/>
            </p:cNvSpPr>
            <p:nvPr/>
          </p:nvSpPr>
          <p:spPr bwMode="auto">
            <a:xfrm>
              <a:off x="6986" y="1551"/>
              <a:ext cx="99" cy="185"/>
            </a:xfrm>
            <a:custGeom>
              <a:avLst/>
              <a:gdLst>
                <a:gd name="T0" fmla="*/ 0 w 99"/>
                <a:gd name="T1" fmla="*/ 185 h 185"/>
                <a:gd name="T2" fmla="*/ 99 w 99"/>
                <a:gd name="T3" fmla="*/ 185 h 185"/>
                <a:gd name="T4" fmla="*/ 52 w 99"/>
                <a:gd name="T5" fmla="*/ 0 h 185"/>
                <a:gd name="T6" fmla="*/ 0 w 99"/>
                <a:gd name="T7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85">
                  <a:moveTo>
                    <a:pt x="0" y="185"/>
                  </a:moveTo>
                  <a:lnTo>
                    <a:pt x="99" y="185"/>
                  </a:lnTo>
                  <a:lnTo>
                    <a:pt x="52" y="0"/>
                  </a:lnTo>
                  <a:lnTo>
                    <a:pt x="0" y="18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385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386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387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  <a:gd name="T52" fmla="*/ 166 w 166"/>
                <a:gd name="T53" fmla="*/ 5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  <a:lnTo>
                    <a:pt x="166" y="54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388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3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302" y="6330820"/>
            <a:ext cx="571500" cy="365125"/>
          </a:xfrm>
        </p:spPr>
        <p:txBody>
          <a:bodyPr/>
          <a:lstStyle/>
          <a:p>
            <a:fld id="{AEE12407-35E7-4E87-8757-FD495B64908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109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6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2192000" cy="11811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838200" y="-105569"/>
            <a:ext cx="10515600" cy="1235869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692"/>
            <a:ext cx="12192000" cy="1205784"/>
          </a:xfrm>
          <a:prstGeom prst="rect">
            <a:avLst/>
          </a:prstGeom>
        </p:spPr>
      </p:pic>
      <p:grpSp>
        <p:nvGrpSpPr>
          <p:cNvPr id="8" name="Group 363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11500626" y="6215063"/>
            <a:ext cx="585788" cy="538162"/>
            <a:chOff x="5907" y="1132"/>
            <a:chExt cx="2151" cy="1976"/>
          </a:xfrm>
        </p:grpSpPr>
        <p:sp>
          <p:nvSpPr>
            <p:cNvPr id="9" name="Freeform 364"/>
            <p:cNvSpPr>
              <a:spLocks/>
            </p:cNvSpPr>
            <p:nvPr/>
          </p:nvSpPr>
          <p:spPr bwMode="auto">
            <a:xfrm>
              <a:off x="5966" y="2117"/>
              <a:ext cx="2028" cy="0"/>
            </a:xfrm>
            <a:custGeom>
              <a:avLst/>
              <a:gdLst>
                <a:gd name="T0" fmla="*/ 0 w 2028"/>
                <a:gd name="T1" fmla="*/ 2028 w 2028"/>
                <a:gd name="T2" fmla="*/ 0 w 202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28">
                  <a:moveTo>
                    <a:pt x="0" y="0"/>
                  </a:moveTo>
                  <a:lnTo>
                    <a:pt x="202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Line 365"/>
            <p:cNvSpPr>
              <a:spLocks noChangeShapeType="1"/>
            </p:cNvSpPr>
            <p:nvPr/>
          </p:nvSpPr>
          <p:spPr bwMode="auto">
            <a:xfrm>
              <a:off x="5966" y="2117"/>
              <a:ext cx="202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Rectangle 366"/>
            <p:cNvSpPr>
              <a:spLocks noChangeArrowheads="1"/>
            </p:cNvSpPr>
            <p:nvPr/>
          </p:nvSpPr>
          <p:spPr bwMode="auto">
            <a:xfrm>
              <a:off x="5968" y="1194"/>
              <a:ext cx="2030" cy="1853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367"/>
            <p:cNvSpPr>
              <a:spLocks noEditPoints="1"/>
            </p:cNvSpPr>
            <p:nvPr/>
          </p:nvSpPr>
          <p:spPr bwMode="auto">
            <a:xfrm>
              <a:off x="5907" y="1132"/>
              <a:ext cx="2151" cy="1976"/>
            </a:xfrm>
            <a:custGeom>
              <a:avLst/>
              <a:gdLst>
                <a:gd name="T0" fmla="*/ 0 w 2151"/>
                <a:gd name="T1" fmla="*/ 1976 h 1976"/>
                <a:gd name="T2" fmla="*/ 2151 w 2151"/>
                <a:gd name="T3" fmla="*/ 1976 h 1976"/>
                <a:gd name="T4" fmla="*/ 2151 w 2151"/>
                <a:gd name="T5" fmla="*/ 0 h 1976"/>
                <a:gd name="T6" fmla="*/ 0 w 2151"/>
                <a:gd name="T7" fmla="*/ 0 h 1976"/>
                <a:gd name="T8" fmla="*/ 0 w 2151"/>
                <a:gd name="T9" fmla="*/ 1976 h 1976"/>
                <a:gd name="T10" fmla="*/ 123 w 2151"/>
                <a:gd name="T11" fmla="*/ 1854 h 1976"/>
                <a:gd name="T12" fmla="*/ 123 w 2151"/>
                <a:gd name="T13" fmla="*/ 1854 h 1976"/>
                <a:gd name="T14" fmla="*/ 123 w 2151"/>
                <a:gd name="T15" fmla="*/ 1046 h 1976"/>
                <a:gd name="T16" fmla="*/ 2030 w 2151"/>
                <a:gd name="T17" fmla="*/ 1046 h 1976"/>
                <a:gd name="T18" fmla="*/ 2030 w 2151"/>
                <a:gd name="T19" fmla="*/ 1046 h 1976"/>
                <a:gd name="T20" fmla="*/ 2030 w 2151"/>
                <a:gd name="T21" fmla="*/ 1854 h 1976"/>
                <a:gd name="T22" fmla="*/ 2030 w 2151"/>
                <a:gd name="T23" fmla="*/ 1854 h 1976"/>
                <a:gd name="T24" fmla="*/ 123 w 2151"/>
                <a:gd name="T25" fmla="*/ 1854 h 1976"/>
                <a:gd name="T26" fmla="*/ 123 w 2151"/>
                <a:gd name="T27" fmla="*/ 1854 h 1976"/>
                <a:gd name="T28" fmla="*/ 2030 w 2151"/>
                <a:gd name="T29" fmla="*/ 123 h 1976"/>
                <a:gd name="T30" fmla="*/ 2030 w 2151"/>
                <a:gd name="T31" fmla="*/ 123 h 1976"/>
                <a:gd name="T32" fmla="*/ 2030 w 2151"/>
                <a:gd name="T33" fmla="*/ 924 h 1976"/>
                <a:gd name="T34" fmla="*/ 123 w 2151"/>
                <a:gd name="T35" fmla="*/ 924 h 1976"/>
                <a:gd name="T36" fmla="*/ 123 w 2151"/>
                <a:gd name="T37" fmla="*/ 924 h 1976"/>
                <a:gd name="T38" fmla="*/ 123 w 2151"/>
                <a:gd name="T39" fmla="*/ 123 h 1976"/>
                <a:gd name="T40" fmla="*/ 123 w 2151"/>
                <a:gd name="T41" fmla="*/ 123 h 1976"/>
                <a:gd name="T42" fmla="*/ 2030 w 2151"/>
                <a:gd name="T43" fmla="*/ 123 h 1976"/>
                <a:gd name="T44" fmla="*/ 2030 w 2151"/>
                <a:gd name="T45" fmla="*/ 123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51" h="1976">
                  <a:moveTo>
                    <a:pt x="0" y="1976"/>
                  </a:moveTo>
                  <a:lnTo>
                    <a:pt x="2151" y="1976"/>
                  </a:lnTo>
                  <a:lnTo>
                    <a:pt x="2151" y="0"/>
                  </a:lnTo>
                  <a:lnTo>
                    <a:pt x="0" y="0"/>
                  </a:lnTo>
                  <a:lnTo>
                    <a:pt x="0" y="1976"/>
                  </a:lnTo>
                  <a:close/>
                  <a:moveTo>
                    <a:pt x="123" y="1854"/>
                  </a:moveTo>
                  <a:lnTo>
                    <a:pt x="123" y="1854"/>
                  </a:lnTo>
                  <a:lnTo>
                    <a:pt x="123" y="1046"/>
                  </a:lnTo>
                  <a:lnTo>
                    <a:pt x="2030" y="1046"/>
                  </a:lnTo>
                  <a:lnTo>
                    <a:pt x="2030" y="1046"/>
                  </a:lnTo>
                  <a:lnTo>
                    <a:pt x="2030" y="1854"/>
                  </a:lnTo>
                  <a:lnTo>
                    <a:pt x="2030" y="1854"/>
                  </a:lnTo>
                  <a:lnTo>
                    <a:pt x="123" y="1854"/>
                  </a:lnTo>
                  <a:lnTo>
                    <a:pt x="123" y="1854"/>
                  </a:lnTo>
                  <a:close/>
                  <a:moveTo>
                    <a:pt x="2030" y="123"/>
                  </a:moveTo>
                  <a:lnTo>
                    <a:pt x="2030" y="123"/>
                  </a:lnTo>
                  <a:lnTo>
                    <a:pt x="2030" y="924"/>
                  </a:lnTo>
                  <a:lnTo>
                    <a:pt x="123" y="924"/>
                  </a:lnTo>
                  <a:lnTo>
                    <a:pt x="123" y="924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2030" y="123"/>
                  </a:lnTo>
                  <a:lnTo>
                    <a:pt x="2030" y="123"/>
                  </a:lnTo>
                  <a:close/>
                </a:path>
              </a:pathLst>
            </a:custGeom>
            <a:solidFill>
              <a:srgbClr val="EF3E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368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64 h 587"/>
                <a:gd name="T34" fmla="*/ 953 w 1552"/>
                <a:gd name="T35" fmla="*/ 227 h 587"/>
                <a:gd name="T36" fmla="*/ 960 w 1552"/>
                <a:gd name="T37" fmla="*/ 419 h 587"/>
                <a:gd name="T38" fmla="*/ 968 w 1552"/>
                <a:gd name="T39" fmla="*/ 519 h 587"/>
                <a:gd name="T40" fmla="*/ 1034 w 1552"/>
                <a:gd name="T41" fmla="*/ 540 h 587"/>
                <a:gd name="T42" fmla="*/ 1039 w 1552"/>
                <a:gd name="T43" fmla="*/ 458 h 587"/>
                <a:gd name="T44" fmla="*/ 1039 w 1552"/>
                <a:gd name="T45" fmla="*/ 261 h 587"/>
                <a:gd name="T46" fmla="*/ 994 w 1552"/>
                <a:gd name="T47" fmla="*/ 69 h 587"/>
                <a:gd name="T48" fmla="*/ 936 w 1552"/>
                <a:gd name="T49" fmla="*/ 39 h 587"/>
                <a:gd name="T50" fmla="*/ 830 w 1552"/>
                <a:gd name="T51" fmla="*/ 196 h 587"/>
                <a:gd name="T52" fmla="*/ 786 w 1552"/>
                <a:gd name="T53" fmla="*/ 190 h 587"/>
                <a:gd name="T54" fmla="*/ 145 w 1552"/>
                <a:gd name="T55" fmla="*/ 250 h 587"/>
                <a:gd name="T56" fmla="*/ 15 w 1552"/>
                <a:gd name="T57" fmla="*/ 327 h 587"/>
                <a:gd name="T58" fmla="*/ 2 w 1552"/>
                <a:gd name="T59" fmla="*/ 471 h 587"/>
                <a:gd name="T60" fmla="*/ 32 w 1552"/>
                <a:gd name="T61" fmla="*/ 570 h 587"/>
                <a:gd name="T62" fmla="*/ 197 w 1552"/>
                <a:gd name="T63" fmla="*/ 579 h 587"/>
                <a:gd name="T64" fmla="*/ 244 w 1552"/>
                <a:gd name="T65" fmla="*/ 530 h 587"/>
                <a:gd name="T66" fmla="*/ 128 w 1552"/>
                <a:gd name="T67" fmla="*/ 542 h 587"/>
                <a:gd name="T68" fmla="*/ 76 w 1552"/>
                <a:gd name="T69" fmla="*/ 485 h 587"/>
                <a:gd name="T70" fmla="*/ 83 w 1552"/>
                <a:gd name="T71" fmla="*/ 333 h 587"/>
                <a:gd name="T72" fmla="*/ 156 w 1552"/>
                <a:gd name="T73" fmla="*/ 291 h 587"/>
                <a:gd name="T74" fmla="*/ 211 w 1552"/>
                <a:gd name="T75" fmla="*/ 276 h 587"/>
                <a:gd name="T76" fmla="*/ 773 w 1552"/>
                <a:gd name="T77" fmla="*/ 304 h 587"/>
                <a:gd name="T78" fmla="*/ 725 w 1552"/>
                <a:gd name="T79" fmla="*/ 509 h 587"/>
                <a:gd name="T80" fmla="*/ 776 w 1552"/>
                <a:gd name="T81" fmla="*/ 579 h 587"/>
                <a:gd name="T82" fmla="*/ 809 w 1552"/>
                <a:gd name="T83" fmla="*/ 542 h 587"/>
                <a:gd name="T84" fmla="*/ 806 w 1552"/>
                <a:gd name="T85" fmla="*/ 472 h 587"/>
                <a:gd name="T86" fmla="*/ 827 w 1552"/>
                <a:gd name="T87" fmla="*/ 297 h 587"/>
                <a:gd name="T88" fmla="*/ 1480 w 1552"/>
                <a:gd name="T89" fmla="*/ 37 h 587"/>
                <a:gd name="T90" fmla="*/ 1483 w 1552"/>
                <a:gd name="T91" fmla="*/ 320 h 587"/>
                <a:gd name="T92" fmla="*/ 1416 w 1552"/>
                <a:gd name="T93" fmla="*/ 310 h 587"/>
                <a:gd name="T94" fmla="*/ 1361 w 1552"/>
                <a:gd name="T95" fmla="*/ 287 h 587"/>
                <a:gd name="T96" fmla="*/ 1216 w 1552"/>
                <a:gd name="T97" fmla="*/ 334 h 587"/>
                <a:gd name="T98" fmla="*/ 1183 w 1552"/>
                <a:gd name="T99" fmla="*/ 473 h 587"/>
                <a:gd name="T100" fmla="*/ 1227 w 1552"/>
                <a:gd name="T101" fmla="*/ 540 h 587"/>
                <a:gd name="T102" fmla="*/ 1392 w 1552"/>
                <a:gd name="T103" fmla="*/ 579 h 587"/>
                <a:gd name="T104" fmla="*/ 1455 w 1552"/>
                <a:gd name="T105" fmla="*/ 540 h 587"/>
                <a:gd name="T106" fmla="*/ 1525 w 1552"/>
                <a:gd name="T107" fmla="*/ 577 h 587"/>
                <a:gd name="T108" fmla="*/ 1536 w 1552"/>
                <a:gd name="T109" fmla="*/ 506 h 587"/>
                <a:gd name="T110" fmla="*/ 1540 w 1552"/>
                <a:gd name="T111" fmla="*/ 236 h 587"/>
                <a:gd name="T112" fmla="*/ 1510 w 1552"/>
                <a:gd name="T113" fmla="*/ 39 h 587"/>
                <a:gd name="T114" fmla="*/ 1412 w 1552"/>
                <a:gd name="T115" fmla="*/ 402 h 587"/>
                <a:gd name="T116" fmla="*/ 1382 w 1552"/>
                <a:gd name="T117" fmla="*/ 530 h 587"/>
                <a:gd name="T118" fmla="*/ 1274 w 1552"/>
                <a:gd name="T119" fmla="*/ 490 h 587"/>
                <a:gd name="T120" fmla="*/ 1268 w 1552"/>
                <a:gd name="T121" fmla="*/ 377 h 587"/>
                <a:gd name="T122" fmla="*/ 1377 w 1552"/>
                <a:gd name="T123" fmla="*/ 337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noFill/>
            <a:ln w="0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369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370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371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  <a:gd name="T42" fmla="*/ 0 w 57"/>
                <a:gd name="T43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372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79 h 587"/>
                <a:gd name="T34" fmla="*/ 954 w 1552"/>
                <a:gd name="T35" fmla="*/ 298 h 587"/>
                <a:gd name="T36" fmla="*/ 958 w 1552"/>
                <a:gd name="T37" fmla="*/ 429 h 587"/>
                <a:gd name="T38" fmla="*/ 968 w 1552"/>
                <a:gd name="T39" fmla="*/ 519 h 587"/>
                <a:gd name="T40" fmla="*/ 1039 w 1552"/>
                <a:gd name="T41" fmla="*/ 537 h 587"/>
                <a:gd name="T42" fmla="*/ 1038 w 1552"/>
                <a:gd name="T43" fmla="*/ 445 h 587"/>
                <a:gd name="T44" fmla="*/ 1037 w 1552"/>
                <a:gd name="T45" fmla="*/ 249 h 587"/>
                <a:gd name="T46" fmla="*/ 994 w 1552"/>
                <a:gd name="T47" fmla="*/ 48 h 587"/>
                <a:gd name="T48" fmla="*/ 936 w 1552"/>
                <a:gd name="T49" fmla="*/ 39 h 587"/>
                <a:gd name="T50" fmla="*/ 833 w 1552"/>
                <a:gd name="T51" fmla="*/ 192 h 587"/>
                <a:gd name="T52" fmla="*/ 782 w 1552"/>
                <a:gd name="T53" fmla="*/ 196 h 587"/>
                <a:gd name="T54" fmla="*/ 133 w 1552"/>
                <a:gd name="T55" fmla="*/ 253 h 587"/>
                <a:gd name="T56" fmla="*/ 9 w 1552"/>
                <a:gd name="T57" fmla="*/ 335 h 587"/>
                <a:gd name="T58" fmla="*/ 5 w 1552"/>
                <a:gd name="T59" fmla="*/ 482 h 587"/>
                <a:gd name="T60" fmla="*/ 42 w 1552"/>
                <a:gd name="T61" fmla="*/ 574 h 587"/>
                <a:gd name="T62" fmla="*/ 211 w 1552"/>
                <a:gd name="T63" fmla="*/ 574 h 587"/>
                <a:gd name="T64" fmla="*/ 244 w 1552"/>
                <a:gd name="T65" fmla="*/ 530 h 587"/>
                <a:gd name="T66" fmla="*/ 118 w 1552"/>
                <a:gd name="T67" fmla="*/ 539 h 587"/>
                <a:gd name="T68" fmla="*/ 76 w 1552"/>
                <a:gd name="T69" fmla="*/ 485 h 587"/>
                <a:gd name="T70" fmla="*/ 89 w 1552"/>
                <a:gd name="T71" fmla="*/ 324 h 587"/>
                <a:gd name="T72" fmla="*/ 166 w 1552"/>
                <a:gd name="T73" fmla="*/ 286 h 587"/>
                <a:gd name="T74" fmla="*/ 213 w 1552"/>
                <a:gd name="T75" fmla="*/ 274 h 587"/>
                <a:gd name="T76" fmla="*/ 768 w 1552"/>
                <a:gd name="T77" fmla="*/ 314 h 587"/>
                <a:gd name="T78" fmla="*/ 728 w 1552"/>
                <a:gd name="T79" fmla="*/ 529 h 587"/>
                <a:gd name="T80" fmla="*/ 783 w 1552"/>
                <a:gd name="T81" fmla="*/ 577 h 587"/>
                <a:gd name="T82" fmla="*/ 806 w 1552"/>
                <a:gd name="T83" fmla="*/ 533 h 587"/>
                <a:gd name="T84" fmla="*/ 815 w 1552"/>
                <a:gd name="T85" fmla="*/ 451 h 587"/>
                <a:gd name="T86" fmla="*/ 825 w 1552"/>
                <a:gd name="T87" fmla="*/ 293 h 587"/>
                <a:gd name="T88" fmla="*/ 1476 w 1552"/>
                <a:gd name="T89" fmla="*/ 42 h 587"/>
                <a:gd name="T90" fmla="*/ 1482 w 1552"/>
                <a:gd name="T91" fmla="*/ 355 h 587"/>
                <a:gd name="T92" fmla="*/ 1416 w 1552"/>
                <a:gd name="T93" fmla="*/ 305 h 587"/>
                <a:gd name="T94" fmla="*/ 1352 w 1552"/>
                <a:gd name="T95" fmla="*/ 293 h 587"/>
                <a:gd name="T96" fmla="*/ 1204 w 1552"/>
                <a:gd name="T97" fmla="*/ 341 h 587"/>
                <a:gd name="T98" fmla="*/ 1187 w 1552"/>
                <a:gd name="T99" fmla="*/ 483 h 587"/>
                <a:gd name="T100" fmla="*/ 1237 w 1552"/>
                <a:gd name="T101" fmla="*/ 540 h 587"/>
                <a:gd name="T102" fmla="*/ 1399 w 1552"/>
                <a:gd name="T103" fmla="*/ 576 h 587"/>
                <a:gd name="T104" fmla="*/ 1461 w 1552"/>
                <a:gd name="T105" fmla="*/ 542 h 587"/>
                <a:gd name="T106" fmla="*/ 1536 w 1552"/>
                <a:gd name="T107" fmla="*/ 573 h 587"/>
                <a:gd name="T108" fmla="*/ 1533 w 1552"/>
                <a:gd name="T109" fmla="*/ 496 h 587"/>
                <a:gd name="T110" fmla="*/ 1537 w 1552"/>
                <a:gd name="T111" fmla="*/ 196 h 587"/>
                <a:gd name="T112" fmla="*/ 1503 w 1552"/>
                <a:gd name="T113" fmla="*/ 37 h 587"/>
                <a:gd name="T114" fmla="*/ 1416 w 1552"/>
                <a:gd name="T115" fmla="*/ 408 h 587"/>
                <a:gd name="T116" fmla="*/ 1369 w 1552"/>
                <a:gd name="T117" fmla="*/ 535 h 587"/>
                <a:gd name="T118" fmla="*/ 1274 w 1552"/>
                <a:gd name="T119" fmla="*/ 490 h 587"/>
                <a:gd name="T120" fmla="*/ 1276 w 1552"/>
                <a:gd name="T121" fmla="*/ 365 h 587"/>
                <a:gd name="T122" fmla="*/ 1385 w 1552"/>
                <a:gd name="T123" fmla="*/ 34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373"/>
            <p:cNvSpPr>
              <a:spLocks/>
            </p:cNvSpPr>
            <p:nvPr/>
          </p:nvSpPr>
          <p:spPr bwMode="auto">
            <a:xfrm>
              <a:off x="6526" y="2285"/>
              <a:ext cx="299" cy="549"/>
            </a:xfrm>
            <a:custGeom>
              <a:avLst/>
              <a:gdLst>
                <a:gd name="T0" fmla="*/ 97 w 299"/>
                <a:gd name="T1" fmla="*/ 84 h 549"/>
                <a:gd name="T2" fmla="*/ 114 w 299"/>
                <a:gd name="T3" fmla="*/ 197 h 549"/>
                <a:gd name="T4" fmla="*/ 125 w 299"/>
                <a:gd name="T5" fmla="*/ 241 h 549"/>
                <a:gd name="T6" fmla="*/ 118 w 299"/>
                <a:gd name="T7" fmla="*/ 280 h 549"/>
                <a:gd name="T8" fmla="*/ 122 w 299"/>
                <a:gd name="T9" fmla="*/ 304 h 549"/>
                <a:gd name="T10" fmla="*/ 196 w 299"/>
                <a:gd name="T11" fmla="*/ 301 h 549"/>
                <a:gd name="T12" fmla="*/ 243 w 299"/>
                <a:gd name="T13" fmla="*/ 310 h 549"/>
                <a:gd name="T14" fmla="*/ 272 w 299"/>
                <a:gd name="T15" fmla="*/ 325 h 549"/>
                <a:gd name="T16" fmla="*/ 292 w 299"/>
                <a:gd name="T17" fmla="*/ 355 h 549"/>
                <a:gd name="T18" fmla="*/ 297 w 299"/>
                <a:gd name="T19" fmla="*/ 421 h 549"/>
                <a:gd name="T20" fmla="*/ 296 w 299"/>
                <a:gd name="T21" fmla="*/ 489 h 549"/>
                <a:gd name="T22" fmla="*/ 286 w 299"/>
                <a:gd name="T23" fmla="*/ 519 h 549"/>
                <a:gd name="T24" fmla="*/ 276 w 299"/>
                <a:gd name="T25" fmla="*/ 535 h 549"/>
                <a:gd name="T26" fmla="*/ 258 w 299"/>
                <a:gd name="T27" fmla="*/ 546 h 549"/>
                <a:gd name="T28" fmla="*/ 236 w 299"/>
                <a:gd name="T29" fmla="*/ 547 h 549"/>
                <a:gd name="T30" fmla="*/ 223 w 299"/>
                <a:gd name="T31" fmla="*/ 540 h 549"/>
                <a:gd name="T32" fmla="*/ 218 w 299"/>
                <a:gd name="T33" fmla="*/ 523 h 549"/>
                <a:gd name="T34" fmla="*/ 225 w 299"/>
                <a:gd name="T35" fmla="*/ 493 h 549"/>
                <a:gd name="T36" fmla="*/ 232 w 299"/>
                <a:gd name="T37" fmla="*/ 446 h 549"/>
                <a:gd name="T38" fmla="*/ 229 w 299"/>
                <a:gd name="T39" fmla="*/ 398 h 549"/>
                <a:gd name="T40" fmla="*/ 216 w 299"/>
                <a:gd name="T41" fmla="*/ 372 h 549"/>
                <a:gd name="T42" fmla="*/ 198 w 299"/>
                <a:gd name="T43" fmla="*/ 352 h 549"/>
                <a:gd name="T44" fmla="*/ 159 w 299"/>
                <a:gd name="T45" fmla="*/ 340 h 549"/>
                <a:gd name="T46" fmla="*/ 118 w 299"/>
                <a:gd name="T47" fmla="*/ 341 h 549"/>
                <a:gd name="T48" fmla="*/ 108 w 299"/>
                <a:gd name="T49" fmla="*/ 355 h 549"/>
                <a:gd name="T50" fmla="*/ 97 w 299"/>
                <a:gd name="T51" fmla="*/ 388 h 549"/>
                <a:gd name="T52" fmla="*/ 94 w 299"/>
                <a:gd name="T53" fmla="*/ 445 h 549"/>
                <a:gd name="T54" fmla="*/ 94 w 299"/>
                <a:gd name="T55" fmla="*/ 492 h 549"/>
                <a:gd name="T56" fmla="*/ 90 w 299"/>
                <a:gd name="T57" fmla="*/ 519 h 549"/>
                <a:gd name="T58" fmla="*/ 77 w 299"/>
                <a:gd name="T59" fmla="*/ 542 h 549"/>
                <a:gd name="T60" fmla="*/ 61 w 299"/>
                <a:gd name="T61" fmla="*/ 549 h 549"/>
                <a:gd name="T62" fmla="*/ 38 w 299"/>
                <a:gd name="T63" fmla="*/ 544 h 549"/>
                <a:gd name="T64" fmla="*/ 23 w 299"/>
                <a:gd name="T65" fmla="*/ 532 h 549"/>
                <a:gd name="T66" fmla="*/ 19 w 299"/>
                <a:gd name="T67" fmla="*/ 503 h 549"/>
                <a:gd name="T68" fmla="*/ 26 w 299"/>
                <a:gd name="T69" fmla="*/ 436 h 549"/>
                <a:gd name="T70" fmla="*/ 21 w 299"/>
                <a:gd name="T71" fmla="*/ 395 h 549"/>
                <a:gd name="T72" fmla="*/ 7 w 299"/>
                <a:gd name="T73" fmla="*/ 370 h 549"/>
                <a:gd name="T74" fmla="*/ 0 w 299"/>
                <a:gd name="T75" fmla="*/ 358 h 549"/>
                <a:gd name="T76" fmla="*/ 16 w 299"/>
                <a:gd name="T77" fmla="*/ 344 h 549"/>
                <a:gd name="T78" fmla="*/ 37 w 299"/>
                <a:gd name="T79" fmla="*/ 331 h 549"/>
                <a:gd name="T80" fmla="*/ 43 w 299"/>
                <a:gd name="T81" fmla="*/ 320 h 549"/>
                <a:gd name="T82" fmla="*/ 51 w 299"/>
                <a:gd name="T83" fmla="*/ 305 h 549"/>
                <a:gd name="T84" fmla="*/ 67 w 299"/>
                <a:gd name="T85" fmla="*/ 276 h 549"/>
                <a:gd name="T86" fmla="*/ 71 w 299"/>
                <a:gd name="T87" fmla="*/ 241 h 549"/>
                <a:gd name="T88" fmla="*/ 65 w 299"/>
                <a:gd name="T89" fmla="*/ 224 h 549"/>
                <a:gd name="T90" fmla="*/ 57 w 299"/>
                <a:gd name="T91" fmla="*/ 190 h 549"/>
                <a:gd name="T92" fmla="*/ 57 w 299"/>
                <a:gd name="T93" fmla="*/ 146 h 549"/>
                <a:gd name="T94" fmla="*/ 50 w 299"/>
                <a:gd name="T95" fmla="*/ 121 h 549"/>
                <a:gd name="T96" fmla="*/ 37 w 299"/>
                <a:gd name="T97" fmla="*/ 74 h 549"/>
                <a:gd name="T98" fmla="*/ 33 w 299"/>
                <a:gd name="T99" fmla="*/ 32 h 549"/>
                <a:gd name="T100" fmla="*/ 41 w 299"/>
                <a:gd name="T101" fmla="*/ 11 h 549"/>
                <a:gd name="T102" fmla="*/ 54 w 299"/>
                <a:gd name="T103" fmla="*/ 0 h 549"/>
                <a:gd name="T104" fmla="*/ 77 w 299"/>
                <a:gd name="T105" fmla="*/ 15 h 549"/>
                <a:gd name="T106" fmla="*/ 87 w 299"/>
                <a:gd name="T107" fmla="*/ 44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9" h="549">
                  <a:moveTo>
                    <a:pt x="91" y="62"/>
                  </a:moveTo>
                  <a:lnTo>
                    <a:pt x="91" y="62"/>
                  </a:lnTo>
                  <a:lnTo>
                    <a:pt x="97" y="84"/>
                  </a:lnTo>
                  <a:lnTo>
                    <a:pt x="102" y="105"/>
                  </a:lnTo>
                  <a:lnTo>
                    <a:pt x="108" y="152"/>
                  </a:lnTo>
                  <a:lnTo>
                    <a:pt x="114" y="197"/>
                  </a:lnTo>
                  <a:lnTo>
                    <a:pt x="118" y="219"/>
                  </a:lnTo>
                  <a:lnTo>
                    <a:pt x="125" y="241"/>
                  </a:lnTo>
                  <a:lnTo>
                    <a:pt x="125" y="241"/>
                  </a:lnTo>
                  <a:lnTo>
                    <a:pt x="121" y="256"/>
                  </a:lnTo>
                  <a:lnTo>
                    <a:pt x="118" y="273"/>
                  </a:lnTo>
                  <a:lnTo>
                    <a:pt x="118" y="280"/>
                  </a:lnTo>
                  <a:lnTo>
                    <a:pt x="118" y="288"/>
                  </a:lnTo>
                  <a:lnTo>
                    <a:pt x="120" y="296"/>
                  </a:lnTo>
                  <a:lnTo>
                    <a:pt x="122" y="304"/>
                  </a:lnTo>
                  <a:lnTo>
                    <a:pt x="122" y="304"/>
                  </a:lnTo>
                  <a:lnTo>
                    <a:pt x="171" y="301"/>
                  </a:lnTo>
                  <a:lnTo>
                    <a:pt x="196" y="301"/>
                  </a:lnTo>
                  <a:lnTo>
                    <a:pt x="221" y="304"/>
                  </a:lnTo>
                  <a:lnTo>
                    <a:pt x="232" y="305"/>
                  </a:lnTo>
                  <a:lnTo>
                    <a:pt x="243" y="310"/>
                  </a:lnTo>
                  <a:lnTo>
                    <a:pt x="253" y="314"/>
                  </a:lnTo>
                  <a:lnTo>
                    <a:pt x="263" y="318"/>
                  </a:lnTo>
                  <a:lnTo>
                    <a:pt x="272" y="325"/>
                  </a:lnTo>
                  <a:lnTo>
                    <a:pt x="279" y="334"/>
                  </a:lnTo>
                  <a:lnTo>
                    <a:pt x="286" y="344"/>
                  </a:lnTo>
                  <a:lnTo>
                    <a:pt x="292" y="355"/>
                  </a:lnTo>
                  <a:lnTo>
                    <a:pt x="292" y="355"/>
                  </a:lnTo>
                  <a:lnTo>
                    <a:pt x="296" y="398"/>
                  </a:lnTo>
                  <a:lnTo>
                    <a:pt x="297" y="421"/>
                  </a:lnTo>
                  <a:lnTo>
                    <a:pt x="299" y="445"/>
                  </a:lnTo>
                  <a:lnTo>
                    <a:pt x="299" y="468"/>
                  </a:lnTo>
                  <a:lnTo>
                    <a:pt x="296" y="489"/>
                  </a:lnTo>
                  <a:lnTo>
                    <a:pt x="293" y="499"/>
                  </a:lnTo>
                  <a:lnTo>
                    <a:pt x="290" y="510"/>
                  </a:lnTo>
                  <a:lnTo>
                    <a:pt x="286" y="519"/>
                  </a:lnTo>
                  <a:lnTo>
                    <a:pt x="280" y="529"/>
                  </a:lnTo>
                  <a:lnTo>
                    <a:pt x="280" y="529"/>
                  </a:lnTo>
                  <a:lnTo>
                    <a:pt x="276" y="535"/>
                  </a:lnTo>
                  <a:lnTo>
                    <a:pt x="270" y="539"/>
                  </a:lnTo>
                  <a:lnTo>
                    <a:pt x="263" y="543"/>
                  </a:lnTo>
                  <a:lnTo>
                    <a:pt x="258" y="546"/>
                  </a:lnTo>
                  <a:lnTo>
                    <a:pt x="250" y="547"/>
                  </a:lnTo>
                  <a:lnTo>
                    <a:pt x="243" y="547"/>
                  </a:lnTo>
                  <a:lnTo>
                    <a:pt x="236" y="547"/>
                  </a:lnTo>
                  <a:lnTo>
                    <a:pt x="229" y="546"/>
                  </a:lnTo>
                  <a:lnTo>
                    <a:pt x="229" y="546"/>
                  </a:lnTo>
                  <a:lnTo>
                    <a:pt x="223" y="540"/>
                  </a:lnTo>
                  <a:lnTo>
                    <a:pt x="221" y="536"/>
                  </a:lnTo>
                  <a:lnTo>
                    <a:pt x="219" y="530"/>
                  </a:lnTo>
                  <a:lnTo>
                    <a:pt x="218" y="523"/>
                  </a:lnTo>
                  <a:lnTo>
                    <a:pt x="219" y="512"/>
                  </a:lnTo>
                  <a:lnTo>
                    <a:pt x="221" y="499"/>
                  </a:lnTo>
                  <a:lnTo>
                    <a:pt x="225" y="493"/>
                  </a:lnTo>
                  <a:lnTo>
                    <a:pt x="225" y="493"/>
                  </a:lnTo>
                  <a:lnTo>
                    <a:pt x="229" y="463"/>
                  </a:lnTo>
                  <a:lnTo>
                    <a:pt x="232" y="446"/>
                  </a:lnTo>
                  <a:lnTo>
                    <a:pt x="232" y="431"/>
                  </a:lnTo>
                  <a:lnTo>
                    <a:pt x="232" y="414"/>
                  </a:lnTo>
                  <a:lnTo>
                    <a:pt x="229" y="398"/>
                  </a:lnTo>
                  <a:lnTo>
                    <a:pt x="223" y="385"/>
                  </a:lnTo>
                  <a:lnTo>
                    <a:pt x="221" y="378"/>
                  </a:lnTo>
                  <a:lnTo>
                    <a:pt x="216" y="372"/>
                  </a:lnTo>
                  <a:lnTo>
                    <a:pt x="216" y="372"/>
                  </a:lnTo>
                  <a:lnTo>
                    <a:pt x="208" y="361"/>
                  </a:lnTo>
                  <a:lnTo>
                    <a:pt x="198" y="352"/>
                  </a:lnTo>
                  <a:lnTo>
                    <a:pt x="186" y="347"/>
                  </a:lnTo>
                  <a:lnTo>
                    <a:pt x="174" y="342"/>
                  </a:lnTo>
                  <a:lnTo>
                    <a:pt x="159" y="340"/>
                  </a:lnTo>
                  <a:lnTo>
                    <a:pt x="147" y="338"/>
                  </a:lnTo>
                  <a:lnTo>
                    <a:pt x="132" y="340"/>
                  </a:lnTo>
                  <a:lnTo>
                    <a:pt x="118" y="341"/>
                  </a:lnTo>
                  <a:lnTo>
                    <a:pt x="118" y="341"/>
                  </a:lnTo>
                  <a:lnTo>
                    <a:pt x="112" y="348"/>
                  </a:lnTo>
                  <a:lnTo>
                    <a:pt x="108" y="355"/>
                  </a:lnTo>
                  <a:lnTo>
                    <a:pt x="104" y="362"/>
                  </a:lnTo>
                  <a:lnTo>
                    <a:pt x="101" y="371"/>
                  </a:lnTo>
                  <a:lnTo>
                    <a:pt x="97" y="388"/>
                  </a:lnTo>
                  <a:lnTo>
                    <a:pt x="94" y="405"/>
                  </a:lnTo>
                  <a:lnTo>
                    <a:pt x="94" y="425"/>
                  </a:lnTo>
                  <a:lnTo>
                    <a:pt x="94" y="445"/>
                  </a:lnTo>
                  <a:lnTo>
                    <a:pt x="94" y="483"/>
                  </a:lnTo>
                  <a:lnTo>
                    <a:pt x="94" y="483"/>
                  </a:lnTo>
                  <a:lnTo>
                    <a:pt x="94" y="492"/>
                  </a:lnTo>
                  <a:lnTo>
                    <a:pt x="94" y="500"/>
                  </a:lnTo>
                  <a:lnTo>
                    <a:pt x="93" y="510"/>
                  </a:lnTo>
                  <a:lnTo>
                    <a:pt x="90" y="519"/>
                  </a:lnTo>
                  <a:lnTo>
                    <a:pt x="87" y="527"/>
                  </a:lnTo>
                  <a:lnTo>
                    <a:pt x="83" y="535"/>
                  </a:lnTo>
                  <a:lnTo>
                    <a:pt x="77" y="542"/>
                  </a:lnTo>
                  <a:lnTo>
                    <a:pt x="70" y="547"/>
                  </a:lnTo>
                  <a:lnTo>
                    <a:pt x="70" y="547"/>
                  </a:lnTo>
                  <a:lnTo>
                    <a:pt x="61" y="549"/>
                  </a:lnTo>
                  <a:lnTo>
                    <a:pt x="53" y="547"/>
                  </a:lnTo>
                  <a:lnTo>
                    <a:pt x="46" y="547"/>
                  </a:lnTo>
                  <a:lnTo>
                    <a:pt x="38" y="544"/>
                  </a:lnTo>
                  <a:lnTo>
                    <a:pt x="33" y="542"/>
                  </a:lnTo>
                  <a:lnTo>
                    <a:pt x="27" y="537"/>
                  </a:lnTo>
                  <a:lnTo>
                    <a:pt x="23" y="532"/>
                  </a:lnTo>
                  <a:lnTo>
                    <a:pt x="19" y="525"/>
                  </a:lnTo>
                  <a:lnTo>
                    <a:pt x="19" y="525"/>
                  </a:lnTo>
                  <a:lnTo>
                    <a:pt x="19" y="503"/>
                  </a:lnTo>
                  <a:lnTo>
                    <a:pt x="20" y="482"/>
                  </a:lnTo>
                  <a:lnTo>
                    <a:pt x="23" y="459"/>
                  </a:lnTo>
                  <a:lnTo>
                    <a:pt x="26" y="436"/>
                  </a:lnTo>
                  <a:lnTo>
                    <a:pt x="26" y="415"/>
                  </a:lnTo>
                  <a:lnTo>
                    <a:pt x="24" y="405"/>
                  </a:lnTo>
                  <a:lnTo>
                    <a:pt x="21" y="395"/>
                  </a:lnTo>
                  <a:lnTo>
                    <a:pt x="19" y="387"/>
                  </a:lnTo>
                  <a:lnTo>
                    <a:pt x="14" y="377"/>
                  </a:lnTo>
                  <a:lnTo>
                    <a:pt x="7" y="370"/>
                  </a:lnTo>
                  <a:lnTo>
                    <a:pt x="0" y="362"/>
                  </a:lnTo>
                  <a:lnTo>
                    <a:pt x="0" y="362"/>
                  </a:lnTo>
                  <a:lnTo>
                    <a:pt x="0" y="358"/>
                  </a:lnTo>
                  <a:lnTo>
                    <a:pt x="3" y="354"/>
                  </a:lnTo>
                  <a:lnTo>
                    <a:pt x="7" y="348"/>
                  </a:lnTo>
                  <a:lnTo>
                    <a:pt x="16" y="344"/>
                  </a:lnTo>
                  <a:lnTo>
                    <a:pt x="23" y="340"/>
                  </a:lnTo>
                  <a:lnTo>
                    <a:pt x="31" y="337"/>
                  </a:lnTo>
                  <a:lnTo>
                    <a:pt x="37" y="331"/>
                  </a:lnTo>
                  <a:lnTo>
                    <a:pt x="40" y="328"/>
                  </a:lnTo>
                  <a:lnTo>
                    <a:pt x="41" y="324"/>
                  </a:lnTo>
                  <a:lnTo>
                    <a:pt x="43" y="320"/>
                  </a:lnTo>
                  <a:lnTo>
                    <a:pt x="43" y="314"/>
                  </a:lnTo>
                  <a:lnTo>
                    <a:pt x="43" y="314"/>
                  </a:lnTo>
                  <a:lnTo>
                    <a:pt x="51" y="305"/>
                  </a:lnTo>
                  <a:lnTo>
                    <a:pt x="58" y="296"/>
                  </a:lnTo>
                  <a:lnTo>
                    <a:pt x="64" y="286"/>
                  </a:lnTo>
                  <a:lnTo>
                    <a:pt x="67" y="276"/>
                  </a:lnTo>
                  <a:lnTo>
                    <a:pt x="70" y="264"/>
                  </a:lnTo>
                  <a:lnTo>
                    <a:pt x="71" y="253"/>
                  </a:lnTo>
                  <a:lnTo>
                    <a:pt x="71" y="241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5" y="224"/>
                  </a:lnTo>
                  <a:lnTo>
                    <a:pt x="63" y="219"/>
                  </a:lnTo>
                  <a:lnTo>
                    <a:pt x="58" y="205"/>
                  </a:lnTo>
                  <a:lnTo>
                    <a:pt x="57" y="190"/>
                  </a:lnTo>
                  <a:lnTo>
                    <a:pt x="57" y="176"/>
                  </a:lnTo>
                  <a:lnTo>
                    <a:pt x="58" y="160"/>
                  </a:lnTo>
                  <a:lnTo>
                    <a:pt x="57" y="146"/>
                  </a:lnTo>
                  <a:lnTo>
                    <a:pt x="56" y="133"/>
                  </a:lnTo>
                  <a:lnTo>
                    <a:pt x="53" y="126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41" y="91"/>
                  </a:lnTo>
                  <a:lnTo>
                    <a:pt x="37" y="74"/>
                  </a:lnTo>
                  <a:lnTo>
                    <a:pt x="33" y="57"/>
                  </a:lnTo>
                  <a:lnTo>
                    <a:pt x="33" y="41"/>
                  </a:lnTo>
                  <a:lnTo>
                    <a:pt x="33" y="32"/>
                  </a:lnTo>
                  <a:lnTo>
                    <a:pt x="36" y="25"/>
                  </a:lnTo>
                  <a:lnTo>
                    <a:pt x="37" y="18"/>
                  </a:lnTo>
                  <a:lnTo>
                    <a:pt x="41" y="11"/>
                  </a:lnTo>
                  <a:lnTo>
                    <a:pt x="47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3"/>
                  </a:lnTo>
                  <a:lnTo>
                    <a:pt x="71" y="8"/>
                  </a:lnTo>
                  <a:lnTo>
                    <a:pt x="77" y="15"/>
                  </a:lnTo>
                  <a:lnTo>
                    <a:pt x="81" y="24"/>
                  </a:lnTo>
                  <a:lnTo>
                    <a:pt x="84" y="34"/>
                  </a:lnTo>
                  <a:lnTo>
                    <a:pt x="87" y="44"/>
                  </a:lnTo>
                  <a:lnTo>
                    <a:pt x="91" y="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374"/>
            <p:cNvSpPr>
              <a:spLocks/>
            </p:cNvSpPr>
            <p:nvPr/>
          </p:nvSpPr>
          <p:spPr bwMode="auto">
            <a:xfrm>
              <a:off x="7126" y="2317"/>
              <a:ext cx="131" cy="511"/>
            </a:xfrm>
            <a:custGeom>
              <a:avLst/>
              <a:gdLst>
                <a:gd name="T0" fmla="*/ 15 w 131"/>
                <a:gd name="T1" fmla="*/ 7 h 511"/>
                <a:gd name="T2" fmla="*/ 3 w 131"/>
                <a:gd name="T3" fmla="*/ 17 h 511"/>
                <a:gd name="T4" fmla="*/ 0 w 131"/>
                <a:gd name="T5" fmla="*/ 32 h 511"/>
                <a:gd name="T6" fmla="*/ 2 w 131"/>
                <a:gd name="T7" fmla="*/ 63 h 511"/>
                <a:gd name="T8" fmla="*/ 10 w 131"/>
                <a:gd name="T9" fmla="*/ 77 h 511"/>
                <a:gd name="T10" fmla="*/ 22 w 131"/>
                <a:gd name="T11" fmla="*/ 110 h 511"/>
                <a:gd name="T12" fmla="*/ 27 w 131"/>
                <a:gd name="T13" fmla="*/ 143 h 511"/>
                <a:gd name="T14" fmla="*/ 32 w 131"/>
                <a:gd name="T15" fmla="*/ 195 h 511"/>
                <a:gd name="T16" fmla="*/ 36 w 131"/>
                <a:gd name="T17" fmla="*/ 301 h 511"/>
                <a:gd name="T18" fmla="*/ 39 w 131"/>
                <a:gd name="T19" fmla="*/ 335 h 511"/>
                <a:gd name="T20" fmla="*/ 46 w 131"/>
                <a:gd name="T21" fmla="*/ 352 h 511"/>
                <a:gd name="T22" fmla="*/ 43 w 131"/>
                <a:gd name="T23" fmla="*/ 369 h 511"/>
                <a:gd name="T24" fmla="*/ 39 w 131"/>
                <a:gd name="T25" fmla="*/ 387 h 511"/>
                <a:gd name="T26" fmla="*/ 39 w 131"/>
                <a:gd name="T27" fmla="*/ 407 h 511"/>
                <a:gd name="T28" fmla="*/ 43 w 131"/>
                <a:gd name="T29" fmla="*/ 416 h 511"/>
                <a:gd name="T30" fmla="*/ 46 w 131"/>
                <a:gd name="T31" fmla="*/ 436 h 511"/>
                <a:gd name="T32" fmla="*/ 46 w 131"/>
                <a:gd name="T33" fmla="*/ 467 h 511"/>
                <a:gd name="T34" fmla="*/ 47 w 131"/>
                <a:gd name="T35" fmla="*/ 487 h 511"/>
                <a:gd name="T36" fmla="*/ 53 w 131"/>
                <a:gd name="T37" fmla="*/ 494 h 511"/>
                <a:gd name="T38" fmla="*/ 66 w 131"/>
                <a:gd name="T39" fmla="*/ 505 h 511"/>
                <a:gd name="T40" fmla="*/ 83 w 131"/>
                <a:gd name="T41" fmla="*/ 511 h 511"/>
                <a:gd name="T42" fmla="*/ 103 w 131"/>
                <a:gd name="T43" fmla="*/ 511 h 511"/>
                <a:gd name="T44" fmla="*/ 113 w 131"/>
                <a:gd name="T45" fmla="*/ 508 h 511"/>
                <a:gd name="T46" fmla="*/ 124 w 131"/>
                <a:gd name="T47" fmla="*/ 501 h 511"/>
                <a:gd name="T48" fmla="*/ 130 w 131"/>
                <a:gd name="T49" fmla="*/ 491 h 511"/>
                <a:gd name="T50" fmla="*/ 131 w 131"/>
                <a:gd name="T51" fmla="*/ 480 h 511"/>
                <a:gd name="T52" fmla="*/ 126 w 131"/>
                <a:gd name="T53" fmla="*/ 453 h 511"/>
                <a:gd name="T54" fmla="*/ 118 w 131"/>
                <a:gd name="T55" fmla="*/ 426 h 511"/>
                <a:gd name="T56" fmla="*/ 117 w 131"/>
                <a:gd name="T57" fmla="*/ 413 h 511"/>
                <a:gd name="T58" fmla="*/ 116 w 131"/>
                <a:gd name="T59" fmla="*/ 384 h 511"/>
                <a:gd name="T60" fmla="*/ 121 w 131"/>
                <a:gd name="T61" fmla="*/ 299 h 511"/>
                <a:gd name="T62" fmla="*/ 123 w 131"/>
                <a:gd name="T63" fmla="*/ 256 h 511"/>
                <a:gd name="T64" fmla="*/ 118 w 131"/>
                <a:gd name="T65" fmla="*/ 229 h 511"/>
                <a:gd name="T66" fmla="*/ 110 w 131"/>
                <a:gd name="T67" fmla="*/ 204 h 511"/>
                <a:gd name="T68" fmla="*/ 104 w 131"/>
                <a:gd name="T69" fmla="*/ 191 h 511"/>
                <a:gd name="T70" fmla="*/ 97 w 131"/>
                <a:gd name="T71" fmla="*/ 145 h 511"/>
                <a:gd name="T72" fmla="*/ 80 w 131"/>
                <a:gd name="T73" fmla="*/ 81 h 511"/>
                <a:gd name="T74" fmla="*/ 73 w 131"/>
                <a:gd name="T75" fmla="*/ 37 h 511"/>
                <a:gd name="T76" fmla="*/ 73 w 131"/>
                <a:gd name="T77" fmla="*/ 16 h 511"/>
                <a:gd name="T78" fmla="*/ 62 w 131"/>
                <a:gd name="T79" fmla="*/ 3 h 511"/>
                <a:gd name="T80" fmla="*/ 47 w 131"/>
                <a:gd name="T81" fmla="*/ 0 h 511"/>
                <a:gd name="T82" fmla="*/ 30 w 131"/>
                <a:gd name="T83" fmla="*/ 2 h 511"/>
                <a:gd name="T84" fmla="*/ 15 w 131"/>
                <a:gd name="T85" fmla="*/ 7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" h="511">
                  <a:moveTo>
                    <a:pt x="15" y="7"/>
                  </a:moveTo>
                  <a:lnTo>
                    <a:pt x="15" y="7"/>
                  </a:lnTo>
                  <a:lnTo>
                    <a:pt x="9" y="12"/>
                  </a:lnTo>
                  <a:lnTo>
                    <a:pt x="3" y="17"/>
                  </a:lnTo>
                  <a:lnTo>
                    <a:pt x="2" y="23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10" y="77"/>
                  </a:lnTo>
                  <a:lnTo>
                    <a:pt x="16" y="93"/>
                  </a:lnTo>
                  <a:lnTo>
                    <a:pt x="22" y="110"/>
                  </a:lnTo>
                  <a:lnTo>
                    <a:pt x="25" y="126"/>
                  </a:lnTo>
                  <a:lnTo>
                    <a:pt x="27" y="143"/>
                  </a:lnTo>
                  <a:lnTo>
                    <a:pt x="30" y="160"/>
                  </a:lnTo>
                  <a:lnTo>
                    <a:pt x="32" y="195"/>
                  </a:lnTo>
                  <a:lnTo>
                    <a:pt x="33" y="266"/>
                  </a:lnTo>
                  <a:lnTo>
                    <a:pt x="36" y="301"/>
                  </a:lnTo>
                  <a:lnTo>
                    <a:pt x="39" y="335"/>
                  </a:lnTo>
                  <a:lnTo>
                    <a:pt x="39" y="335"/>
                  </a:lnTo>
                  <a:lnTo>
                    <a:pt x="44" y="343"/>
                  </a:lnTo>
                  <a:lnTo>
                    <a:pt x="46" y="352"/>
                  </a:lnTo>
                  <a:lnTo>
                    <a:pt x="46" y="360"/>
                  </a:lnTo>
                  <a:lnTo>
                    <a:pt x="43" y="369"/>
                  </a:lnTo>
                  <a:lnTo>
                    <a:pt x="40" y="377"/>
                  </a:lnTo>
                  <a:lnTo>
                    <a:pt x="39" y="387"/>
                  </a:lnTo>
                  <a:lnTo>
                    <a:pt x="37" y="39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43" y="416"/>
                  </a:lnTo>
                  <a:lnTo>
                    <a:pt x="44" y="426"/>
                  </a:lnTo>
                  <a:lnTo>
                    <a:pt x="46" y="436"/>
                  </a:lnTo>
                  <a:lnTo>
                    <a:pt x="46" y="446"/>
                  </a:lnTo>
                  <a:lnTo>
                    <a:pt x="46" y="467"/>
                  </a:lnTo>
                  <a:lnTo>
                    <a:pt x="46" y="477"/>
                  </a:lnTo>
                  <a:lnTo>
                    <a:pt x="47" y="487"/>
                  </a:lnTo>
                  <a:lnTo>
                    <a:pt x="47" y="487"/>
                  </a:lnTo>
                  <a:lnTo>
                    <a:pt x="53" y="494"/>
                  </a:lnTo>
                  <a:lnTo>
                    <a:pt x="59" y="501"/>
                  </a:lnTo>
                  <a:lnTo>
                    <a:pt x="66" y="505"/>
                  </a:lnTo>
                  <a:lnTo>
                    <a:pt x="74" y="510"/>
                  </a:lnTo>
                  <a:lnTo>
                    <a:pt x="83" y="511"/>
                  </a:lnTo>
                  <a:lnTo>
                    <a:pt x="93" y="511"/>
                  </a:lnTo>
                  <a:lnTo>
                    <a:pt x="103" y="511"/>
                  </a:lnTo>
                  <a:lnTo>
                    <a:pt x="113" y="508"/>
                  </a:lnTo>
                  <a:lnTo>
                    <a:pt x="113" y="508"/>
                  </a:lnTo>
                  <a:lnTo>
                    <a:pt x="118" y="505"/>
                  </a:lnTo>
                  <a:lnTo>
                    <a:pt x="124" y="501"/>
                  </a:lnTo>
                  <a:lnTo>
                    <a:pt x="127" y="497"/>
                  </a:lnTo>
                  <a:lnTo>
                    <a:pt x="130" y="491"/>
                  </a:lnTo>
                  <a:lnTo>
                    <a:pt x="131" y="485"/>
                  </a:lnTo>
                  <a:lnTo>
                    <a:pt x="131" y="480"/>
                  </a:lnTo>
                  <a:lnTo>
                    <a:pt x="130" y="467"/>
                  </a:lnTo>
                  <a:lnTo>
                    <a:pt x="126" y="453"/>
                  </a:lnTo>
                  <a:lnTo>
                    <a:pt x="123" y="439"/>
                  </a:lnTo>
                  <a:lnTo>
                    <a:pt x="118" y="426"/>
                  </a:lnTo>
                  <a:lnTo>
                    <a:pt x="117" y="413"/>
                  </a:lnTo>
                  <a:lnTo>
                    <a:pt x="117" y="413"/>
                  </a:lnTo>
                  <a:lnTo>
                    <a:pt x="116" y="399"/>
                  </a:lnTo>
                  <a:lnTo>
                    <a:pt x="116" y="384"/>
                  </a:lnTo>
                  <a:lnTo>
                    <a:pt x="117" y="356"/>
                  </a:lnTo>
                  <a:lnTo>
                    <a:pt x="121" y="299"/>
                  </a:lnTo>
                  <a:lnTo>
                    <a:pt x="123" y="271"/>
                  </a:lnTo>
                  <a:lnTo>
                    <a:pt x="123" y="256"/>
                  </a:lnTo>
                  <a:lnTo>
                    <a:pt x="121" y="244"/>
                  </a:lnTo>
                  <a:lnTo>
                    <a:pt x="118" y="229"/>
                  </a:lnTo>
                  <a:lnTo>
                    <a:pt x="116" y="217"/>
                  </a:lnTo>
                  <a:lnTo>
                    <a:pt x="110" y="204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1" y="168"/>
                  </a:lnTo>
                  <a:lnTo>
                    <a:pt x="97" y="145"/>
                  </a:lnTo>
                  <a:lnTo>
                    <a:pt x="86" y="103"/>
                  </a:lnTo>
                  <a:lnTo>
                    <a:pt x="80" y="81"/>
                  </a:lnTo>
                  <a:lnTo>
                    <a:pt x="76" y="60"/>
                  </a:lnTo>
                  <a:lnTo>
                    <a:pt x="73" y="37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67" y="9"/>
                  </a:lnTo>
                  <a:lnTo>
                    <a:pt x="62" y="3"/>
                  </a:lnTo>
                  <a:lnTo>
                    <a:pt x="54" y="2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0" y="2"/>
                  </a:lnTo>
                  <a:lnTo>
                    <a:pt x="22" y="5"/>
                  </a:lnTo>
                  <a:lnTo>
                    <a:pt x="15" y="7"/>
                  </a:lnTo>
                  <a:lnTo>
                    <a:pt x="15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375"/>
            <p:cNvSpPr>
              <a:spLocks/>
            </p:cNvSpPr>
            <p:nvPr/>
          </p:nvSpPr>
          <p:spPr bwMode="auto">
            <a:xfrm>
              <a:off x="6983" y="2462"/>
              <a:ext cx="57" cy="35"/>
            </a:xfrm>
            <a:custGeom>
              <a:avLst/>
              <a:gdLst>
                <a:gd name="T0" fmla="*/ 0 w 57"/>
                <a:gd name="T1" fmla="*/ 28 h 35"/>
                <a:gd name="T2" fmla="*/ 0 w 57"/>
                <a:gd name="T3" fmla="*/ 28 h 35"/>
                <a:gd name="T4" fmla="*/ 10 w 57"/>
                <a:gd name="T5" fmla="*/ 30 h 35"/>
                <a:gd name="T6" fmla="*/ 18 w 57"/>
                <a:gd name="T7" fmla="*/ 33 h 35"/>
                <a:gd name="T8" fmla="*/ 28 w 57"/>
                <a:gd name="T9" fmla="*/ 35 h 35"/>
                <a:gd name="T10" fmla="*/ 38 w 57"/>
                <a:gd name="T11" fmla="*/ 32 h 35"/>
                <a:gd name="T12" fmla="*/ 38 w 57"/>
                <a:gd name="T13" fmla="*/ 32 h 35"/>
                <a:gd name="T14" fmla="*/ 45 w 57"/>
                <a:gd name="T15" fmla="*/ 28 h 35"/>
                <a:gd name="T16" fmla="*/ 52 w 57"/>
                <a:gd name="T17" fmla="*/ 19 h 35"/>
                <a:gd name="T18" fmla="*/ 55 w 57"/>
                <a:gd name="T19" fmla="*/ 15 h 35"/>
                <a:gd name="T20" fmla="*/ 57 w 57"/>
                <a:gd name="T21" fmla="*/ 10 h 35"/>
                <a:gd name="T22" fmla="*/ 55 w 57"/>
                <a:gd name="T23" fmla="*/ 5 h 35"/>
                <a:gd name="T24" fmla="*/ 54 w 57"/>
                <a:gd name="T25" fmla="*/ 0 h 35"/>
                <a:gd name="T26" fmla="*/ 54 w 57"/>
                <a:gd name="T27" fmla="*/ 0 h 35"/>
                <a:gd name="T28" fmla="*/ 37 w 57"/>
                <a:gd name="T29" fmla="*/ 2 h 35"/>
                <a:gd name="T30" fmla="*/ 30 w 57"/>
                <a:gd name="T31" fmla="*/ 3 h 35"/>
                <a:gd name="T32" fmla="*/ 21 w 57"/>
                <a:gd name="T33" fmla="*/ 6 h 35"/>
                <a:gd name="T34" fmla="*/ 14 w 57"/>
                <a:gd name="T35" fmla="*/ 9 h 35"/>
                <a:gd name="T36" fmla="*/ 8 w 57"/>
                <a:gd name="T37" fmla="*/ 13 h 35"/>
                <a:gd name="T38" fmla="*/ 4 w 57"/>
                <a:gd name="T39" fmla="*/ 19 h 35"/>
                <a:gd name="T40" fmla="*/ 0 w 57"/>
                <a:gd name="T41" fmla="*/ 28 h 35"/>
                <a:gd name="T42" fmla="*/ 0 w 57"/>
                <a:gd name="T43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5">
                  <a:moveTo>
                    <a:pt x="0" y="28"/>
                  </a:moveTo>
                  <a:lnTo>
                    <a:pt x="0" y="28"/>
                  </a:lnTo>
                  <a:lnTo>
                    <a:pt x="10" y="30"/>
                  </a:lnTo>
                  <a:lnTo>
                    <a:pt x="18" y="33"/>
                  </a:lnTo>
                  <a:lnTo>
                    <a:pt x="28" y="35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5" y="28"/>
                  </a:lnTo>
                  <a:lnTo>
                    <a:pt x="52" y="19"/>
                  </a:lnTo>
                  <a:lnTo>
                    <a:pt x="55" y="15"/>
                  </a:lnTo>
                  <a:lnTo>
                    <a:pt x="57" y="10"/>
                  </a:lnTo>
                  <a:lnTo>
                    <a:pt x="55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8" y="13"/>
                  </a:lnTo>
                  <a:lnTo>
                    <a:pt x="4" y="19"/>
                  </a:lnTo>
                  <a:lnTo>
                    <a:pt x="0" y="28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376"/>
            <p:cNvSpPr>
              <a:spLocks/>
            </p:cNvSpPr>
            <p:nvPr/>
          </p:nvSpPr>
          <p:spPr bwMode="auto">
            <a:xfrm>
              <a:off x="6205" y="2532"/>
              <a:ext cx="251" cy="340"/>
            </a:xfrm>
            <a:custGeom>
              <a:avLst/>
              <a:gdLst>
                <a:gd name="T0" fmla="*/ 207 w 251"/>
                <a:gd name="T1" fmla="*/ 6 h 340"/>
                <a:gd name="T2" fmla="*/ 180 w 251"/>
                <a:gd name="T3" fmla="*/ 2 h 340"/>
                <a:gd name="T4" fmla="*/ 156 w 251"/>
                <a:gd name="T5" fmla="*/ 2 h 340"/>
                <a:gd name="T6" fmla="*/ 133 w 251"/>
                <a:gd name="T7" fmla="*/ 6 h 340"/>
                <a:gd name="T8" fmla="*/ 110 w 251"/>
                <a:gd name="T9" fmla="*/ 16 h 340"/>
                <a:gd name="T10" fmla="*/ 69 w 251"/>
                <a:gd name="T11" fmla="*/ 39 h 340"/>
                <a:gd name="T12" fmla="*/ 28 w 251"/>
                <a:gd name="T13" fmla="*/ 64 h 340"/>
                <a:gd name="T14" fmla="*/ 21 w 251"/>
                <a:gd name="T15" fmla="*/ 73 h 340"/>
                <a:gd name="T16" fmla="*/ 9 w 251"/>
                <a:gd name="T17" fmla="*/ 88 h 340"/>
                <a:gd name="T18" fmla="*/ 4 w 251"/>
                <a:gd name="T19" fmla="*/ 107 h 340"/>
                <a:gd name="T20" fmla="*/ 0 w 251"/>
                <a:gd name="T21" fmla="*/ 137 h 340"/>
                <a:gd name="T22" fmla="*/ 1 w 251"/>
                <a:gd name="T23" fmla="*/ 181 h 340"/>
                <a:gd name="T24" fmla="*/ 2 w 251"/>
                <a:gd name="T25" fmla="*/ 224 h 340"/>
                <a:gd name="T26" fmla="*/ 5 w 251"/>
                <a:gd name="T27" fmla="*/ 235 h 340"/>
                <a:gd name="T28" fmla="*/ 7 w 251"/>
                <a:gd name="T29" fmla="*/ 273 h 340"/>
                <a:gd name="T30" fmla="*/ 11 w 251"/>
                <a:gd name="T31" fmla="*/ 296 h 340"/>
                <a:gd name="T32" fmla="*/ 19 w 251"/>
                <a:gd name="T33" fmla="*/ 312 h 340"/>
                <a:gd name="T34" fmla="*/ 24 w 251"/>
                <a:gd name="T35" fmla="*/ 317 h 340"/>
                <a:gd name="T36" fmla="*/ 42 w 251"/>
                <a:gd name="T37" fmla="*/ 327 h 340"/>
                <a:gd name="T38" fmla="*/ 62 w 251"/>
                <a:gd name="T39" fmla="*/ 334 h 340"/>
                <a:gd name="T40" fmla="*/ 106 w 251"/>
                <a:gd name="T41" fmla="*/ 340 h 340"/>
                <a:gd name="T42" fmla="*/ 153 w 251"/>
                <a:gd name="T43" fmla="*/ 339 h 340"/>
                <a:gd name="T44" fmla="*/ 197 w 251"/>
                <a:gd name="T45" fmla="*/ 332 h 340"/>
                <a:gd name="T46" fmla="*/ 211 w 251"/>
                <a:gd name="T47" fmla="*/ 327 h 340"/>
                <a:gd name="T48" fmla="*/ 237 w 251"/>
                <a:gd name="T49" fmla="*/ 313 h 340"/>
                <a:gd name="T50" fmla="*/ 248 w 251"/>
                <a:gd name="T51" fmla="*/ 305 h 340"/>
                <a:gd name="T52" fmla="*/ 251 w 251"/>
                <a:gd name="T53" fmla="*/ 293 h 340"/>
                <a:gd name="T54" fmla="*/ 247 w 251"/>
                <a:gd name="T55" fmla="*/ 285 h 340"/>
                <a:gd name="T56" fmla="*/ 244 w 251"/>
                <a:gd name="T57" fmla="*/ 283 h 340"/>
                <a:gd name="T58" fmla="*/ 207 w 251"/>
                <a:gd name="T59" fmla="*/ 285 h 340"/>
                <a:gd name="T60" fmla="*/ 173 w 251"/>
                <a:gd name="T61" fmla="*/ 293 h 340"/>
                <a:gd name="T62" fmla="*/ 162 w 251"/>
                <a:gd name="T63" fmla="*/ 296 h 340"/>
                <a:gd name="T64" fmla="*/ 139 w 251"/>
                <a:gd name="T65" fmla="*/ 296 h 340"/>
                <a:gd name="T66" fmla="*/ 118 w 251"/>
                <a:gd name="T67" fmla="*/ 292 h 340"/>
                <a:gd name="T68" fmla="*/ 98 w 251"/>
                <a:gd name="T69" fmla="*/ 283 h 340"/>
                <a:gd name="T70" fmla="*/ 88 w 251"/>
                <a:gd name="T71" fmla="*/ 278 h 340"/>
                <a:gd name="T72" fmla="*/ 78 w 251"/>
                <a:gd name="T73" fmla="*/ 259 h 340"/>
                <a:gd name="T74" fmla="*/ 75 w 251"/>
                <a:gd name="T75" fmla="*/ 243 h 340"/>
                <a:gd name="T76" fmla="*/ 76 w 251"/>
                <a:gd name="T77" fmla="*/ 238 h 340"/>
                <a:gd name="T78" fmla="*/ 75 w 251"/>
                <a:gd name="T79" fmla="*/ 194 h 340"/>
                <a:gd name="T80" fmla="*/ 72 w 251"/>
                <a:gd name="T81" fmla="*/ 148 h 340"/>
                <a:gd name="T82" fmla="*/ 74 w 251"/>
                <a:gd name="T83" fmla="*/ 115 h 340"/>
                <a:gd name="T84" fmla="*/ 79 w 251"/>
                <a:gd name="T85" fmla="*/ 95 h 340"/>
                <a:gd name="T86" fmla="*/ 89 w 251"/>
                <a:gd name="T87" fmla="*/ 77 h 340"/>
                <a:gd name="T88" fmla="*/ 96 w 251"/>
                <a:gd name="T89" fmla="*/ 68 h 340"/>
                <a:gd name="T90" fmla="*/ 103 w 251"/>
                <a:gd name="T91" fmla="*/ 60 h 340"/>
                <a:gd name="T92" fmla="*/ 123 w 251"/>
                <a:gd name="T93" fmla="*/ 51 h 340"/>
                <a:gd name="T94" fmla="*/ 145 w 251"/>
                <a:gd name="T95" fmla="*/ 47 h 340"/>
                <a:gd name="T96" fmla="*/ 166 w 251"/>
                <a:gd name="T97" fmla="*/ 39 h 340"/>
                <a:gd name="T98" fmla="*/ 173 w 251"/>
                <a:gd name="T99" fmla="*/ 31 h 340"/>
                <a:gd name="T100" fmla="*/ 179 w 251"/>
                <a:gd name="T101" fmla="*/ 29 h 340"/>
                <a:gd name="T102" fmla="*/ 199 w 251"/>
                <a:gd name="T103" fmla="*/ 31 h 340"/>
                <a:gd name="T104" fmla="*/ 209 w 251"/>
                <a:gd name="T105" fmla="*/ 30 h 340"/>
                <a:gd name="T106" fmla="*/ 213 w 251"/>
                <a:gd name="T107" fmla="*/ 27 h 340"/>
                <a:gd name="T108" fmla="*/ 207 w 251"/>
                <a:gd name="T109" fmla="*/ 6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1" h="340">
                  <a:moveTo>
                    <a:pt x="207" y="6"/>
                  </a:moveTo>
                  <a:lnTo>
                    <a:pt x="207" y="6"/>
                  </a:lnTo>
                  <a:lnTo>
                    <a:pt x="193" y="3"/>
                  </a:lnTo>
                  <a:lnTo>
                    <a:pt x="180" y="2"/>
                  </a:lnTo>
                  <a:lnTo>
                    <a:pt x="167" y="0"/>
                  </a:lnTo>
                  <a:lnTo>
                    <a:pt x="156" y="2"/>
                  </a:lnTo>
                  <a:lnTo>
                    <a:pt x="145" y="3"/>
                  </a:lnTo>
                  <a:lnTo>
                    <a:pt x="133" y="6"/>
                  </a:lnTo>
                  <a:lnTo>
                    <a:pt x="122" y="10"/>
                  </a:lnTo>
                  <a:lnTo>
                    <a:pt x="110" y="16"/>
                  </a:lnTo>
                  <a:lnTo>
                    <a:pt x="89" y="26"/>
                  </a:lnTo>
                  <a:lnTo>
                    <a:pt x="69" y="39"/>
                  </a:lnTo>
                  <a:lnTo>
                    <a:pt x="49" y="5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1" y="73"/>
                  </a:lnTo>
                  <a:lnTo>
                    <a:pt x="15" y="80"/>
                  </a:lnTo>
                  <a:lnTo>
                    <a:pt x="9" y="88"/>
                  </a:lnTo>
                  <a:lnTo>
                    <a:pt x="7" y="98"/>
                  </a:lnTo>
                  <a:lnTo>
                    <a:pt x="4" y="107"/>
                  </a:lnTo>
                  <a:lnTo>
                    <a:pt x="1" y="117"/>
                  </a:lnTo>
                  <a:lnTo>
                    <a:pt x="0" y="137"/>
                  </a:lnTo>
                  <a:lnTo>
                    <a:pt x="1" y="158"/>
                  </a:lnTo>
                  <a:lnTo>
                    <a:pt x="1" y="181"/>
                  </a:lnTo>
                  <a:lnTo>
                    <a:pt x="2" y="202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5" y="235"/>
                  </a:lnTo>
                  <a:lnTo>
                    <a:pt x="7" y="248"/>
                  </a:lnTo>
                  <a:lnTo>
                    <a:pt x="7" y="273"/>
                  </a:lnTo>
                  <a:lnTo>
                    <a:pt x="8" y="285"/>
                  </a:lnTo>
                  <a:lnTo>
                    <a:pt x="11" y="296"/>
                  </a:lnTo>
                  <a:lnTo>
                    <a:pt x="15" y="307"/>
                  </a:lnTo>
                  <a:lnTo>
                    <a:pt x="19" y="312"/>
                  </a:lnTo>
                  <a:lnTo>
                    <a:pt x="24" y="317"/>
                  </a:lnTo>
                  <a:lnTo>
                    <a:pt x="24" y="317"/>
                  </a:lnTo>
                  <a:lnTo>
                    <a:pt x="32" y="323"/>
                  </a:lnTo>
                  <a:lnTo>
                    <a:pt x="42" y="327"/>
                  </a:lnTo>
                  <a:lnTo>
                    <a:pt x="51" y="332"/>
                  </a:lnTo>
                  <a:lnTo>
                    <a:pt x="62" y="334"/>
                  </a:lnTo>
                  <a:lnTo>
                    <a:pt x="83" y="339"/>
                  </a:lnTo>
                  <a:lnTo>
                    <a:pt x="106" y="340"/>
                  </a:lnTo>
                  <a:lnTo>
                    <a:pt x="130" y="340"/>
                  </a:lnTo>
                  <a:lnTo>
                    <a:pt x="153" y="339"/>
                  </a:lnTo>
                  <a:lnTo>
                    <a:pt x="176" y="336"/>
                  </a:lnTo>
                  <a:lnTo>
                    <a:pt x="197" y="332"/>
                  </a:lnTo>
                  <a:lnTo>
                    <a:pt x="197" y="332"/>
                  </a:lnTo>
                  <a:lnTo>
                    <a:pt x="211" y="327"/>
                  </a:lnTo>
                  <a:lnTo>
                    <a:pt x="224" y="320"/>
                  </a:lnTo>
                  <a:lnTo>
                    <a:pt x="237" y="313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51" y="299"/>
                  </a:lnTo>
                  <a:lnTo>
                    <a:pt x="251" y="293"/>
                  </a:lnTo>
                  <a:lnTo>
                    <a:pt x="250" y="288"/>
                  </a:lnTo>
                  <a:lnTo>
                    <a:pt x="247" y="285"/>
                  </a:lnTo>
                  <a:lnTo>
                    <a:pt x="244" y="283"/>
                  </a:lnTo>
                  <a:lnTo>
                    <a:pt x="244" y="283"/>
                  </a:lnTo>
                  <a:lnTo>
                    <a:pt x="226" y="283"/>
                  </a:lnTo>
                  <a:lnTo>
                    <a:pt x="207" y="285"/>
                  </a:lnTo>
                  <a:lnTo>
                    <a:pt x="190" y="288"/>
                  </a:lnTo>
                  <a:lnTo>
                    <a:pt x="173" y="293"/>
                  </a:lnTo>
                  <a:lnTo>
                    <a:pt x="173" y="293"/>
                  </a:lnTo>
                  <a:lnTo>
                    <a:pt x="162" y="296"/>
                  </a:lnTo>
                  <a:lnTo>
                    <a:pt x="150" y="296"/>
                  </a:lnTo>
                  <a:lnTo>
                    <a:pt x="139" y="296"/>
                  </a:lnTo>
                  <a:lnTo>
                    <a:pt x="128" y="295"/>
                  </a:lnTo>
                  <a:lnTo>
                    <a:pt x="118" y="292"/>
                  </a:lnTo>
                  <a:lnTo>
                    <a:pt x="108" y="288"/>
                  </a:lnTo>
                  <a:lnTo>
                    <a:pt x="98" y="283"/>
                  </a:lnTo>
                  <a:lnTo>
                    <a:pt x="88" y="278"/>
                  </a:lnTo>
                  <a:lnTo>
                    <a:pt x="88" y="278"/>
                  </a:lnTo>
                  <a:lnTo>
                    <a:pt x="82" y="269"/>
                  </a:lnTo>
                  <a:lnTo>
                    <a:pt x="78" y="259"/>
                  </a:lnTo>
                  <a:lnTo>
                    <a:pt x="75" y="249"/>
                  </a:lnTo>
                  <a:lnTo>
                    <a:pt x="75" y="243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6" y="216"/>
                  </a:lnTo>
                  <a:lnTo>
                    <a:pt x="75" y="194"/>
                  </a:lnTo>
                  <a:lnTo>
                    <a:pt x="74" y="171"/>
                  </a:lnTo>
                  <a:lnTo>
                    <a:pt x="72" y="148"/>
                  </a:lnTo>
                  <a:lnTo>
                    <a:pt x="74" y="125"/>
                  </a:lnTo>
                  <a:lnTo>
                    <a:pt x="74" y="115"/>
                  </a:lnTo>
                  <a:lnTo>
                    <a:pt x="76" y="105"/>
                  </a:lnTo>
                  <a:lnTo>
                    <a:pt x="79" y="95"/>
                  </a:lnTo>
                  <a:lnTo>
                    <a:pt x="83" y="86"/>
                  </a:lnTo>
                  <a:lnTo>
                    <a:pt x="89" y="77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101" y="64"/>
                  </a:lnTo>
                  <a:lnTo>
                    <a:pt x="103" y="60"/>
                  </a:lnTo>
                  <a:lnTo>
                    <a:pt x="113" y="54"/>
                  </a:lnTo>
                  <a:lnTo>
                    <a:pt x="123" y="51"/>
                  </a:lnTo>
                  <a:lnTo>
                    <a:pt x="135" y="49"/>
                  </a:lnTo>
                  <a:lnTo>
                    <a:pt x="145" y="47"/>
                  </a:lnTo>
                  <a:lnTo>
                    <a:pt x="156" y="44"/>
                  </a:lnTo>
                  <a:lnTo>
                    <a:pt x="166" y="39"/>
                  </a:lnTo>
                  <a:lnTo>
                    <a:pt x="170" y="36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9" y="29"/>
                  </a:lnTo>
                  <a:lnTo>
                    <a:pt x="186" y="29"/>
                  </a:lnTo>
                  <a:lnTo>
                    <a:pt x="199" y="31"/>
                  </a:lnTo>
                  <a:lnTo>
                    <a:pt x="204" y="31"/>
                  </a:lnTo>
                  <a:lnTo>
                    <a:pt x="209" y="30"/>
                  </a:lnTo>
                  <a:lnTo>
                    <a:pt x="211" y="29"/>
                  </a:lnTo>
                  <a:lnTo>
                    <a:pt x="213" y="27"/>
                  </a:lnTo>
                  <a:lnTo>
                    <a:pt x="213" y="19"/>
                  </a:lnTo>
                  <a:lnTo>
                    <a:pt x="207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377"/>
            <p:cNvSpPr>
              <a:spLocks/>
            </p:cNvSpPr>
            <p:nvPr/>
          </p:nvSpPr>
          <p:spPr bwMode="auto">
            <a:xfrm>
              <a:off x="6930" y="2569"/>
              <a:ext cx="110" cy="295"/>
            </a:xfrm>
            <a:custGeom>
              <a:avLst/>
              <a:gdLst>
                <a:gd name="T0" fmla="*/ 73 w 110"/>
                <a:gd name="T1" fmla="*/ 0 h 295"/>
                <a:gd name="T2" fmla="*/ 73 w 110"/>
                <a:gd name="T3" fmla="*/ 0 h 295"/>
                <a:gd name="T4" fmla="*/ 67 w 110"/>
                <a:gd name="T5" fmla="*/ 2 h 295"/>
                <a:gd name="T6" fmla="*/ 61 w 110"/>
                <a:gd name="T7" fmla="*/ 4 h 295"/>
                <a:gd name="T8" fmla="*/ 57 w 110"/>
                <a:gd name="T9" fmla="*/ 7 h 295"/>
                <a:gd name="T10" fmla="*/ 54 w 110"/>
                <a:gd name="T11" fmla="*/ 12 h 295"/>
                <a:gd name="T12" fmla="*/ 48 w 110"/>
                <a:gd name="T13" fmla="*/ 20 h 295"/>
                <a:gd name="T14" fmla="*/ 43 w 110"/>
                <a:gd name="T15" fmla="*/ 30 h 295"/>
                <a:gd name="T16" fmla="*/ 43 w 110"/>
                <a:gd name="T17" fmla="*/ 30 h 295"/>
                <a:gd name="T18" fmla="*/ 44 w 110"/>
                <a:gd name="T19" fmla="*/ 57 h 295"/>
                <a:gd name="T20" fmla="*/ 41 w 110"/>
                <a:gd name="T21" fmla="*/ 83 h 295"/>
                <a:gd name="T22" fmla="*/ 37 w 110"/>
                <a:gd name="T23" fmla="*/ 108 h 295"/>
                <a:gd name="T24" fmla="*/ 33 w 110"/>
                <a:gd name="T25" fmla="*/ 132 h 295"/>
                <a:gd name="T26" fmla="*/ 26 w 110"/>
                <a:gd name="T27" fmla="*/ 157 h 295"/>
                <a:gd name="T28" fmla="*/ 17 w 110"/>
                <a:gd name="T29" fmla="*/ 181 h 295"/>
                <a:gd name="T30" fmla="*/ 0 w 110"/>
                <a:gd name="T31" fmla="*/ 225 h 295"/>
                <a:gd name="T32" fmla="*/ 0 w 110"/>
                <a:gd name="T33" fmla="*/ 225 h 295"/>
                <a:gd name="T34" fmla="*/ 3 w 110"/>
                <a:gd name="T35" fmla="*/ 245 h 295"/>
                <a:gd name="T36" fmla="*/ 7 w 110"/>
                <a:gd name="T37" fmla="*/ 265 h 295"/>
                <a:gd name="T38" fmla="*/ 11 w 110"/>
                <a:gd name="T39" fmla="*/ 273 h 295"/>
                <a:gd name="T40" fmla="*/ 16 w 110"/>
                <a:gd name="T41" fmla="*/ 280 h 295"/>
                <a:gd name="T42" fmla="*/ 21 w 110"/>
                <a:gd name="T43" fmla="*/ 288 h 295"/>
                <a:gd name="T44" fmla="*/ 28 w 110"/>
                <a:gd name="T45" fmla="*/ 292 h 295"/>
                <a:gd name="T46" fmla="*/ 28 w 110"/>
                <a:gd name="T47" fmla="*/ 292 h 295"/>
                <a:gd name="T48" fmla="*/ 36 w 110"/>
                <a:gd name="T49" fmla="*/ 295 h 295"/>
                <a:gd name="T50" fmla="*/ 44 w 110"/>
                <a:gd name="T51" fmla="*/ 295 h 295"/>
                <a:gd name="T52" fmla="*/ 51 w 110"/>
                <a:gd name="T53" fmla="*/ 295 h 295"/>
                <a:gd name="T54" fmla="*/ 58 w 110"/>
                <a:gd name="T55" fmla="*/ 293 h 295"/>
                <a:gd name="T56" fmla="*/ 65 w 110"/>
                <a:gd name="T57" fmla="*/ 290 h 295"/>
                <a:gd name="T58" fmla="*/ 71 w 110"/>
                <a:gd name="T59" fmla="*/ 286 h 295"/>
                <a:gd name="T60" fmla="*/ 77 w 110"/>
                <a:gd name="T61" fmla="*/ 282 h 295"/>
                <a:gd name="T62" fmla="*/ 81 w 110"/>
                <a:gd name="T63" fmla="*/ 276 h 295"/>
                <a:gd name="T64" fmla="*/ 81 w 110"/>
                <a:gd name="T65" fmla="*/ 276 h 295"/>
                <a:gd name="T66" fmla="*/ 83 w 110"/>
                <a:gd name="T67" fmla="*/ 270 h 295"/>
                <a:gd name="T68" fmla="*/ 84 w 110"/>
                <a:gd name="T69" fmla="*/ 266 h 295"/>
                <a:gd name="T70" fmla="*/ 84 w 110"/>
                <a:gd name="T71" fmla="*/ 262 h 295"/>
                <a:gd name="T72" fmla="*/ 84 w 110"/>
                <a:gd name="T73" fmla="*/ 258 h 295"/>
                <a:gd name="T74" fmla="*/ 81 w 110"/>
                <a:gd name="T75" fmla="*/ 249 h 295"/>
                <a:gd name="T76" fmla="*/ 77 w 110"/>
                <a:gd name="T77" fmla="*/ 242 h 295"/>
                <a:gd name="T78" fmla="*/ 71 w 110"/>
                <a:gd name="T79" fmla="*/ 235 h 295"/>
                <a:gd name="T80" fmla="*/ 68 w 110"/>
                <a:gd name="T81" fmla="*/ 226 h 295"/>
                <a:gd name="T82" fmla="*/ 67 w 110"/>
                <a:gd name="T83" fmla="*/ 222 h 295"/>
                <a:gd name="T84" fmla="*/ 67 w 110"/>
                <a:gd name="T85" fmla="*/ 218 h 295"/>
                <a:gd name="T86" fmla="*/ 68 w 110"/>
                <a:gd name="T87" fmla="*/ 214 h 295"/>
                <a:gd name="T88" fmla="*/ 70 w 110"/>
                <a:gd name="T89" fmla="*/ 209 h 295"/>
                <a:gd name="T90" fmla="*/ 70 w 110"/>
                <a:gd name="T91" fmla="*/ 209 h 295"/>
                <a:gd name="T92" fmla="*/ 81 w 110"/>
                <a:gd name="T93" fmla="*/ 188 h 295"/>
                <a:gd name="T94" fmla="*/ 90 w 110"/>
                <a:gd name="T95" fmla="*/ 167 h 295"/>
                <a:gd name="T96" fmla="*/ 98 w 110"/>
                <a:gd name="T97" fmla="*/ 145 h 295"/>
                <a:gd name="T98" fmla="*/ 102 w 110"/>
                <a:gd name="T99" fmla="*/ 122 h 295"/>
                <a:gd name="T100" fmla="*/ 107 w 110"/>
                <a:gd name="T101" fmla="*/ 98 h 295"/>
                <a:gd name="T102" fmla="*/ 110 w 110"/>
                <a:gd name="T103" fmla="*/ 74 h 295"/>
                <a:gd name="T104" fmla="*/ 110 w 110"/>
                <a:gd name="T105" fmla="*/ 50 h 295"/>
                <a:gd name="T106" fmla="*/ 108 w 110"/>
                <a:gd name="T107" fmla="*/ 24 h 295"/>
                <a:gd name="T108" fmla="*/ 108 w 110"/>
                <a:gd name="T109" fmla="*/ 24 h 295"/>
                <a:gd name="T110" fmla="*/ 105 w 110"/>
                <a:gd name="T111" fmla="*/ 17 h 295"/>
                <a:gd name="T112" fmla="*/ 102 w 110"/>
                <a:gd name="T113" fmla="*/ 13 h 295"/>
                <a:gd name="T114" fmla="*/ 100 w 110"/>
                <a:gd name="T115" fmla="*/ 9 h 295"/>
                <a:gd name="T116" fmla="*/ 95 w 110"/>
                <a:gd name="T117" fmla="*/ 6 h 295"/>
                <a:gd name="T118" fmla="*/ 90 w 110"/>
                <a:gd name="T119" fmla="*/ 3 h 295"/>
                <a:gd name="T120" fmla="*/ 84 w 110"/>
                <a:gd name="T121" fmla="*/ 2 h 295"/>
                <a:gd name="T122" fmla="*/ 73 w 110"/>
                <a:gd name="T123" fmla="*/ 0 h 295"/>
                <a:gd name="T124" fmla="*/ 73 w 110"/>
                <a:gd name="T125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0" h="295">
                  <a:moveTo>
                    <a:pt x="73" y="0"/>
                  </a:moveTo>
                  <a:lnTo>
                    <a:pt x="73" y="0"/>
                  </a:lnTo>
                  <a:lnTo>
                    <a:pt x="67" y="2"/>
                  </a:lnTo>
                  <a:lnTo>
                    <a:pt x="61" y="4"/>
                  </a:lnTo>
                  <a:lnTo>
                    <a:pt x="57" y="7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4" y="57"/>
                  </a:lnTo>
                  <a:lnTo>
                    <a:pt x="41" y="83"/>
                  </a:lnTo>
                  <a:lnTo>
                    <a:pt x="37" y="108"/>
                  </a:lnTo>
                  <a:lnTo>
                    <a:pt x="33" y="132"/>
                  </a:lnTo>
                  <a:lnTo>
                    <a:pt x="26" y="157"/>
                  </a:lnTo>
                  <a:lnTo>
                    <a:pt x="17" y="181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3" y="245"/>
                  </a:lnTo>
                  <a:lnTo>
                    <a:pt x="7" y="265"/>
                  </a:lnTo>
                  <a:lnTo>
                    <a:pt x="11" y="273"/>
                  </a:lnTo>
                  <a:lnTo>
                    <a:pt x="16" y="280"/>
                  </a:lnTo>
                  <a:lnTo>
                    <a:pt x="21" y="288"/>
                  </a:lnTo>
                  <a:lnTo>
                    <a:pt x="28" y="292"/>
                  </a:lnTo>
                  <a:lnTo>
                    <a:pt x="28" y="292"/>
                  </a:lnTo>
                  <a:lnTo>
                    <a:pt x="36" y="295"/>
                  </a:lnTo>
                  <a:lnTo>
                    <a:pt x="44" y="295"/>
                  </a:lnTo>
                  <a:lnTo>
                    <a:pt x="51" y="295"/>
                  </a:lnTo>
                  <a:lnTo>
                    <a:pt x="58" y="293"/>
                  </a:lnTo>
                  <a:lnTo>
                    <a:pt x="65" y="290"/>
                  </a:lnTo>
                  <a:lnTo>
                    <a:pt x="71" y="286"/>
                  </a:lnTo>
                  <a:lnTo>
                    <a:pt x="77" y="282"/>
                  </a:lnTo>
                  <a:lnTo>
                    <a:pt x="81" y="276"/>
                  </a:lnTo>
                  <a:lnTo>
                    <a:pt x="81" y="276"/>
                  </a:lnTo>
                  <a:lnTo>
                    <a:pt x="83" y="270"/>
                  </a:lnTo>
                  <a:lnTo>
                    <a:pt x="84" y="266"/>
                  </a:lnTo>
                  <a:lnTo>
                    <a:pt x="84" y="262"/>
                  </a:lnTo>
                  <a:lnTo>
                    <a:pt x="84" y="258"/>
                  </a:lnTo>
                  <a:lnTo>
                    <a:pt x="81" y="249"/>
                  </a:lnTo>
                  <a:lnTo>
                    <a:pt x="77" y="242"/>
                  </a:lnTo>
                  <a:lnTo>
                    <a:pt x="71" y="235"/>
                  </a:lnTo>
                  <a:lnTo>
                    <a:pt x="68" y="226"/>
                  </a:lnTo>
                  <a:lnTo>
                    <a:pt x="67" y="222"/>
                  </a:lnTo>
                  <a:lnTo>
                    <a:pt x="67" y="218"/>
                  </a:lnTo>
                  <a:lnTo>
                    <a:pt x="68" y="214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81" y="188"/>
                  </a:lnTo>
                  <a:lnTo>
                    <a:pt x="90" y="167"/>
                  </a:lnTo>
                  <a:lnTo>
                    <a:pt x="98" y="145"/>
                  </a:lnTo>
                  <a:lnTo>
                    <a:pt x="102" y="122"/>
                  </a:lnTo>
                  <a:lnTo>
                    <a:pt x="107" y="98"/>
                  </a:lnTo>
                  <a:lnTo>
                    <a:pt x="110" y="74"/>
                  </a:lnTo>
                  <a:lnTo>
                    <a:pt x="110" y="50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5" y="17"/>
                  </a:lnTo>
                  <a:lnTo>
                    <a:pt x="102" y="13"/>
                  </a:lnTo>
                  <a:lnTo>
                    <a:pt x="100" y="9"/>
                  </a:lnTo>
                  <a:lnTo>
                    <a:pt x="95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3" y="0"/>
                  </a:lnTo>
                  <a:lnTo>
                    <a:pt x="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" name="Freeform 378"/>
            <p:cNvSpPr>
              <a:spLocks/>
            </p:cNvSpPr>
            <p:nvPr/>
          </p:nvSpPr>
          <p:spPr bwMode="auto">
            <a:xfrm>
              <a:off x="7382" y="2317"/>
              <a:ext cx="375" cy="548"/>
            </a:xfrm>
            <a:custGeom>
              <a:avLst/>
              <a:gdLst>
                <a:gd name="T0" fmla="*/ 306 w 375"/>
                <a:gd name="T1" fmla="*/ 3 h 548"/>
                <a:gd name="T2" fmla="*/ 296 w 375"/>
                <a:gd name="T3" fmla="*/ 17 h 548"/>
                <a:gd name="T4" fmla="*/ 292 w 375"/>
                <a:gd name="T5" fmla="*/ 63 h 548"/>
                <a:gd name="T6" fmla="*/ 303 w 375"/>
                <a:gd name="T7" fmla="*/ 214 h 548"/>
                <a:gd name="T8" fmla="*/ 305 w 375"/>
                <a:gd name="T9" fmla="*/ 323 h 548"/>
                <a:gd name="T10" fmla="*/ 295 w 375"/>
                <a:gd name="T11" fmla="*/ 329 h 548"/>
                <a:gd name="T12" fmla="*/ 284 w 375"/>
                <a:gd name="T13" fmla="*/ 325 h 548"/>
                <a:gd name="T14" fmla="*/ 239 w 375"/>
                <a:gd name="T15" fmla="*/ 278 h 548"/>
                <a:gd name="T16" fmla="*/ 235 w 375"/>
                <a:gd name="T17" fmla="*/ 268 h 548"/>
                <a:gd name="T18" fmla="*/ 215 w 375"/>
                <a:gd name="T19" fmla="*/ 258 h 548"/>
                <a:gd name="T20" fmla="*/ 184 w 375"/>
                <a:gd name="T21" fmla="*/ 255 h 548"/>
                <a:gd name="T22" fmla="*/ 167 w 375"/>
                <a:gd name="T23" fmla="*/ 264 h 548"/>
                <a:gd name="T24" fmla="*/ 130 w 375"/>
                <a:gd name="T25" fmla="*/ 268 h 548"/>
                <a:gd name="T26" fmla="*/ 87 w 375"/>
                <a:gd name="T27" fmla="*/ 279 h 548"/>
                <a:gd name="T28" fmla="*/ 27 w 375"/>
                <a:gd name="T29" fmla="*/ 309 h 548"/>
                <a:gd name="T30" fmla="*/ 8 w 375"/>
                <a:gd name="T31" fmla="*/ 363 h 548"/>
                <a:gd name="T32" fmla="*/ 0 w 375"/>
                <a:gd name="T33" fmla="*/ 409 h 548"/>
                <a:gd name="T34" fmla="*/ 6 w 375"/>
                <a:gd name="T35" fmla="*/ 441 h 548"/>
                <a:gd name="T36" fmla="*/ 25 w 375"/>
                <a:gd name="T37" fmla="*/ 480 h 548"/>
                <a:gd name="T38" fmla="*/ 29 w 375"/>
                <a:gd name="T39" fmla="*/ 495 h 548"/>
                <a:gd name="T40" fmla="*/ 40 w 375"/>
                <a:gd name="T41" fmla="*/ 505 h 548"/>
                <a:gd name="T42" fmla="*/ 60 w 375"/>
                <a:gd name="T43" fmla="*/ 508 h 548"/>
                <a:gd name="T44" fmla="*/ 133 w 375"/>
                <a:gd name="T45" fmla="*/ 541 h 548"/>
                <a:gd name="T46" fmla="*/ 192 w 375"/>
                <a:gd name="T47" fmla="*/ 548 h 548"/>
                <a:gd name="T48" fmla="*/ 222 w 375"/>
                <a:gd name="T49" fmla="*/ 544 h 548"/>
                <a:gd name="T50" fmla="*/ 241 w 375"/>
                <a:gd name="T51" fmla="*/ 532 h 548"/>
                <a:gd name="T52" fmla="*/ 261 w 375"/>
                <a:gd name="T53" fmla="*/ 508 h 548"/>
                <a:gd name="T54" fmla="*/ 278 w 375"/>
                <a:gd name="T55" fmla="*/ 508 h 548"/>
                <a:gd name="T56" fmla="*/ 301 w 375"/>
                <a:gd name="T57" fmla="*/ 522 h 548"/>
                <a:gd name="T58" fmla="*/ 325 w 375"/>
                <a:gd name="T59" fmla="*/ 544 h 548"/>
                <a:gd name="T60" fmla="*/ 336 w 375"/>
                <a:gd name="T61" fmla="*/ 547 h 548"/>
                <a:gd name="T62" fmla="*/ 363 w 375"/>
                <a:gd name="T63" fmla="*/ 538 h 548"/>
                <a:gd name="T64" fmla="*/ 375 w 375"/>
                <a:gd name="T65" fmla="*/ 525 h 548"/>
                <a:gd name="T66" fmla="*/ 370 w 375"/>
                <a:gd name="T67" fmla="*/ 504 h 548"/>
                <a:gd name="T68" fmla="*/ 356 w 375"/>
                <a:gd name="T69" fmla="*/ 464 h 548"/>
                <a:gd name="T70" fmla="*/ 355 w 375"/>
                <a:gd name="T71" fmla="*/ 443 h 548"/>
                <a:gd name="T72" fmla="*/ 365 w 375"/>
                <a:gd name="T73" fmla="*/ 325 h 548"/>
                <a:gd name="T74" fmla="*/ 363 w 375"/>
                <a:gd name="T75" fmla="*/ 204 h 548"/>
                <a:gd name="T76" fmla="*/ 356 w 375"/>
                <a:gd name="T77" fmla="*/ 126 h 548"/>
                <a:gd name="T78" fmla="*/ 345 w 375"/>
                <a:gd name="T79" fmla="*/ 42 h 548"/>
                <a:gd name="T80" fmla="*/ 336 w 375"/>
                <a:gd name="T81" fmla="*/ 10 h 548"/>
                <a:gd name="T82" fmla="*/ 318 w 375"/>
                <a:gd name="T83" fmla="*/ 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548">
                  <a:moveTo>
                    <a:pt x="311" y="0"/>
                  </a:moveTo>
                  <a:lnTo>
                    <a:pt x="311" y="0"/>
                  </a:lnTo>
                  <a:lnTo>
                    <a:pt x="306" y="3"/>
                  </a:lnTo>
                  <a:lnTo>
                    <a:pt x="303" y="5"/>
                  </a:lnTo>
                  <a:lnTo>
                    <a:pt x="299" y="10"/>
                  </a:lnTo>
                  <a:lnTo>
                    <a:pt x="296" y="17"/>
                  </a:lnTo>
                  <a:lnTo>
                    <a:pt x="292" y="23"/>
                  </a:lnTo>
                  <a:lnTo>
                    <a:pt x="292" y="23"/>
                  </a:lnTo>
                  <a:lnTo>
                    <a:pt x="292" y="63"/>
                  </a:lnTo>
                  <a:lnTo>
                    <a:pt x="293" y="101"/>
                  </a:lnTo>
                  <a:lnTo>
                    <a:pt x="301" y="177"/>
                  </a:lnTo>
                  <a:lnTo>
                    <a:pt x="303" y="214"/>
                  </a:lnTo>
                  <a:lnTo>
                    <a:pt x="306" y="251"/>
                  </a:lnTo>
                  <a:lnTo>
                    <a:pt x="306" y="288"/>
                  </a:lnTo>
                  <a:lnTo>
                    <a:pt x="305" y="323"/>
                  </a:lnTo>
                  <a:lnTo>
                    <a:pt x="305" y="323"/>
                  </a:lnTo>
                  <a:lnTo>
                    <a:pt x="299" y="329"/>
                  </a:lnTo>
                  <a:lnTo>
                    <a:pt x="295" y="329"/>
                  </a:lnTo>
                  <a:lnTo>
                    <a:pt x="292" y="330"/>
                  </a:lnTo>
                  <a:lnTo>
                    <a:pt x="292" y="330"/>
                  </a:lnTo>
                  <a:lnTo>
                    <a:pt x="284" y="325"/>
                  </a:lnTo>
                  <a:lnTo>
                    <a:pt x="276" y="320"/>
                  </a:lnTo>
                  <a:lnTo>
                    <a:pt x="264" y="308"/>
                  </a:lnTo>
                  <a:lnTo>
                    <a:pt x="239" y="278"/>
                  </a:lnTo>
                  <a:lnTo>
                    <a:pt x="239" y="273"/>
                  </a:lnTo>
                  <a:lnTo>
                    <a:pt x="239" y="273"/>
                  </a:lnTo>
                  <a:lnTo>
                    <a:pt x="235" y="268"/>
                  </a:lnTo>
                  <a:lnTo>
                    <a:pt x="228" y="264"/>
                  </a:lnTo>
                  <a:lnTo>
                    <a:pt x="222" y="261"/>
                  </a:lnTo>
                  <a:lnTo>
                    <a:pt x="215" y="258"/>
                  </a:lnTo>
                  <a:lnTo>
                    <a:pt x="208" y="255"/>
                  </a:lnTo>
                  <a:lnTo>
                    <a:pt x="200" y="255"/>
                  </a:lnTo>
                  <a:lnTo>
                    <a:pt x="184" y="255"/>
                  </a:lnTo>
                  <a:lnTo>
                    <a:pt x="184" y="255"/>
                  </a:lnTo>
                  <a:lnTo>
                    <a:pt x="175" y="261"/>
                  </a:lnTo>
                  <a:lnTo>
                    <a:pt x="167" y="264"/>
                  </a:lnTo>
                  <a:lnTo>
                    <a:pt x="158" y="266"/>
                  </a:lnTo>
                  <a:lnTo>
                    <a:pt x="150" y="266"/>
                  </a:lnTo>
                  <a:lnTo>
                    <a:pt x="13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87" y="279"/>
                  </a:lnTo>
                  <a:lnTo>
                    <a:pt x="63" y="291"/>
                  </a:lnTo>
                  <a:lnTo>
                    <a:pt x="39" y="302"/>
                  </a:lnTo>
                  <a:lnTo>
                    <a:pt x="27" y="309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8" y="363"/>
                  </a:lnTo>
                  <a:lnTo>
                    <a:pt x="3" y="386"/>
                  </a:lnTo>
                  <a:lnTo>
                    <a:pt x="0" y="409"/>
                  </a:lnTo>
                  <a:lnTo>
                    <a:pt x="0" y="409"/>
                  </a:lnTo>
                  <a:lnTo>
                    <a:pt x="0" y="421"/>
                  </a:lnTo>
                  <a:lnTo>
                    <a:pt x="2" y="431"/>
                  </a:lnTo>
                  <a:lnTo>
                    <a:pt x="6" y="441"/>
                  </a:lnTo>
                  <a:lnTo>
                    <a:pt x="10" y="451"/>
                  </a:lnTo>
                  <a:lnTo>
                    <a:pt x="20" y="470"/>
                  </a:lnTo>
                  <a:lnTo>
                    <a:pt x="25" y="480"/>
                  </a:lnTo>
                  <a:lnTo>
                    <a:pt x="27" y="490"/>
                  </a:lnTo>
                  <a:lnTo>
                    <a:pt x="27" y="490"/>
                  </a:lnTo>
                  <a:lnTo>
                    <a:pt x="29" y="495"/>
                  </a:lnTo>
                  <a:lnTo>
                    <a:pt x="32" y="500"/>
                  </a:lnTo>
                  <a:lnTo>
                    <a:pt x="36" y="503"/>
                  </a:lnTo>
                  <a:lnTo>
                    <a:pt x="40" y="505"/>
                  </a:lnTo>
                  <a:lnTo>
                    <a:pt x="50" y="508"/>
                  </a:lnTo>
                  <a:lnTo>
                    <a:pt x="60" y="508"/>
                  </a:lnTo>
                  <a:lnTo>
                    <a:pt x="60" y="508"/>
                  </a:lnTo>
                  <a:lnTo>
                    <a:pt x="96" y="527"/>
                  </a:lnTo>
                  <a:lnTo>
                    <a:pt x="114" y="534"/>
                  </a:lnTo>
                  <a:lnTo>
                    <a:pt x="133" y="541"/>
                  </a:lnTo>
                  <a:lnTo>
                    <a:pt x="151" y="545"/>
                  </a:lnTo>
                  <a:lnTo>
                    <a:pt x="171" y="548"/>
                  </a:lnTo>
                  <a:lnTo>
                    <a:pt x="192" y="548"/>
                  </a:lnTo>
                  <a:lnTo>
                    <a:pt x="215" y="547"/>
                  </a:lnTo>
                  <a:lnTo>
                    <a:pt x="215" y="547"/>
                  </a:lnTo>
                  <a:lnTo>
                    <a:pt x="222" y="544"/>
                  </a:lnTo>
                  <a:lnTo>
                    <a:pt x="229" y="541"/>
                  </a:lnTo>
                  <a:lnTo>
                    <a:pt x="235" y="537"/>
                  </a:lnTo>
                  <a:lnTo>
                    <a:pt x="241" y="532"/>
                  </a:lnTo>
                  <a:lnTo>
                    <a:pt x="249" y="521"/>
                  </a:lnTo>
                  <a:lnTo>
                    <a:pt x="261" y="508"/>
                  </a:lnTo>
                  <a:lnTo>
                    <a:pt x="261" y="508"/>
                  </a:lnTo>
                  <a:lnTo>
                    <a:pt x="266" y="507"/>
                  </a:lnTo>
                  <a:lnTo>
                    <a:pt x="274" y="507"/>
                  </a:lnTo>
                  <a:lnTo>
                    <a:pt x="278" y="508"/>
                  </a:lnTo>
                  <a:lnTo>
                    <a:pt x="284" y="510"/>
                  </a:lnTo>
                  <a:lnTo>
                    <a:pt x="292" y="515"/>
                  </a:lnTo>
                  <a:lnTo>
                    <a:pt x="301" y="522"/>
                  </a:lnTo>
                  <a:lnTo>
                    <a:pt x="308" y="531"/>
                  </a:lnTo>
                  <a:lnTo>
                    <a:pt x="316" y="538"/>
                  </a:lnTo>
                  <a:lnTo>
                    <a:pt x="325" y="544"/>
                  </a:lnTo>
                  <a:lnTo>
                    <a:pt x="330" y="545"/>
                  </a:lnTo>
                  <a:lnTo>
                    <a:pt x="336" y="547"/>
                  </a:lnTo>
                  <a:lnTo>
                    <a:pt x="336" y="547"/>
                  </a:lnTo>
                  <a:lnTo>
                    <a:pt x="348" y="545"/>
                  </a:lnTo>
                  <a:lnTo>
                    <a:pt x="359" y="541"/>
                  </a:lnTo>
                  <a:lnTo>
                    <a:pt x="363" y="538"/>
                  </a:lnTo>
                  <a:lnTo>
                    <a:pt x="369" y="535"/>
                  </a:lnTo>
                  <a:lnTo>
                    <a:pt x="372" y="531"/>
                  </a:lnTo>
                  <a:lnTo>
                    <a:pt x="375" y="525"/>
                  </a:lnTo>
                  <a:lnTo>
                    <a:pt x="375" y="525"/>
                  </a:lnTo>
                  <a:lnTo>
                    <a:pt x="373" y="515"/>
                  </a:lnTo>
                  <a:lnTo>
                    <a:pt x="370" y="504"/>
                  </a:lnTo>
                  <a:lnTo>
                    <a:pt x="363" y="484"/>
                  </a:lnTo>
                  <a:lnTo>
                    <a:pt x="359" y="474"/>
                  </a:lnTo>
                  <a:lnTo>
                    <a:pt x="356" y="464"/>
                  </a:lnTo>
                  <a:lnTo>
                    <a:pt x="355" y="454"/>
                  </a:lnTo>
                  <a:lnTo>
                    <a:pt x="355" y="443"/>
                  </a:lnTo>
                  <a:lnTo>
                    <a:pt x="355" y="443"/>
                  </a:lnTo>
                  <a:lnTo>
                    <a:pt x="359" y="404"/>
                  </a:lnTo>
                  <a:lnTo>
                    <a:pt x="363" y="366"/>
                  </a:lnTo>
                  <a:lnTo>
                    <a:pt x="365" y="325"/>
                  </a:lnTo>
                  <a:lnTo>
                    <a:pt x="366" y="285"/>
                  </a:lnTo>
                  <a:lnTo>
                    <a:pt x="365" y="244"/>
                  </a:lnTo>
                  <a:lnTo>
                    <a:pt x="363" y="204"/>
                  </a:lnTo>
                  <a:lnTo>
                    <a:pt x="360" y="164"/>
                  </a:lnTo>
                  <a:lnTo>
                    <a:pt x="356" y="126"/>
                  </a:lnTo>
                  <a:lnTo>
                    <a:pt x="356" y="126"/>
                  </a:lnTo>
                  <a:lnTo>
                    <a:pt x="352" y="97"/>
                  </a:lnTo>
                  <a:lnTo>
                    <a:pt x="348" y="70"/>
                  </a:lnTo>
                  <a:lnTo>
                    <a:pt x="345" y="42"/>
                  </a:lnTo>
                  <a:lnTo>
                    <a:pt x="339" y="13"/>
                  </a:lnTo>
                  <a:lnTo>
                    <a:pt x="339" y="13"/>
                  </a:lnTo>
                  <a:lnTo>
                    <a:pt x="336" y="10"/>
                  </a:lnTo>
                  <a:lnTo>
                    <a:pt x="333" y="7"/>
                  </a:lnTo>
                  <a:lnTo>
                    <a:pt x="326" y="5"/>
                  </a:lnTo>
                  <a:lnTo>
                    <a:pt x="318" y="3"/>
                  </a:lnTo>
                  <a:lnTo>
                    <a:pt x="311" y="0"/>
                  </a:lnTo>
                  <a:lnTo>
                    <a:pt x="3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" name="Freeform 379"/>
            <p:cNvSpPr>
              <a:spLocks/>
            </p:cNvSpPr>
            <p:nvPr/>
          </p:nvSpPr>
          <p:spPr bwMode="auto">
            <a:xfrm>
              <a:off x="7461" y="2618"/>
              <a:ext cx="166" cy="203"/>
            </a:xfrm>
            <a:custGeom>
              <a:avLst/>
              <a:gdLst>
                <a:gd name="T0" fmla="*/ 143 w 166"/>
                <a:gd name="T1" fmla="*/ 25 h 203"/>
                <a:gd name="T2" fmla="*/ 143 w 166"/>
                <a:gd name="T3" fmla="*/ 25 h 203"/>
                <a:gd name="T4" fmla="*/ 146 w 166"/>
                <a:gd name="T5" fmla="*/ 41 h 203"/>
                <a:gd name="T6" fmla="*/ 150 w 166"/>
                <a:gd name="T7" fmla="*/ 55 h 203"/>
                <a:gd name="T8" fmla="*/ 153 w 166"/>
                <a:gd name="T9" fmla="*/ 62 h 203"/>
                <a:gd name="T10" fmla="*/ 156 w 166"/>
                <a:gd name="T11" fmla="*/ 69 h 203"/>
                <a:gd name="T12" fmla="*/ 160 w 166"/>
                <a:gd name="T13" fmla="*/ 75 h 203"/>
                <a:gd name="T14" fmla="*/ 166 w 166"/>
                <a:gd name="T15" fmla="*/ 81 h 203"/>
                <a:gd name="T16" fmla="*/ 166 w 166"/>
                <a:gd name="T17" fmla="*/ 81 h 203"/>
                <a:gd name="T18" fmla="*/ 165 w 166"/>
                <a:gd name="T19" fmla="*/ 102 h 203"/>
                <a:gd name="T20" fmla="*/ 162 w 166"/>
                <a:gd name="T21" fmla="*/ 125 h 203"/>
                <a:gd name="T22" fmla="*/ 153 w 166"/>
                <a:gd name="T23" fmla="*/ 169 h 203"/>
                <a:gd name="T24" fmla="*/ 153 w 166"/>
                <a:gd name="T25" fmla="*/ 169 h 203"/>
                <a:gd name="T26" fmla="*/ 146 w 166"/>
                <a:gd name="T27" fmla="*/ 180 h 203"/>
                <a:gd name="T28" fmla="*/ 136 w 166"/>
                <a:gd name="T29" fmla="*/ 189 h 203"/>
                <a:gd name="T30" fmla="*/ 126 w 166"/>
                <a:gd name="T31" fmla="*/ 197 h 203"/>
                <a:gd name="T32" fmla="*/ 113 w 166"/>
                <a:gd name="T33" fmla="*/ 202 h 203"/>
                <a:gd name="T34" fmla="*/ 113 w 166"/>
                <a:gd name="T35" fmla="*/ 202 h 203"/>
                <a:gd name="T36" fmla="*/ 99 w 166"/>
                <a:gd name="T37" fmla="*/ 203 h 203"/>
                <a:gd name="T38" fmla="*/ 85 w 166"/>
                <a:gd name="T39" fmla="*/ 202 h 203"/>
                <a:gd name="T40" fmla="*/ 71 w 166"/>
                <a:gd name="T41" fmla="*/ 199 h 203"/>
                <a:gd name="T42" fmla="*/ 58 w 166"/>
                <a:gd name="T43" fmla="*/ 193 h 203"/>
                <a:gd name="T44" fmla="*/ 47 w 166"/>
                <a:gd name="T45" fmla="*/ 187 h 203"/>
                <a:gd name="T46" fmla="*/ 35 w 166"/>
                <a:gd name="T47" fmla="*/ 179 h 203"/>
                <a:gd name="T48" fmla="*/ 25 w 166"/>
                <a:gd name="T49" fmla="*/ 169 h 203"/>
                <a:gd name="T50" fmla="*/ 18 w 166"/>
                <a:gd name="T51" fmla="*/ 157 h 203"/>
                <a:gd name="T52" fmla="*/ 18 w 166"/>
                <a:gd name="T53" fmla="*/ 157 h 203"/>
                <a:gd name="T54" fmla="*/ 11 w 166"/>
                <a:gd name="T55" fmla="*/ 146 h 203"/>
                <a:gd name="T56" fmla="*/ 5 w 166"/>
                <a:gd name="T57" fmla="*/ 132 h 203"/>
                <a:gd name="T58" fmla="*/ 1 w 166"/>
                <a:gd name="T59" fmla="*/ 116 h 203"/>
                <a:gd name="T60" fmla="*/ 0 w 166"/>
                <a:gd name="T61" fmla="*/ 102 h 203"/>
                <a:gd name="T62" fmla="*/ 0 w 166"/>
                <a:gd name="T63" fmla="*/ 86 h 203"/>
                <a:gd name="T64" fmla="*/ 1 w 166"/>
                <a:gd name="T65" fmla="*/ 71 h 203"/>
                <a:gd name="T66" fmla="*/ 5 w 166"/>
                <a:gd name="T67" fmla="*/ 56 h 203"/>
                <a:gd name="T68" fmla="*/ 12 w 166"/>
                <a:gd name="T69" fmla="*/ 44 h 203"/>
                <a:gd name="T70" fmla="*/ 12 w 166"/>
                <a:gd name="T71" fmla="*/ 44 h 203"/>
                <a:gd name="T72" fmla="*/ 20 w 166"/>
                <a:gd name="T73" fmla="*/ 32 h 203"/>
                <a:gd name="T74" fmla="*/ 30 w 166"/>
                <a:gd name="T75" fmla="*/ 24 h 203"/>
                <a:gd name="T76" fmla="*/ 41 w 166"/>
                <a:gd name="T77" fmla="*/ 17 h 203"/>
                <a:gd name="T78" fmla="*/ 54 w 166"/>
                <a:gd name="T79" fmla="*/ 9 h 203"/>
                <a:gd name="T80" fmla="*/ 68 w 166"/>
                <a:gd name="T81" fmla="*/ 5 h 203"/>
                <a:gd name="T82" fmla="*/ 82 w 166"/>
                <a:gd name="T83" fmla="*/ 2 h 203"/>
                <a:gd name="T84" fmla="*/ 96 w 166"/>
                <a:gd name="T85" fmla="*/ 0 h 203"/>
                <a:gd name="T86" fmla="*/ 109 w 166"/>
                <a:gd name="T87" fmla="*/ 0 h 203"/>
                <a:gd name="T88" fmla="*/ 109 w 166"/>
                <a:gd name="T89" fmla="*/ 0 h 203"/>
                <a:gd name="T90" fmla="*/ 121 w 166"/>
                <a:gd name="T91" fmla="*/ 4 h 203"/>
                <a:gd name="T92" fmla="*/ 129 w 166"/>
                <a:gd name="T93" fmla="*/ 9 h 203"/>
                <a:gd name="T94" fmla="*/ 138 w 166"/>
                <a:gd name="T95" fmla="*/ 17 h 203"/>
                <a:gd name="T96" fmla="*/ 143 w 166"/>
                <a:gd name="T97" fmla="*/ 25 h 203"/>
                <a:gd name="T98" fmla="*/ 143 w 166"/>
                <a:gd name="T99" fmla="*/ 2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6" h="203">
                  <a:moveTo>
                    <a:pt x="143" y="25"/>
                  </a:moveTo>
                  <a:lnTo>
                    <a:pt x="143" y="25"/>
                  </a:lnTo>
                  <a:lnTo>
                    <a:pt x="146" y="41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6" y="69"/>
                  </a:lnTo>
                  <a:lnTo>
                    <a:pt x="160" y="75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5" y="102"/>
                  </a:lnTo>
                  <a:lnTo>
                    <a:pt x="162" y="125"/>
                  </a:lnTo>
                  <a:lnTo>
                    <a:pt x="153" y="169"/>
                  </a:lnTo>
                  <a:lnTo>
                    <a:pt x="153" y="169"/>
                  </a:lnTo>
                  <a:lnTo>
                    <a:pt x="146" y="180"/>
                  </a:lnTo>
                  <a:lnTo>
                    <a:pt x="136" y="189"/>
                  </a:lnTo>
                  <a:lnTo>
                    <a:pt x="126" y="197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99" y="203"/>
                  </a:lnTo>
                  <a:lnTo>
                    <a:pt x="85" y="202"/>
                  </a:lnTo>
                  <a:lnTo>
                    <a:pt x="71" y="199"/>
                  </a:lnTo>
                  <a:lnTo>
                    <a:pt x="58" y="193"/>
                  </a:lnTo>
                  <a:lnTo>
                    <a:pt x="47" y="187"/>
                  </a:lnTo>
                  <a:lnTo>
                    <a:pt x="35" y="179"/>
                  </a:lnTo>
                  <a:lnTo>
                    <a:pt x="25" y="169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1" y="146"/>
                  </a:lnTo>
                  <a:lnTo>
                    <a:pt x="5" y="132"/>
                  </a:lnTo>
                  <a:lnTo>
                    <a:pt x="1" y="116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1" y="71"/>
                  </a:lnTo>
                  <a:lnTo>
                    <a:pt x="5" y="5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20" y="32"/>
                  </a:lnTo>
                  <a:lnTo>
                    <a:pt x="30" y="24"/>
                  </a:lnTo>
                  <a:lnTo>
                    <a:pt x="41" y="17"/>
                  </a:lnTo>
                  <a:lnTo>
                    <a:pt x="54" y="9"/>
                  </a:lnTo>
                  <a:lnTo>
                    <a:pt x="68" y="5"/>
                  </a:lnTo>
                  <a:lnTo>
                    <a:pt x="82" y="2"/>
                  </a:lnTo>
                  <a:lnTo>
                    <a:pt x="9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21" y="4"/>
                  </a:lnTo>
                  <a:lnTo>
                    <a:pt x="129" y="9"/>
                  </a:lnTo>
                  <a:lnTo>
                    <a:pt x="138" y="17"/>
                  </a:lnTo>
                  <a:lnTo>
                    <a:pt x="143" y="25"/>
                  </a:lnTo>
                  <a:lnTo>
                    <a:pt x="143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380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381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" name="Freeform 382"/>
            <p:cNvSpPr>
              <a:spLocks noEditPoints="1"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  <a:gd name="T18" fmla="*/ 200 w 535"/>
                <a:gd name="T19" fmla="*/ 322 h 541"/>
                <a:gd name="T20" fmla="*/ 299 w 535"/>
                <a:gd name="T21" fmla="*/ 322 h 541"/>
                <a:gd name="T22" fmla="*/ 252 w 535"/>
                <a:gd name="T23" fmla="*/ 137 h 541"/>
                <a:gd name="T24" fmla="*/ 200 w 535"/>
                <a:gd name="T25" fmla="*/ 32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  <a:close/>
                  <a:moveTo>
                    <a:pt x="200" y="322"/>
                  </a:moveTo>
                  <a:lnTo>
                    <a:pt x="299" y="322"/>
                  </a:lnTo>
                  <a:lnTo>
                    <a:pt x="252" y="137"/>
                  </a:lnTo>
                  <a:lnTo>
                    <a:pt x="200" y="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383"/>
            <p:cNvSpPr>
              <a:spLocks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" name="Freeform 384"/>
            <p:cNvSpPr>
              <a:spLocks/>
            </p:cNvSpPr>
            <p:nvPr/>
          </p:nvSpPr>
          <p:spPr bwMode="auto">
            <a:xfrm>
              <a:off x="6986" y="1551"/>
              <a:ext cx="99" cy="185"/>
            </a:xfrm>
            <a:custGeom>
              <a:avLst/>
              <a:gdLst>
                <a:gd name="T0" fmla="*/ 0 w 99"/>
                <a:gd name="T1" fmla="*/ 185 h 185"/>
                <a:gd name="T2" fmla="*/ 99 w 99"/>
                <a:gd name="T3" fmla="*/ 185 h 185"/>
                <a:gd name="T4" fmla="*/ 52 w 99"/>
                <a:gd name="T5" fmla="*/ 0 h 185"/>
                <a:gd name="T6" fmla="*/ 0 w 99"/>
                <a:gd name="T7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85">
                  <a:moveTo>
                    <a:pt x="0" y="185"/>
                  </a:moveTo>
                  <a:lnTo>
                    <a:pt x="99" y="185"/>
                  </a:lnTo>
                  <a:lnTo>
                    <a:pt x="52" y="0"/>
                  </a:lnTo>
                  <a:lnTo>
                    <a:pt x="0" y="18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385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386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387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  <a:gd name="T52" fmla="*/ 166 w 166"/>
                <a:gd name="T53" fmla="*/ 5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  <a:lnTo>
                    <a:pt x="166" y="54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388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0242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1199792"/>
            <a:ext cx="3932237" cy="108021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171" y="1203978"/>
            <a:ext cx="6172200" cy="497350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2645292"/>
            <a:ext cx="3932237" cy="35321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126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2192000" cy="11811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838200" y="-105569"/>
            <a:ext cx="10515600" cy="12358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lick to edit Master title style</a:t>
            </a: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692"/>
            <a:ext cx="12192000" cy="1205784"/>
          </a:xfrm>
          <a:prstGeom prst="rect">
            <a:avLst/>
          </a:prstGeom>
        </p:spPr>
      </p:pic>
      <p:grpSp>
        <p:nvGrpSpPr>
          <p:cNvPr id="11" name="Group 363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11500623" y="6215063"/>
            <a:ext cx="585788" cy="538162"/>
            <a:chOff x="5907" y="1132"/>
            <a:chExt cx="2151" cy="1976"/>
          </a:xfrm>
        </p:grpSpPr>
        <p:sp>
          <p:nvSpPr>
            <p:cNvPr id="12" name="Freeform 364"/>
            <p:cNvSpPr>
              <a:spLocks/>
            </p:cNvSpPr>
            <p:nvPr/>
          </p:nvSpPr>
          <p:spPr bwMode="auto">
            <a:xfrm>
              <a:off x="5966" y="2117"/>
              <a:ext cx="2028" cy="0"/>
            </a:xfrm>
            <a:custGeom>
              <a:avLst/>
              <a:gdLst>
                <a:gd name="T0" fmla="*/ 0 w 2028"/>
                <a:gd name="T1" fmla="*/ 2028 w 2028"/>
                <a:gd name="T2" fmla="*/ 0 w 202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28">
                  <a:moveTo>
                    <a:pt x="0" y="0"/>
                  </a:moveTo>
                  <a:lnTo>
                    <a:pt x="202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Line 365"/>
            <p:cNvSpPr>
              <a:spLocks noChangeShapeType="1"/>
            </p:cNvSpPr>
            <p:nvPr/>
          </p:nvSpPr>
          <p:spPr bwMode="auto">
            <a:xfrm>
              <a:off x="5966" y="2117"/>
              <a:ext cx="202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Rectangle 366"/>
            <p:cNvSpPr>
              <a:spLocks noChangeArrowheads="1"/>
            </p:cNvSpPr>
            <p:nvPr/>
          </p:nvSpPr>
          <p:spPr bwMode="auto">
            <a:xfrm>
              <a:off x="5968" y="1194"/>
              <a:ext cx="2030" cy="1853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367"/>
            <p:cNvSpPr>
              <a:spLocks noEditPoints="1"/>
            </p:cNvSpPr>
            <p:nvPr/>
          </p:nvSpPr>
          <p:spPr bwMode="auto">
            <a:xfrm>
              <a:off x="5907" y="1132"/>
              <a:ext cx="2151" cy="1976"/>
            </a:xfrm>
            <a:custGeom>
              <a:avLst/>
              <a:gdLst>
                <a:gd name="T0" fmla="*/ 0 w 2151"/>
                <a:gd name="T1" fmla="*/ 1976 h 1976"/>
                <a:gd name="T2" fmla="*/ 2151 w 2151"/>
                <a:gd name="T3" fmla="*/ 1976 h 1976"/>
                <a:gd name="T4" fmla="*/ 2151 w 2151"/>
                <a:gd name="T5" fmla="*/ 0 h 1976"/>
                <a:gd name="T6" fmla="*/ 0 w 2151"/>
                <a:gd name="T7" fmla="*/ 0 h 1976"/>
                <a:gd name="T8" fmla="*/ 0 w 2151"/>
                <a:gd name="T9" fmla="*/ 1976 h 1976"/>
                <a:gd name="T10" fmla="*/ 123 w 2151"/>
                <a:gd name="T11" fmla="*/ 1854 h 1976"/>
                <a:gd name="T12" fmla="*/ 123 w 2151"/>
                <a:gd name="T13" fmla="*/ 1854 h 1976"/>
                <a:gd name="T14" fmla="*/ 123 w 2151"/>
                <a:gd name="T15" fmla="*/ 1046 h 1976"/>
                <a:gd name="T16" fmla="*/ 2030 w 2151"/>
                <a:gd name="T17" fmla="*/ 1046 h 1976"/>
                <a:gd name="T18" fmla="*/ 2030 w 2151"/>
                <a:gd name="T19" fmla="*/ 1046 h 1976"/>
                <a:gd name="T20" fmla="*/ 2030 w 2151"/>
                <a:gd name="T21" fmla="*/ 1854 h 1976"/>
                <a:gd name="T22" fmla="*/ 2030 w 2151"/>
                <a:gd name="T23" fmla="*/ 1854 h 1976"/>
                <a:gd name="T24" fmla="*/ 123 w 2151"/>
                <a:gd name="T25" fmla="*/ 1854 h 1976"/>
                <a:gd name="T26" fmla="*/ 123 w 2151"/>
                <a:gd name="T27" fmla="*/ 1854 h 1976"/>
                <a:gd name="T28" fmla="*/ 2030 w 2151"/>
                <a:gd name="T29" fmla="*/ 123 h 1976"/>
                <a:gd name="T30" fmla="*/ 2030 w 2151"/>
                <a:gd name="T31" fmla="*/ 123 h 1976"/>
                <a:gd name="T32" fmla="*/ 2030 w 2151"/>
                <a:gd name="T33" fmla="*/ 924 h 1976"/>
                <a:gd name="T34" fmla="*/ 123 w 2151"/>
                <a:gd name="T35" fmla="*/ 924 h 1976"/>
                <a:gd name="T36" fmla="*/ 123 w 2151"/>
                <a:gd name="T37" fmla="*/ 924 h 1976"/>
                <a:gd name="T38" fmla="*/ 123 w 2151"/>
                <a:gd name="T39" fmla="*/ 123 h 1976"/>
                <a:gd name="T40" fmla="*/ 123 w 2151"/>
                <a:gd name="T41" fmla="*/ 123 h 1976"/>
                <a:gd name="T42" fmla="*/ 2030 w 2151"/>
                <a:gd name="T43" fmla="*/ 123 h 1976"/>
                <a:gd name="T44" fmla="*/ 2030 w 2151"/>
                <a:gd name="T45" fmla="*/ 123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51" h="1976">
                  <a:moveTo>
                    <a:pt x="0" y="1976"/>
                  </a:moveTo>
                  <a:lnTo>
                    <a:pt x="2151" y="1976"/>
                  </a:lnTo>
                  <a:lnTo>
                    <a:pt x="2151" y="0"/>
                  </a:lnTo>
                  <a:lnTo>
                    <a:pt x="0" y="0"/>
                  </a:lnTo>
                  <a:lnTo>
                    <a:pt x="0" y="1976"/>
                  </a:lnTo>
                  <a:close/>
                  <a:moveTo>
                    <a:pt x="123" y="1854"/>
                  </a:moveTo>
                  <a:lnTo>
                    <a:pt x="123" y="1854"/>
                  </a:lnTo>
                  <a:lnTo>
                    <a:pt x="123" y="1046"/>
                  </a:lnTo>
                  <a:lnTo>
                    <a:pt x="2030" y="1046"/>
                  </a:lnTo>
                  <a:lnTo>
                    <a:pt x="2030" y="1046"/>
                  </a:lnTo>
                  <a:lnTo>
                    <a:pt x="2030" y="1854"/>
                  </a:lnTo>
                  <a:lnTo>
                    <a:pt x="2030" y="1854"/>
                  </a:lnTo>
                  <a:lnTo>
                    <a:pt x="123" y="1854"/>
                  </a:lnTo>
                  <a:lnTo>
                    <a:pt x="123" y="1854"/>
                  </a:lnTo>
                  <a:close/>
                  <a:moveTo>
                    <a:pt x="2030" y="123"/>
                  </a:moveTo>
                  <a:lnTo>
                    <a:pt x="2030" y="123"/>
                  </a:lnTo>
                  <a:lnTo>
                    <a:pt x="2030" y="924"/>
                  </a:lnTo>
                  <a:lnTo>
                    <a:pt x="123" y="924"/>
                  </a:lnTo>
                  <a:lnTo>
                    <a:pt x="123" y="924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2030" y="123"/>
                  </a:lnTo>
                  <a:lnTo>
                    <a:pt x="2030" y="123"/>
                  </a:lnTo>
                  <a:close/>
                </a:path>
              </a:pathLst>
            </a:custGeom>
            <a:solidFill>
              <a:srgbClr val="EF3E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368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64 h 587"/>
                <a:gd name="T34" fmla="*/ 953 w 1552"/>
                <a:gd name="T35" fmla="*/ 227 h 587"/>
                <a:gd name="T36" fmla="*/ 960 w 1552"/>
                <a:gd name="T37" fmla="*/ 419 h 587"/>
                <a:gd name="T38" fmla="*/ 968 w 1552"/>
                <a:gd name="T39" fmla="*/ 519 h 587"/>
                <a:gd name="T40" fmla="*/ 1034 w 1552"/>
                <a:gd name="T41" fmla="*/ 540 h 587"/>
                <a:gd name="T42" fmla="*/ 1039 w 1552"/>
                <a:gd name="T43" fmla="*/ 458 h 587"/>
                <a:gd name="T44" fmla="*/ 1039 w 1552"/>
                <a:gd name="T45" fmla="*/ 261 h 587"/>
                <a:gd name="T46" fmla="*/ 994 w 1552"/>
                <a:gd name="T47" fmla="*/ 69 h 587"/>
                <a:gd name="T48" fmla="*/ 936 w 1552"/>
                <a:gd name="T49" fmla="*/ 39 h 587"/>
                <a:gd name="T50" fmla="*/ 830 w 1552"/>
                <a:gd name="T51" fmla="*/ 196 h 587"/>
                <a:gd name="T52" fmla="*/ 786 w 1552"/>
                <a:gd name="T53" fmla="*/ 190 h 587"/>
                <a:gd name="T54" fmla="*/ 145 w 1552"/>
                <a:gd name="T55" fmla="*/ 250 h 587"/>
                <a:gd name="T56" fmla="*/ 15 w 1552"/>
                <a:gd name="T57" fmla="*/ 327 h 587"/>
                <a:gd name="T58" fmla="*/ 2 w 1552"/>
                <a:gd name="T59" fmla="*/ 471 h 587"/>
                <a:gd name="T60" fmla="*/ 32 w 1552"/>
                <a:gd name="T61" fmla="*/ 570 h 587"/>
                <a:gd name="T62" fmla="*/ 197 w 1552"/>
                <a:gd name="T63" fmla="*/ 579 h 587"/>
                <a:gd name="T64" fmla="*/ 244 w 1552"/>
                <a:gd name="T65" fmla="*/ 530 h 587"/>
                <a:gd name="T66" fmla="*/ 128 w 1552"/>
                <a:gd name="T67" fmla="*/ 542 h 587"/>
                <a:gd name="T68" fmla="*/ 76 w 1552"/>
                <a:gd name="T69" fmla="*/ 485 h 587"/>
                <a:gd name="T70" fmla="*/ 83 w 1552"/>
                <a:gd name="T71" fmla="*/ 333 h 587"/>
                <a:gd name="T72" fmla="*/ 156 w 1552"/>
                <a:gd name="T73" fmla="*/ 291 h 587"/>
                <a:gd name="T74" fmla="*/ 211 w 1552"/>
                <a:gd name="T75" fmla="*/ 276 h 587"/>
                <a:gd name="T76" fmla="*/ 773 w 1552"/>
                <a:gd name="T77" fmla="*/ 304 h 587"/>
                <a:gd name="T78" fmla="*/ 725 w 1552"/>
                <a:gd name="T79" fmla="*/ 509 h 587"/>
                <a:gd name="T80" fmla="*/ 776 w 1552"/>
                <a:gd name="T81" fmla="*/ 579 h 587"/>
                <a:gd name="T82" fmla="*/ 809 w 1552"/>
                <a:gd name="T83" fmla="*/ 542 h 587"/>
                <a:gd name="T84" fmla="*/ 806 w 1552"/>
                <a:gd name="T85" fmla="*/ 472 h 587"/>
                <a:gd name="T86" fmla="*/ 827 w 1552"/>
                <a:gd name="T87" fmla="*/ 297 h 587"/>
                <a:gd name="T88" fmla="*/ 1480 w 1552"/>
                <a:gd name="T89" fmla="*/ 37 h 587"/>
                <a:gd name="T90" fmla="*/ 1483 w 1552"/>
                <a:gd name="T91" fmla="*/ 320 h 587"/>
                <a:gd name="T92" fmla="*/ 1416 w 1552"/>
                <a:gd name="T93" fmla="*/ 310 h 587"/>
                <a:gd name="T94" fmla="*/ 1361 w 1552"/>
                <a:gd name="T95" fmla="*/ 287 h 587"/>
                <a:gd name="T96" fmla="*/ 1216 w 1552"/>
                <a:gd name="T97" fmla="*/ 334 h 587"/>
                <a:gd name="T98" fmla="*/ 1183 w 1552"/>
                <a:gd name="T99" fmla="*/ 473 h 587"/>
                <a:gd name="T100" fmla="*/ 1227 w 1552"/>
                <a:gd name="T101" fmla="*/ 540 h 587"/>
                <a:gd name="T102" fmla="*/ 1392 w 1552"/>
                <a:gd name="T103" fmla="*/ 579 h 587"/>
                <a:gd name="T104" fmla="*/ 1455 w 1552"/>
                <a:gd name="T105" fmla="*/ 540 h 587"/>
                <a:gd name="T106" fmla="*/ 1525 w 1552"/>
                <a:gd name="T107" fmla="*/ 577 h 587"/>
                <a:gd name="T108" fmla="*/ 1536 w 1552"/>
                <a:gd name="T109" fmla="*/ 506 h 587"/>
                <a:gd name="T110" fmla="*/ 1540 w 1552"/>
                <a:gd name="T111" fmla="*/ 236 h 587"/>
                <a:gd name="T112" fmla="*/ 1510 w 1552"/>
                <a:gd name="T113" fmla="*/ 39 h 587"/>
                <a:gd name="T114" fmla="*/ 1412 w 1552"/>
                <a:gd name="T115" fmla="*/ 402 h 587"/>
                <a:gd name="T116" fmla="*/ 1382 w 1552"/>
                <a:gd name="T117" fmla="*/ 530 h 587"/>
                <a:gd name="T118" fmla="*/ 1274 w 1552"/>
                <a:gd name="T119" fmla="*/ 490 h 587"/>
                <a:gd name="T120" fmla="*/ 1268 w 1552"/>
                <a:gd name="T121" fmla="*/ 377 h 587"/>
                <a:gd name="T122" fmla="*/ 1377 w 1552"/>
                <a:gd name="T123" fmla="*/ 337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noFill/>
            <a:ln w="0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369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370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371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  <a:gd name="T42" fmla="*/ 0 w 57"/>
                <a:gd name="T43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372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79 h 587"/>
                <a:gd name="T34" fmla="*/ 954 w 1552"/>
                <a:gd name="T35" fmla="*/ 298 h 587"/>
                <a:gd name="T36" fmla="*/ 958 w 1552"/>
                <a:gd name="T37" fmla="*/ 429 h 587"/>
                <a:gd name="T38" fmla="*/ 968 w 1552"/>
                <a:gd name="T39" fmla="*/ 519 h 587"/>
                <a:gd name="T40" fmla="*/ 1039 w 1552"/>
                <a:gd name="T41" fmla="*/ 537 h 587"/>
                <a:gd name="T42" fmla="*/ 1038 w 1552"/>
                <a:gd name="T43" fmla="*/ 445 h 587"/>
                <a:gd name="T44" fmla="*/ 1037 w 1552"/>
                <a:gd name="T45" fmla="*/ 249 h 587"/>
                <a:gd name="T46" fmla="*/ 994 w 1552"/>
                <a:gd name="T47" fmla="*/ 48 h 587"/>
                <a:gd name="T48" fmla="*/ 936 w 1552"/>
                <a:gd name="T49" fmla="*/ 39 h 587"/>
                <a:gd name="T50" fmla="*/ 833 w 1552"/>
                <a:gd name="T51" fmla="*/ 192 h 587"/>
                <a:gd name="T52" fmla="*/ 782 w 1552"/>
                <a:gd name="T53" fmla="*/ 196 h 587"/>
                <a:gd name="T54" fmla="*/ 133 w 1552"/>
                <a:gd name="T55" fmla="*/ 253 h 587"/>
                <a:gd name="T56" fmla="*/ 9 w 1552"/>
                <a:gd name="T57" fmla="*/ 335 h 587"/>
                <a:gd name="T58" fmla="*/ 5 w 1552"/>
                <a:gd name="T59" fmla="*/ 482 h 587"/>
                <a:gd name="T60" fmla="*/ 42 w 1552"/>
                <a:gd name="T61" fmla="*/ 574 h 587"/>
                <a:gd name="T62" fmla="*/ 211 w 1552"/>
                <a:gd name="T63" fmla="*/ 574 h 587"/>
                <a:gd name="T64" fmla="*/ 244 w 1552"/>
                <a:gd name="T65" fmla="*/ 530 h 587"/>
                <a:gd name="T66" fmla="*/ 118 w 1552"/>
                <a:gd name="T67" fmla="*/ 539 h 587"/>
                <a:gd name="T68" fmla="*/ 76 w 1552"/>
                <a:gd name="T69" fmla="*/ 485 h 587"/>
                <a:gd name="T70" fmla="*/ 89 w 1552"/>
                <a:gd name="T71" fmla="*/ 324 h 587"/>
                <a:gd name="T72" fmla="*/ 166 w 1552"/>
                <a:gd name="T73" fmla="*/ 286 h 587"/>
                <a:gd name="T74" fmla="*/ 213 w 1552"/>
                <a:gd name="T75" fmla="*/ 274 h 587"/>
                <a:gd name="T76" fmla="*/ 768 w 1552"/>
                <a:gd name="T77" fmla="*/ 314 h 587"/>
                <a:gd name="T78" fmla="*/ 728 w 1552"/>
                <a:gd name="T79" fmla="*/ 529 h 587"/>
                <a:gd name="T80" fmla="*/ 783 w 1552"/>
                <a:gd name="T81" fmla="*/ 577 h 587"/>
                <a:gd name="T82" fmla="*/ 806 w 1552"/>
                <a:gd name="T83" fmla="*/ 533 h 587"/>
                <a:gd name="T84" fmla="*/ 815 w 1552"/>
                <a:gd name="T85" fmla="*/ 451 h 587"/>
                <a:gd name="T86" fmla="*/ 825 w 1552"/>
                <a:gd name="T87" fmla="*/ 293 h 587"/>
                <a:gd name="T88" fmla="*/ 1476 w 1552"/>
                <a:gd name="T89" fmla="*/ 42 h 587"/>
                <a:gd name="T90" fmla="*/ 1482 w 1552"/>
                <a:gd name="T91" fmla="*/ 355 h 587"/>
                <a:gd name="T92" fmla="*/ 1416 w 1552"/>
                <a:gd name="T93" fmla="*/ 305 h 587"/>
                <a:gd name="T94" fmla="*/ 1352 w 1552"/>
                <a:gd name="T95" fmla="*/ 293 h 587"/>
                <a:gd name="T96" fmla="*/ 1204 w 1552"/>
                <a:gd name="T97" fmla="*/ 341 h 587"/>
                <a:gd name="T98" fmla="*/ 1187 w 1552"/>
                <a:gd name="T99" fmla="*/ 483 h 587"/>
                <a:gd name="T100" fmla="*/ 1237 w 1552"/>
                <a:gd name="T101" fmla="*/ 540 h 587"/>
                <a:gd name="T102" fmla="*/ 1399 w 1552"/>
                <a:gd name="T103" fmla="*/ 576 h 587"/>
                <a:gd name="T104" fmla="*/ 1461 w 1552"/>
                <a:gd name="T105" fmla="*/ 542 h 587"/>
                <a:gd name="T106" fmla="*/ 1536 w 1552"/>
                <a:gd name="T107" fmla="*/ 573 h 587"/>
                <a:gd name="T108" fmla="*/ 1533 w 1552"/>
                <a:gd name="T109" fmla="*/ 496 h 587"/>
                <a:gd name="T110" fmla="*/ 1537 w 1552"/>
                <a:gd name="T111" fmla="*/ 196 h 587"/>
                <a:gd name="T112" fmla="*/ 1503 w 1552"/>
                <a:gd name="T113" fmla="*/ 37 h 587"/>
                <a:gd name="T114" fmla="*/ 1416 w 1552"/>
                <a:gd name="T115" fmla="*/ 408 h 587"/>
                <a:gd name="T116" fmla="*/ 1369 w 1552"/>
                <a:gd name="T117" fmla="*/ 535 h 587"/>
                <a:gd name="T118" fmla="*/ 1274 w 1552"/>
                <a:gd name="T119" fmla="*/ 490 h 587"/>
                <a:gd name="T120" fmla="*/ 1276 w 1552"/>
                <a:gd name="T121" fmla="*/ 365 h 587"/>
                <a:gd name="T122" fmla="*/ 1385 w 1552"/>
                <a:gd name="T123" fmla="*/ 34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373"/>
            <p:cNvSpPr>
              <a:spLocks/>
            </p:cNvSpPr>
            <p:nvPr/>
          </p:nvSpPr>
          <p:spPr bwMode="auto">
            <a:xfrm>
              <a:off x="6526" y="2285"/>
              <a:ext cx="299" cy="549"/>
            </a:xfrm>
            <a:custGeom>
              <a:avLst/>
              <a:gdLst>
                <a:gd name="T0" fmla="*/ 97 w 299"/>
                <a:gd name="T1" fmla="*/ 84 h 549"/>
                <a:gd name="T2" fmla="*/ 114 w 299"/>
                <a:gd name="T3" fmla="*/ 197 h 549"/>
                <a:gd name="T4" fmla="*/ 125 w 299"/>
                <a:gd name="T5" fmla="*/ 241 h 549"/>
                <a:gd name="T6" fmla="*/ 118 w 299"/>
                <a:gd name="T7" fmla="*/ 280 h 549"/>
                <a:gd name="T8" fmla="*/ 122 w 299"/>
                <a:gd name="T9" fmla="*/ 304 h 549"/>
                <a:gd name="T10" fmla="*/ 196 w 299"/>
                <a:gd name="T11" fmla="*/ 301 h 549"/>
                <a:gd name="T12" fmla="*/ 243 w 299"/>
                <a:gd name="T13" fmla="*/ 310 h 549"/>
                <a:gd name="T14" fmla="*/ 272 w 299"/>
                <a:gd name="T15" fmla="*/ 325 h 549"/>
                <a:gd name="T16" fmla="*/ 292 w 299"/>
                <a:gd name="T17" fmla="*/ 355 h 549"/>
                <a:gd name="T18" fmla="*/ 297 w 299"/>
                <a:gd name="T19" fmla="*/ 421 h 549"/>
                <a:gd name="T20" fmla="*/ 296 w 299"/>
                <a:gd name="T21" fmla="*/ 489 h 549"/>
                <a:gd name="T22" fmla="*/ 286 w 299"/>
                <a:gd name="T23" fmla="*/ 519 h 549"/>
                <a:gd name="T24" fmla="*/ 276 w 299"/>
                <a:gd name="T25" fmla="*/ 535 h 549"/>
                <a:gd name="T26" fmla="*/ 258 w 299"/>
                <a:gd name="T27" fmla="*/ 546 h 549"/>
                <a:gd name="T28" fmla="*/ 236 w 299"/>
                <a:gd name="T29" fmla="*/ 547 h 549"/>
                <a:gd name="T30" fmla="*/ 223 w 299"/>
                <a:gd name="T31" fmla="*/ 540 h 549"/>
                <a:gd name="T32" fmla="*/ 218 w 299"/>
                <a:gd name="T33" fmla="*/ 523 h 549"/>
                <a:gd name="T34" fmla="*/ 225 w 299"/>
                <a:gd name="T35" fmla="*/ 493 h 549"/>
                <a:gd name="T36" fmla="*/ 232 w 299"/>
                <a:gd name="T37" fmla="*/ 446 h 549"/>
                <a:gd name="T38" fmla="*/ 229 w 299"/>
                <a:gd name="T39" fmla="*/ 398 h 549"/>
                <a:gd name="T40" fmla="*/ 216 w 299"/>
                <a:gd name="T41" fmla="*/ 372 h 549"/>
                <a:gd name="T42" fmla="*/ 198 w 299"/>
                <a:gd name="T43" fmla="*/ 352 h 549"/>
                <a:gd name="T44" fmla="*/ 159 w 299"/>
                <a:gd name="T45" fmla="*/ 340 h 549"/>
                <a:gd name="T46" fmla="*/ 118 w 299"/>
                <a:gd name="T47" fmla="*/ 341 h 549"/>
                <a:gd name="T48" fmla="*/ 108 w 299"/>
                <a:gd name="T49" fmla="*/ 355 h 549"/>
                <a:gd name="T50" fmla="*/ 97 w 299"/>
                <a:gd name="T51" fmla="*/ 388 h 549"/>
                <a:gd name="T52" fmla="*/ 94 w 299"/>
                <a:gd name="T53" fmla="*/ 445 h 549"/>
                <a:gd name="T54" fmla="*/ 94 w 299"/>
                <a:gd name="T55" fmla="*/ 492 h 549"/>
                <a:gd name="T56" fmla="*/ 90 w 299"/>
                <a:gd name="T57" fmla="*/ 519 h 549"/>
                <a:gd name="T58" fmla="*/ 77 w 299"/>
                <a:gd name="T59" fmla="*/ 542 h 549"/>
                <a:gd name="T60" fmla="*/ 61 w 299"/>
                <a:gd name="T61" fmla="*/ 549 h 549"/>
                <a:gd name="T62" fmla="*/ 38 w 299"/>
                <a:gd name="T63" fmla="*/ 544 h 549"/>
                <a:gd name="T64" fmla="*/ 23 w 299"/>
                <a:gd name="T65" fmla="*/ 532 h 549"/>
                <a:gd name="T66" fmla="*/ 19 w 299"/>
                <a:gd name="T67" fmla="*/ 503 h 549"/>
                <a:gd name="T68" fmla="*/ 26 w 299"/>
                <a:gd name="T69" fmla="*/ 436 h 549"/>
                <a:gd name="T70" fmla="*/ 21 w 299"/>
                <a:gd name="T71" fmla="*/ 395 h 549"/>
                <a:gd name="T72" fmla="*/ 7 w 299"/>
                <a:gd name="T73" fmla="*/ 370 h 549"/>
                <a:gd name="T74" fmla="*/ 0 w 299"/>
                <a:gd name="T75" fmla="*/ 358 h 549"/>
                <a:gd name="T76" fmla="*/ 16 w 299"/>
                <a:gd name="T77" fmla="*/ 344 h 549"/>
                <a:gd name="T78" fmla="*/ 37 w 299"/>
                <a:gd name="T79" fmla="*/ 331 h 549"/>
                <a:gd name="T80" fmla="*/ 43 w 299"/>
                <a:gd name="T81" fmla="*/ 320 h 549"/>
                <a:gd name="T82" fmla="*/ 51 w 299"/>
                <a:gd name="T83" fmla="*/ 305 h 549"/>
                <a:gd name="T84" fmla="*/ 67 w 299"/>
                <a:gd name="T85" fmla="*/ 276 h 549"/>
                <a:gd name="T86" fmla="*/ 71 w 299"/>
                <a:gd name="T87" fmla="*/ 241 h 549"/>
                <a:gd name="T88" fmla="*/ 65 w 299"/>
                <a:gd name="T89" fmla="*/ 224 h 549"/>
                <a:gd name="T90" fmla="*/ 57 w 299"/>
                <a:gd name="T91" fmla="*/ 190 h 549"/>
                <a:gd name="T92" fmla="*/ 57 w 299"/>
                <a:gd name="T93" fmla="*/ 146 h 549"/>
                <a:gd name="T94" fmla="*/ 50 w 299"/>
                <a:gd name="T95" fmla="*/ 121 h 549"/>
                <a:gd name="T96" fmla="*/ 37 w 299"/>
                <a:gd name="T97" fmla="*/ 74 h 549"/>
                <a:gd name="T98" fmla="*/ 33 w 299"/>
                <a:gd name="T99" fmla="*/ 32 h 549"/>
                <a:gd name="T100" fmla="*/ 41 w 299"/>
                <a:gd name="T101" fmla="*/ 11 h 549"/>
                <a:gd name="T102" fmla="*/ 54 w 299"/>
                <a:gd name="T103" fmla="*/ 0 h 549"/>
                <a:gd name="T104" fmla="*/ 77 w 299"/>
                <a:gd name="T105" fmla="*/ 15 h 549"/>
                <a:gd name="T106" fmla="*/ 87 w 299"/>
                <a:gd name="T107" fmla="*/ 44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9" h="549">
                  <a:moveTo>
                    <a:pt x="91" y="62"/>
                  </a:moveTo>
                  <a:lnTo>
                    <a:pt x="91" y="62"/>
                  </a:lnTo>
                  <a:lnTo>
                    <a:pt x="97" y="84"/>
                  </a:lnTo>
                  <a:lnTo>
                    <a:pt x="102" y="105"/>
                  </a:lnTo>
                  <a:lnTo>
                    <a:pt x="108" y="152"/>
                  </a:lnTo>
                  <a:lnTo>
                    <a:pt x="114" y="197"/>
                  </a:lnTo>
                  <a:lnTo>
                    <a:pt x="118" y="219"/>
                  </a:lnTo>
                  <a:lnTo>
                    <a:pt x="125" y="241"/>
                  </a:lnTo>
                  <a:lnTo>
                    <a:pt x="125" y="241"/>
                  </a:lnTo>
                  <a:lnTo>
                    <a:pt x="121" y="256"/>
                  </a:lnTo>
                  <a:lnTo>
                    <a:pt x="118" y="273"/>
                  </a:lnTo>
                  <a:lnTo>
                    <a:pt x="118" y="280"/>
                  </a:lnTo>
                  <a:lnTo>
                    <a:pt x="118" y="288"/>
                  </a:lnTo>
                  <a:lnTo>
                    <a:pt x="120" y="296"/>
                  </a:lnTo>
                  <a:lnTo>
                    <a:pt x="122" y="304"/>
                  </a:lnTo>
                  <a:lnTo>
                    <a:pt x="122" y="304"/>
                  </a:lnTo>
                  <a:lnTo>
                    <a:pt x="171" y="301"/>
                  </a:lnTo>
                  <a:lnTo>
                    <a:pt x="196" y="301"/>
                  </a:lnTo>
                  <a:lnTo>
                    <a:pt x="221" y="304"/>
                  </a:lnTo>
                  <a:lnTo>
                    <a:pt x="232" y="305"/>
                  </a:lnTo>
                  <a:lnTo>
                    <a:pt x="243" y="310"/>
                  </a:lnTo>
                  <a:lnTo>
                    <a:pt x="253" y="314"/>
                  </a:lnTo>
                  <a:lnTo>
                    <a:pt x="263" y="318"/>
                  </a:lnTo>
                  <a:lnTo>
                    <a:pt x="272" y="325"/>
                  </a:lnTo>
                  <a:lnTo>
                    <a:pt x="279" y="334"/>
                  </a:lnTo>
                  <a:lnTo>
                    <a:pt x="286" y="344"/>
                  </a:lnTo>
                  <a:lnTo>
                    <a:pt x="292" y="355"/>
                  </a:lnTo>
                  <a:lnTo>
                    <a:pt x="292" y="355"/>
                  </a:lnTo>
                  <a:lnTo>
                    <a:pt x="296" y="398"/>
                  </a:lnTo>
                  <a:lnTo>
                    <a:pt x="297" y="421"/>
                  </a:lnTo>
                  <a:lnTo>
                    <a:pt x="299" y="445"/>
                  </a:lnTo>
                  <a:lnTo>
                    <a:pt x="299" y="468"/>
                  </a:lnTo>
                  <a:lnTo>
                    <a:pt x="296" y="489"/>
                  </a:lnTo>
                  <a:lnTo>
                    <a:pt x="293" y="499"/>
                  </a:lnTo>
                  <a:lnTo>
                    <a:pt x="290" y="510"/>
                  </a:lnTo>
                  <a:lnTo>
                    <a:pt x="286" y="519"/>
                  </a:lnTo>
                  <a:lnTo>
                    <a:pt x="280" y="529"/>
                  </a:lnTo>
                  <a:lnTo>
                    <a:pt x="280" y="529"/>
                  </a:lnTo>
                  <a:lnTo>
                    <a:pt x="276" y="535"/>
                  </a:lnTo>
                  <a:lnTo>
                    <a:pt x="270" y="539"/>
                  </a:lnTo>
                  <a:lnTo>
                    <a:pt x="263" y="543"/>
                  </a:lnTo>
                  <a:lnTo>
                    <a:pt x="258" y="546"/>
                  </a:lnTo>
                  <a:lnTo>
                    <a:pt x="250" y="547"/>
                  </a:lnTo>
                  <a:lnTo>
                    <a:pt x="243" y="547"/>
                  </a:lnTo>
                  <a:lnTo>
                    <a:pt x="236" y="547"/>
                  </a:lnTo>
                  <a:lnTo>
                    <a:pt x="229" y="546"/>
                  </a:lnTo>
                  <a:lnTo>
                    <a:pt x="229" y="546"/>
                  </a:lnTo>
                  <a:lnTo>
                    <a:pt x="223" y="540"/>
                  </a:lnTo>
                  <a:lnTo>
                    <a:pt x="221" y="536"/>
                  </a:lnTo>
                  <a:lnTo>
                    <a:pt x="219" y="530"/>
                  </a:lnTo>
                  <a:lnTo>
                    <a:pt x="218" y="523"/>
                  </a:lnTo>
                  <a:lnTo>
                    <a:pt x="219" y="512"/>
                  </a:lnTo>
                  <a:lnTo>
                    <a:pt x="221" y="499"/>
                  </a:lnTo>
                  <a:lnTo>
                    <a:pt x="225" y="493"/>
                  </a:lnTo>
                  <a:lnTo>
                    <a:pt x="225" y="493"/>
                  </a:lnTo>
                  <a:lnTo>
                    <a:pt x="229" y="463"/>
                  </a:lnTo>
                  <a:lnTo>
                    <a:pt x="232" y="446"/>
                  </a:lnTo>
                  <a:lnTo>
                    <a:pt x="232" y="431"/>
                  </a:lnTo>
                  <a:lnTo>
                    <a:pt x="232" y="414"/>
                  </a:lnTo>
                  <a:lnTo>
                    <a:pt x="229" y="398"/>
                  </a:lnTo>
                  <a:lnTo>
                    <a:pt x="223" y="385"/>
                  </a:lnTo>
                  <a:lnTo>
                    <a:pt x="221" y="378"/>
                  </a:lnTo>
                  <a:lnTo>
                    <a:pt x="216" y="372"/>
                  </a:lnTo>
                  <a:lnTo>
                    <a:pt x="216" y="372"/>
                  </a:lnTo>
                  <a:lnTo>
                    <a:pt x="208" y="361"/>
                  </a:lnTo>
                  <a:lnTo>
                    <a:pt x="198" y="352"/>
                  </a:lnTo>
                  <a:lnTo>
                    <a:pt x="186" y="347"/>
                  </a:lnTo>
                  <a:lnTo>
                    <a:pt x="174" y="342"/>
                  </a:lnTo>
                  <a:lnTo>
                    <a:pt x="159" y="340"/>
                  </a:lnTo>
                  <a:lnTo>
                    <a:pt x="147" y="338"/>
                  </a:lnTo>
                  <a:lnTo>
                    <a:pt x="132" y="340"/>
                  </a:lnTo>
                  <a:lnTo>
                    <a:pt x="118" y="341"/>
                  </a:lnTo>
                  <a:lnTo>
                    <a:pt x="118" y="341"/>
                  </a:lnTo>
                  <a:lnTo>
                    <a:pt x="112" y="348"/>
                  </a:lnTo>
                  <a:lnTo>
                    <a:pt x="108" y="355"/>
                  </a:lnTo>
                  <a:lnTo>
                    <a:pt x="104" y="362"/>
                  </a:lnTo>
                  <a:lnTo>
                    <a:pt x="101" y="371"/>
                  </a:lnTo>
                  <a:lnTo>
                    <a:pt x="97" y="388"/>
                  </a:lnTo>
                  <a:lnTo>
                    <a:pt x="94" y="405"/>
                  </a:lnTo>
                  <a:lnTo>
                    <a:pt x="94" y="425"/>
                  </a:lnTo>
                  <a:lnTo>
                    <a:pt x="94" y="445"/>
                  </a:lnTo>
                  <a:lnTo>
                    <a:pt x="94" y="483"/>
                  </a:lnTo>
                  <a:lnTo>
                    <a:pt x="94" y="483"/>
                  </a:lnTo>
                  <a:lnTo>
                    <a:pt x="94" y="492"/>
                  </a:lnTo>
                  <a:lnTo>
                    <a:pt x="94" y="500"/>
                  </a:lnTo>
                  <a:lnTo>
                    <a:pt x="93" y="510"/>
                  </a:lnTo>
                  <a:lnTo>
                    <a:pt x="90" y="519"/>
                  </a:lnTo>
                  <a:lnTo>
                    <a:pt x="87" y="527"/>
                  </a:lnTo>
                  <a:lnTo>
                    <a:pt x="83" y="535"/>
                  </a:lnTo>
                  <a:lnTo>
                    <a:pt x="77" y="542"/>
                  </a:lnTo>
                  <a:lnTo>
                    <a:pt x="70" y="547"/>
                  </a:lnTo>
                  <a:lnTo>
                    <a:pt x="70" y="547"/>
                  </a:lnTo>
                  <a:lnTo>
                    <a:pt x="61" y="549"/>
                  </a:lnTo>
                  <a:lnTo>
                    <a:pt x="53" y="547"/>
                  </a:lnTo>
                  <a:lnTo>
                    <a:pt x="46" y="547"/>
                  </a:lnTo>
                  <a:lnTo>
                    <a:pt x="38" y="544"/>
                  </a:lnTo>
                  <a:lnTo>
                    <a:pt x="33" y="542"/>
                  </a:lnTo>
                  <a:lnTo>
                    <a:pt x="27" y="537"/>
                  </a:lnTo>
                  <a:lnTo>
                    <a:pt x="23" y="532"/>
                  </a:lnTo>
                  <a:lnTo>
                    <a:pt x="19" y="525"/>
                  </a:lnTo>
                  <a:lnTo>
                    <a:pt x="19" y="525"/>
                  </a:lnTo>
                  <a:lnTo>
                    <a:pt x="19" y="503"/>
                  </a:lnTo>
                  <a:lnTo>
                    <a:pt x="20" y="482"/>
                  </a:lnTo>
                  <a:lnTo>
                    <a:pt x="23" y="459"/>
                  </a:lnTo>
                  <a:lnTo>
                    <a:pt x="26" y="436"/>
                  </a:lnTo>
                  <a:lnTo>
                    <a:pt x="26" y="415"/>
                  </a:lnTo>
                  <a:lnTo>
                    <a:pt x="24" y="405"/>
                  </a:lnTo>
                  <a:lnTo>
                    <a:pt x="21" y="395"/>
                  </a:lnTo>
                  <a:lnTo>
                    <a:pt x="19" y="387"/>
                  </a:lnTo>
                  <a:lnTo>
                    <a:pt x="14" y="377"/>
                  </a:lnTo>
                  <a:lnTo>
                    <a:pt x="7" y="370"/>
                  </a:lnTo>
                  <a:lnTo>
                    <a:pt x="0" y="362"/>
                  </a:lnTo>
                  <a:lnTo>
                    <a:pt x="0" y="362"/>
                  </a:lnTo>
                  <a:lnTo>
                    <a:pt x="0" y="358"/>
                  </a:lnTo>
                  <a:lnTo>
                    <a:pt x="3" y="354"/>
                  </a:lnTo>
                  <a:lnTo>
                    <a:pt x="7" y="348"/>
                  </a:lnTo>
                  <a:lnTo>
                    <a:pt x="16" y="344"/>
                  </a:lnTo>
                  <a:lnTo>
                    <a:pt x="23" y="340"/>
                  </a:lnTo>
                  <a:lnTo>
                    <a:pt x="31" y="337"/>
                  </a:lnTo>
                  <a:lnTo>
                    <a:pt x="37" y="331"/>
                  </a:lnTo>
                  <a:lnTo>
                    <a:pt x="40" y="328"/>
                  </a:lnTo>
                  <a:lnTo>
                    <a:pt x="41" y="324"/>
                  </a:lnTo>
                  <a:lnTo>
                    <a:pt x="43" y="320"/>
                  </a:lnTo>
                  <a:lnTo>
                    <a:pt x="43" y="314"/>
                  </a:lnTo>
                  <a:lnTo>
                    <a:pt x="43" y="314"/>
                  </a:lnTo>
                  <a:lnTo>
                    <a:pt x="51" y="305"/>
                  </a:lnTo>
                  <a:lnTo>
                    <a:pt x="58" y="296"/>
                  </a:lnTo>
                  <a:lnTo>
                    <a:pt x="64" y="286"/>
                  </a:lnTo>
                  <a:lnTo>
                    <a:pt x="67" y="276"/>
                  </a:lnTo>
                  <a:lnTo>
                    <a:pt x="70" y="264"/>
                  </a:lnTo>
                  <a:lnTo>
                    <a:pt x="71" y="253"/>
                  </a:lnTo>
                  <a:lnTo>
                    <a:pt x="71" y="241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5" y="224"/>
                  </a:lnTo>
                  <a:lnTo>
                    <a:pt x="63" y="219"/>
                  </a:lnTo>
                  <a:lnTo>
                    <a:pt x="58" y="205"/>
                  </a:lnTo>
                  <a:lnTo>
                    <a:pt x="57" y="190"/>
                  </a:lnTo>
                  <a:lnTo>
                    <a:pt x="57" y="176"/>
                  </a:lnTo>
                  <a:lnTo>
                    <a:pt x="58" y="160"/>
                  </a:lnTo>
                  <a:lnTo>
                    <a:pt x="57" y="146"/>
                  </a:lnTo>
                  <a:lnTo>
                    <a:pt x="56" y="133"/>
                  </a:lnTo>
                  <a:lnTo>
                    <a:pt x="53" y="126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41" y="91"/>
                  </a:lnTo>
                  <a:lnTo>
                    <a:pt x="37" y="74"/>
                  </a:lnTo>
                  <a:lnTo>
                    <a:pt x="33" y="57"/>
                  </a:lnTo>
                  <a:lnTo>
                    <a:pt x="33" y="41"/>
                  </a:lnTo>
                  <a:lnTo>
                    <a:pt x="33" y="32"/>
                  </a:lnTo>
                  <a:lnTo>
                    <a:pt x="36" y="25"/>
                  </a:lnTo>
                  <a:lnTo>
                    <a:pt x="37" y="18"/>
                  </a:lnTo>
                  <a:lnTo>
                    <a:pt x="41" y="11"/>
                  </a:lnTo>
                  <a:lnTo>
                    <a:pt x="47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3"/>
                  </a:lnTo>
                  <a:lnTo>
                    <a:pt x="71" y="8"/>
                  </a:lnTo>
                  <a:lnTo>
                    <a:pt x="77" y="15"/>
                  </a:lnTo>
                  <a:lnTo>
                    <a:pt x="81" y="24"/>
                  </a:lnTo>
                  <a:lnTo>
                    <a:pt x="84" y="34"/>
                  </a:lnTo>
                  <a:lnTo>
                    <a:pt x="87" y="44"/>
                  </a:lnTo>
                  <a:lnTo>
                    <a:pt x="91" y="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374"/>
            <p:cNvSpPr>
              <a:spLocks/>
            </p:cNvSpPr>
            <p:nvPr/>
          </p:nvSpPr>
          <p:spPr bwMode="auto">
            <a:xfrm>
              <a:off x="7126" y="2317"/>
              <a:ext cx="131" cy="511"/>
            </a:xfrm>
            <a:custGeom>
              <a:avLst/>
              <a:gdLst>
                <a:gd name="T0" fmla="*/ 15 w 131"/>
                <a:gd name="T1" fmla="*/ 7 h 511"/>
                <a:gd name="T2" fmla="*/ 3 w 131"/>
                <a:gd name="T3" fmla="*/ 17 h 511"/>
                <a:gd name="T4" fmla="*/ 0 w 131"/>
                <a:gd name="T5" fmla="*/ 32 h 511"/>
                <a:gd name="T6" fmla="*/ 2 w 131"/>
                <a:gd name="T7" fmla="*/ 63 h 511"/>
                <a:gd name="T8" fmla="*/ 10 w 131"/>
                <a:gd name="T9" fmla="*/ 77 h 511"/>
                <a:gd name="T10" fmla="*/ 22 w 131"/>
                <a:gd name="T11" fmla="*/ 110 h 511"/>
                <a:gd name="T12" fmla="*/ 27 w 131"/>
                <a:gd name="T13" fmla="*/ 143 h 511"/>
                <a:gd name="T14" fmla="*/ 32 w 131"/>
                <a:gd name="T15" fmla="*/ 195 h 511"/>
                <a:gd name="T16" fmla="*/ 36 w 131"/>
                <a:gd name="T17" fmla="*/ 301 h 511"/>
                <a:gd name="T18" fmla="*/ 39 w 131"/>
                <a:gd name="T19" fmla="*/ 335 h 511"/>
                <a:gd name="T20" fmla="*/ 46 w 131"/>
                <a:gd name="T21" fmla="*/ 352 h 511"/>
                <a:gd name="T22" fmla="*/ 43 w 131"/>
                <a:gd name="T23" fmla="*/ 369 h 511"/>
                <a:gd name="T24" fmla="*/ 39 w 131"/>
                <a:gd name="T25" fmla="*/ 387 h 511"/>
                <a:gd name="T26" fmla="*/ 39 w 131"/>
                <a:gd name="T27" fmla="*/ 407 h 511"/>
                <a:gd name="T28" fmla="*/ 43 w 131"/>
                <a:gd name="T29" fmla="*/ 416 h 511"/>
                <a:gd name="T30" fmla="*/ 46 w 131"/>
                <a:gd name="T31" fmla="*/ 436 h 511"/>
                <a:gd name="T32" fmla="*/ 46 w 131"/>
                <a:gd name="T33" fmla="*/ 467 h 511"/>
                <a:gd name="T34" fmla="*/ 47 w 131"/>
                <a:gd name="T35" fmla="*/ 487 h 511"/>
                <a:gd name="T36" fmla="*/ 53 w 131"/>
                <a:gd name="T37" fmla="*/ 494 h 511"/>
                <a:gd name="T38" fmla="*/ 66 w 131"/>
                <a:gd name="T39" fmla="*/ 505 h 511"/>
                <a:gd name="T40" fmla="*/ 83 w 131"/>
                <a:gd name="T41" fmla="*/ 511 h 511"/>
                <a:gd name="T42" fmla="*/ 103 w 131"/>
                <a:gd name="T43" fmla="*/ 511 h 511"/>
                <a:gd name="T44" fmla="*/ 113 w 131"/>
                <a:gd name="T45" fmla="*/ 508 h 511"/>
                <a:gd name="T46" fmla="*/ 124 w 131"/>
                <a:gd name="T47" fmla="*/ 501 h 511"/>
                <a:gd name="T48" fmla="*/ 130 w 131"/>
                <a:gd name="T49" fmla="*/ 491 h 511"/>
                <a:gd name="T50" fmla="*/ 131 w 131"/>
                <a:gd name="T51" fmla="*/ 480 h 511"/>
                <a:gd name="T52" fmla="*/ 126 w 131"/>
                <a:gd name="T53" fmla="*/ 453 h 511"/>
                <a:gd name="T54" fmla="*/ 118 w 131"/>
                <a:gd name="T55" fmla="*/ 426 h 511"/>
                <a:gd name="T56" fmla="*/ 117 w 131"/>
                <a:gd name="T57" fmla="*/ 413 h 511"/>
                <a:gd name="T58" fmla="*/ 116 w 131"/>
                <a:gd name="T59" fmla="*/ 384 h 511"/>
                <a:gd name="T60" fmla="*/ 121 w 131"/>
                <a:gd name="T61" fmla="*/ 299 h 511"/>
                <a:gd name="T62" fmla="*/ 123 w 131"/>
                <a:gd name="T63" fmla="*/ 256 h 511"/>
                <a:gd name="T64" fmla="*/ 118 w 131"/>
                <a:gd name="T65" fmla="*/ 229 h 511"/>
                <a:gd name="T66" fmla="*/ 110 w 131"/>
                <a:gd name="T67" fmla="*/ 204 h 511"/>
                <a:gd name="T68" fmla="*/ 104 w 131"/>
                <a:gd name="T69" fmla="*/ 191 h 511"/>
                <a:gd name="T70" fmla="*/ 97 w 131"/>
                <a:gd name="T71" fmla="*/ 145 h 511"/>
                <a:gd name="T72" fmla="*/ 80 w 131"/>
                <a:gd name="T73" fmla="*/ 81 h 511"/>
                <a:gd name="T74" fmla="*/ 73 w 131"/>
                <a:gd name="T75" fmla="*/ 37 h 511"/>
                <a:gd name="T76" fmla="*/ 73 w 131"/>
                <a:gd name="T77" fmla="*/ 16 h 511"/>
                <a:gd name="T78" fmla="*/ 62 w 131"/>
                <a:gd name="T79" fmla="*/ 3 h 511"/>
                <a:gd name="T80" fmla="*/ 47 w 131"/>
                <a:gd name="T81" fmla="*/ 0 h 511"/>
                <a:gd name="T82" fmla="*/ 30 w 131"/>
                <a:gd name="T83" fmla="*/ 2 h 511"/>
                <a:gd name="T84" fmla="*/ 15 w 131"/>
                <a:gd name="T85" fmla="*/ 7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" h="511">
                  <a:moveTo>
                    <a:pt x="15" y="7"/>
                  </a:moveTo>
                  <a:lnTo>
                    <a:pt x="15" y="7"/>
                  </a:lnTo>
                  <a:lnTo>
                    <a:pt x="9" y="12"/>
                  </a:lnTo>
                  <a:lnTo>
                    <a:pt x="3" y="17"/>
                  </a:lnTo>
                  <a:lnTo>
                    <a:pt x="2" y="23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10" y="77"/>
                  </a:lnTo>
                  <a:lnTo>
                    <a:pt x="16" y="93"/>
                  </a:lnTo>
                  <a:lnTo>
                    <a:pt x="22" y="110"/>
                  </a:lnTo>
                  <a:lnTo>
                    <a:pt x="25" y="126"/>
                  </a:lnTo>
                  <a:lnTo>
                    <a:pt x="27" y="143"/>
                  </a:lnTo>
                  <a:lnTo>
                    <a:pt x="30" y="160"/>
                  </a:lnTo>
                  <a:lnTo>
                    <a:pt x="32" y="195"/>
                  </a:lnTo>
                  <a:lnTo>
                    <a:pt x="33" y="266"/>
                  </a:lnTo>
                  <a:lnTo>
                    <a:pt x="36" y="301"/>
                  </a:lnTo>
                  <a:lnTo>
                    <a:pt x="39" y="335"/>
                  </a:lnTo>
                  <a:lnTo>
                    <a:pt x="39" y="335"/>
                  </a:lnTo>
                  <a:lnTo>
                    <a:pt x="44" y="343"/>
                  </a:lnTo>
                  <a:lnTo>
                    <a:pt x="46" y="352"/>
                  </a:lnTo>
                  <a:lnTo>
                    <a:pt x="46" y="360"/>
                  </a:lnTo>
                  <a:lnTo>
                    <a:pt x="43" y="369"/>
                  </a:lnTo>
                  <a:lnTo>
                    <a:pt x="40" y="377"/>
                  </a:lnTo>
                  <a:lnTo>
                    <a:pt x="39" y="387"/>
                  </a:lnTo>
                  <a:lnTo>
                    <a:pt x="37" y="39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43" y="416"/>
                  </a:lnTo>
                  <a:lnTo>
                    <a:pt x="44" y="426"/>
                  </a:lnTo>
                  <a:lnTo>
                    <a:pt x="46" y="436"/>
                  </a:lnTo>
                  <a:lnTo>
                    <a:pt x="46" y="446"/>
                  </a:lnTo>
                  <a:lnTo>
                    <a:pt x="46" y="467"/>
                  </a:lnTo>
                  <a:lnTo>
                    <a:pt x="46" y="477"/>
                  </a:lnTo>
                  <a:lnTo>
                    <a:pt x="47" y="487"/>
                  </a:lnTo>
                  <a:lnTo>
                    <a:pt x="47" y="487"/>
                  </a:lnTo>
                  <a:lnTo>
                    <a:pt x="53" y="494"/>
                  </a:lnTo>
                  <a:lnTo>
                    <a:pt x="59" y="501"/>
                  </a:lnTo>
                  <a:lnTo>
                    <a:pt x="66" y="505"/>
                  </a:lnTo>
                  <a:lnTo>
                    <a:pt x="74" y="510"/>
                  </a:lnTo>
                  <a:lnTo>
                    <a:pt x="83" y="511"/>
                  </a:lnTo>
                  <a:lnTo>
                    <a:pt x="93" y="511"/>
                  </a:lnTo>
                  <a:lnTo>
                    <a:pt x="103" y="511"/>
                  </a:lnTo>
                  <a:lnTo>
                    <a:pt x="113" y="508"/>
                  </a:lnTo>
                  <a:lnTo>
                    <a:pt x="113" y="508"/>
                  </a:lnTo>
                  <a:lnTo>
                    <a:pt x="118" y="505"/>
                  </a:lnTo>
                  <a:lnTo>
                    <a:pt x="124" y="501"/>
                  </a:lnTo>
                  <a:lnTo>
                    <a:pt x="127" y="497"/>
                  </a:lnTo>
                  <a:lnTo>
                    <a:pt x="130" y="491"/>
                  </a:lnTo>
                  <a:lnTo>
                    <a:pt x="131" y="485"/>
                  </a:lnTo>
                  <a:lnTo>
                    <a:pt x="131" y="480"/>
                  </a:lnTo>
                  <a:lnTo>
                    <a:pt x="130" y="467"/>
                  </a:lnTo>
                  <a:lnTo>
                    <a:pt x="126" y="453"/>
                  </a:lnTo>
                  <a:lnTo>
                    <a:pt x="123" y="439"/>
                  </a:lnTo>
                  <a:lnTo>
                    <a:pt x="118" y="426"/>
                  </a:lnTo>
                  <a:lnTo>
                    <a:pt x="117" y="413"/>
                  </a:lnTo>
                  <a:lnTo>
                    <a:pt x="117" y="413"/>
                  </a:lnTo>
                  <a:lnTo>
                    <a:pt x="116" y="399"/>
                  </a:lnTo>
                  <a:lnTo>
                    <a:pt x="116" y="384"/>
                  </a:lnTo>
                  <a:lnTo>
                    <a:pt x="117" y="356"/>
                  </a:lnTo>
                  <a:lnTo>
                    <a:pt x="121" y="299"/>
                  </a:lnTo>
                  <a:lnTo>
                    <a:pt x="123" y="271"/>
                  </a:lnTo>
                  <a:lnTo>
                    <a:pt x="123" y="256"/>
                  </a:lnTo>
                  <a:lnTo>
                    <a:pt x="121" y="244"/>
                  </a:lnTo>
                  <a:lnTo>
                    <a:pt x="118" y="229"/>
                  </a:lnTo>
                  <a:lnTo>
                    <a:pt x="116" y="217"/>
                  </a:lnTo>
                  <a:lnTo>
                    <a:pt x="110" y="204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1" y="168"/>
                  </a:lnTo>
                  <a:lnTo>
                    <a:pt x="97" y="145"/>
                  </a:lnTo>
                  <a:lnTo>
                    <a:pt x="86" y="103"/>
                  </a:lnTo>
                  <a:lnTo>
                    <a:pt x="80" y="81"/>
                  </a:lnTo>
                  <a:lnTo>
                    <a:pt x="76" y="60"/>
                  </a:lnTo>
                  <a:lnTo>
                    <a:pt x="73" y="37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67" y="9"/>
                  </a:lnTo>
                  <a:lnTo>
                    <a:pt x="62" y="3"/>
                  </a:lnTo>
                  <a:lnTo>
                    <a:pt x="54" y="2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0" y="2"/>
                  </a:lnTo>
                  <a:lnTo>
                    <a:pt x="22" y="5"/>
                  </a:lnTo>
                  <a:lnTo>
                    <a:pt x="15" y="7"/>
                  </a:lnTo>
                  <a:lnTo>
                    <a:pt x="15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" name="Freeform 375"/>
            <p:cNvSpPr>
              <a:spLocks/>
            </p:cNvSpPr>
            <p:nvPr/>
          </p:nvSpPr>
          <p:spPr bwMode="auto">
            <a:xfrm>
              <a:off x="6983" y="2462"/>
              <a:ext cx="57" cy="35"/>
            </a:xfrm>
            <a:custGeom>
              <a:avLst/>
              <a:gdLst>
                <a:gd name="T0" fmla="*/ 0 w 57"/>
                <a:gd name="T1" fmla="*/ 28 h 35"/>
                <a:gd name="T2" fmla="*/ 0 w 57"/>
                <a:gd name="T3" fmla="*/ 28 h 35"/>
                <a:gd name="T4" fmla="*/ 10 w 57"/>
                <a:gd name="T5" fmla="*/ 30 h 35"/>
                <a:gd name="T6" fmla="*/ 18 w 57"/>
                <a:gd name="T7" fmla="*/ 33 h 35"/>
                <a:gd name="T8" fmla="*/ 28 w 57"/>
                <a:gd name="T9" fmla="*/ 35 h 35"/>
                <a:gd name="T10" fmla="*/ 38 w 57"/>
                <a:gd name="T11" fmla="*/ 32 h 35"/>
                <a:gd name="T12" fmla="*/ 38 w 57"/>
                <a:gd name="T13" fmla="*/ 32 h 35"/>
                <a:gd name="T14" fmla="*/ 45 w 57"/>
                <a:gd name="T15" fmla="*/ 28 h 35"/>
                <a:gd name="T16" fmla="*/ 52 w 57"/>
                <a:gd name="T17" fmla="*/ 19 h 35"/>
                <a:gd name="T18" fmla="*/ 55 w 57"/>
                <a:gd name="T19" fmla="*/ 15 h 35"/>
                <a:gd name="T20" fmla="*/ 57 w 57"/>
                <a:gd name="T21" fmla="*/ 10 h 35"/>
                <a:gd name="T22" fmla="*/ 55 w 57"/>
                <a:gd name="T23" fmla="*/ 5 h 35"/>
                <a:gd name="T24" fmla="*/ 54 w 57"/>
                <a:gd name="T25" fmla="*/ 0 h 35"/>
                <a:gd name="T26" fmla="*/ 54 w 57"/>
                <a:gd name="T27" fmla="*/ 0 h 35"/>
                <a:gd name="T28" fmla="*/ 37 w 57"/>
                <a:gd name="T29" fmla="*/ 2 h 35"/>
                <a:gd name="T30" fmla="*/ 30 w 57"/>
                <a:gd name="T31" fmla="*/ 3 h 35"/>
                <a:gd name="T32" fmla="*/ 21 w 57"/>
                <a:gd name="T33" fmla="*/ 6 h 35"/>
                <a:gd name="T34" fmla="*/ 14 w 57"/>
                <a:gd name="T35" fmla="*/ 9 h 35"/>
                <a:gd name="T36" fmla="*/ 8 w 57"/>
                <a:gd name="T37" fmla="*/ 13 h 35"/>
                <a:gd name="T38" fmla="*/ 4 w 57"/>
                <a:gd name="T39" fmla="*/ 19 h 35"/>
                <a:gd name="T40" fmla="*/ 0 w 57"/>
                <a:gd name="T41" fmla="*/ 28 h 35"/>
                <a:gd name="T42" fmla="*/ 0 w 57"/>
                <a:gd name="T43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5">
                  <a:moveTo>
                    <a:pt x="0" y="28"/>
                  </a:moveTo>
                  <a:lnTo>
                    <a:pt x="0" y="28"/>
                  </a:lnTo>
                  <a:lnTo>
                    <a:pt x="10" y="30"/>
                  </a:lnTo>
                  <a:lnTo>
                    <a:pt x="18" y="33"/>
                  </a:lnTo>
                  <a:lnTo>
                    <a:pt x="28" y="35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5" y="28"/>
                  </a:lnTo>
                  <a:lnTo>
                    <a:pt x="52" y="19"/>
                  </a:lnTo>
                  <a:lnTo>
                    <a:pt x="55" y="15"/>
                  </a:lnTo>
                  <a:lnTo>
                    <a:pt x="57" y="10"/>
                  </a:lnTo>
                  <a:lnTo>
                    <a:pt x="55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8" y="13"/>
                  </a:lnTo>
                  <a:lnTo>
                    <a:pt x="4" y="19"/>
                  </a:lnTo>
                  <a:lnTo>
                    <a:pt x="0" y="28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" name="Freeform 376"/>
            <p:cNvSpPr>
              <a:spLocks/>
            </p:cNvSpPr>
            <p:nvPr/>
          </p:nvSpPr>
          <p:spPr bwMode="auto">
            <a:xfrm>
              <a:off x="6205" y="2532"/>
              <a:ext cx="251" cy="340"/>
            </a:xfrm>
            <a:custGeom>
              <a:avLst/>
              <a:gdLst>
                <a:gd name="T0" fmla="*/ 207 w 251"/>
                <a:gd name="T1" fmla="*/ 6 h 340"/>
                <a:gd name="T2" fmla="*/ 180 w 251"/>
                <a:gd name="T3" fmla="*/ 2 h 340"/>
                <a:gd name="T4" fmla="*/ 156 w 251"/>
                <a:gd name="T5" fmla="*/ 2 h 340"/>
                <a:gd name="T6" fmla="*/ 133 w 251"/>
                <a:gd name="T7" fmla="*/ 6 h 340"/>
                <a:gd name="T8" fmla="*/ 110 w 251"/>
                <a:gd name="T9" fmla="*/ 16 h 340"/>
                <a:gd name="T10" fmla="*/ 69 w 251"/>
                <a:gd name="T11" fmla="*/ 39 h 340"/>
                <a:gd name="T12" fmla="*/ 28 w 251"/>
                <a:gd name="T13" fmla="*/ 64 h 340"/>
                <a:gd name="T14" fmla="*/ 21 w 251"/>
                <a:gd name="T15" fmla="*/ 73 h 340"/>
                <a:gd name="T16" fmla="*/ 9 w 251"/>
                <a:gd name="T17" fmla="*/ 88 h 340"/>
                <a:gd name="T18" fmla="*/ 4 w 251"/>
                <a:gd name="T19" fmla="*/ 107 h 340"/>
                <a:gd name="T20" fmla="*/ 0 w 251"/>
                <a:gd name="T21" fmla="*/ 137 h 340"/>
                <a:gd name="T22" fmla="*/ 1 w 251"/>
                <a:gd name="T23" fmla="*/ 181 h 340"/>
                <a:gd name="T24" fmla="*/ 2 w 251"/>
                <a:gd name="T25" fmla="*/ 224 h 340"/>
                <a:gd name="T26" fmla="*/ 5 w 251"/>
                <a:gd name="T27" fmla="*/ 235 h 340"/>
                <a:gd name="T28" fmla="*/ 7 w 251"/>
                <a:gd name="T29" fmla="*/ 273 h 340"/>
                <a:gd name="T30" fmla="*/ 11 w 251"/>
                <a:gd name="T31" fmla="*/ 296 h 340"/>
                <a:gd name="T32" fmla="*/ 19 w 251"/>
                <a:gd name="T33" fmla="*/ 312 h 340"/>
                <a:gd name="T34" fmla="*/ 24 w 251"/>
                <a:gd name="T35" fmla="*/ 317 h 340"/>
                <a:gd name="T36" fmla="*/ 42 w 251"/>
                <a:gd name="T37" fmla="*/ 327 h 340"/>
                <a:gd name="T38" fmla="*/ 62 w 251"/>
                <a:gd name="T39" fmla="*/ 334 h 340"/>
                <a:gd name="T40" fmla="*/ 106 w 251"/>
                <a:gd name="T41" fmla="*/ 340 h 340"/>
                <a:gd name="T42" fmla="*/ 153 w 251"/>
                <a:gd name="T43" fmla="*/ 339 h 340"/>
                <a:gd name="T44" fmla="*/ 197 w 251"/>
                <a:gd name="T45" fmla="*/ 332 h 340"/>
                <a:gd name="T46" fmla="*/ 211 w 251"/>
                <a:gd name="T47" fmla="*/ 327 h 340"/>
                <a:gd name="T48" fmla="*/ 237 w 251"/>
                <a:gd name="T49" fmla="*/ 313 h 340"/>
                <a:gd name="T50" fmla="*/ 248 w 251"/>
                <a:gd name="T51" fmla="*/ 305 h 340"/>
                <a:gd name="T52" fmla="*/ 251 w 251"/>
                <a:gd name="T53" fmla="*/ 293 h 340"/>
                <a:gd name="T54" fmla="*/ 247 w 251"/>
                <a:gd name="T55" fmla="*/ 285 h 340"/>
                <a:gd name="T56" fmla="*/ 244 w 251"/>
                <a:gd name="T57" fmla="*/ 283 h 340"/>
                <a:gd name="T58" fmla="*/ 207 w 251"/>
                <a:gd name="T59" fmla="*/ 285 h 340"/>
                <a:gd name="T60" fmla="*/ 173 w 251"/>
                <a:gd name="T61" fmla="*/ 293 h 340"/>
                <a:gd name="T62" fmla="*/ 162 w 251"/>
                <a:gd name="T63" fmla="*/ 296 h 340"/>
                <a:gd name="T64" fmla="*/ 139 w 251"/>
                <a:gd name="T65" fmla="*/ 296 h 340"/>
                <a:gd name="T66" fmla="*/ 118 w 251"/>
                <a:gd name="T67" fmla="*/ 292 h 340"/>
                <a:gd name="T68" fmla="*/ 98 w 251"/>
                <a:gd name="T69" fmla="*/ 283 h 340"/>
                <a:gd name="T70" fmla="*/ 88 w 251"/>
                <a:gd name="T71" fmla="*/ 278 h 340"/>
                <a:gd name="T72" fmla="*/ 78 w 251"/>
                <a:gd name="T73" fmla="*/ 259 h 340"/>
                <a:gd name="T74" fmla="*/ 75 w 251"/>
                <a:gd name="T75" fmla="*/ 243 h 340"/>
                <a:gd name="T76" fmla="*/ 76 w 251"/>
                <a:gd name="T77" fmla="*/ 238 h 340"/>
                <a:gd name="T78" fmla="*/ 75 w 251"/>
                <a:gd name="T79" fmla="*/ 194 h 340"/>
                <a:gd name="T80" fmla="*/ 72 w 251"/>
                <a:gd name="T81" fmla="*/ 148 h 340"/>
                <a:gd name="T82" fmla="*/ 74 w 251"/>
                <a:gd name="T83" fmla="*/ 115 h 340"/>
                <a:gd name="T84" fmla="*/ 79 w 251"/>
                <a:gd name="T85" fmla="*/ 95 h 340"/>
                <a:gd name="T86" fmla="*/ 89 w 251"/>
                <a:gd name="T87" fmla="*/ 77 h 340"/>
                <a:gd name="T88" fmla="*/ 96 w 251"/>
                <a:gd name="T89" fmla="*/ 68 h 340"/>
                <a:gd name="T90" fmla="*/ 103 w 251"/>
                <a:gd name="T91" fmla="*/ 60 h 340"/>
                <a:gd name="T92" fmla="*/ 123 w 251"/>
                <a:gd name="T93" fmla="*/ 51 h 340"/>
                <a:gd name="T94" fmla="*/ 145 w 251"/>
                <a:gd name="T95" fmla="*/ 47 h 340"/>
                <a:gd name="T96" fmla="*/ 166 w 251"/>
                <a:gd name="T97" fmla="*/ 39 h 340"/>
                <a:gd name="T98" fmla="*/ 173 w 251"/>
                <a:gd name="T99" fmla="*/ 31 h 340"/>
                <a:gd name="T100" fmla="*/ 179 w 251"/>
                <a:gd name="T101" fmla="*/ 29 h 340"/>
                <a:gd name="T102" fmla="*/ 199 w 251"/>
                <a:gd name="T103" fmla="*/ 31 h 340"/>
                <a:gd name="T104" fmla="*/ 209 w 251"/>
                <a:gd name="T105" fmla="*/ 30 h 340"/>
                <a:gd name="T106" fmla="*/ 213 w 251"/>
                <a:gd name="T107" fmla="*/ 27 h 340"/>
                <a:gd name="T108" fmla="*/ 207 w 251"/>
                <a:gd name="T109" fmla="*/ 6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1" h="340">
                  <a:moveTo>
                    <a:pt x="207" y="6"/>
                  </a:moveTo>
                  <a:lnTo>
                    <a:pt x="207" y="6"/>
                  </a:lnTo>
                  <a:lnTo>
                    <a:pt x="193" y="3"/>
                  </a:lnTo>
                  <a:lnTo>
                    <a:pt x="180" y="2"/>
                  </a:lnTo>
                  <a:lnTo>
                    <a:pt x="167" y="0"/>
                  </a:lnTo>
                  <a:lnTo>
                    <a:pt x="156" y="2"/>
                  </a:lnTo>
                  <a:lnTo>
                    <a:pt x="145" y="3"/>
                  </a:lnTo>
                  <a:lnTo>
                    <a:pt x="133" y="6"/>
                  </a:lnTo>
                  <a:lnTo>
                    <a:pt x="122" y="10"/>
                  </a:lnTo>
                  <a:lnTo>
                    <a:pt x="110" y="16"/>
                  </a:lnTo>
                  <a:lnTo>
                    <a:pt x="89" y="26"/>
                  </a:lnTo>
                  <a:lnTo>
                    <a:pt x="69" y="39"/>
                  </a:lnTo>
                  <a:lnTo>
                    <a:pt x="49" y="5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1" y="73"/>
                  </a:lnTo>
                  <a:lnTo>
                    <a:pt x="15" y="80"/>
                  </a:lnTo>
                  <a:lnTo>
                    <a:pt x="9" y="88"/>
                  </a:lnTo>
                  <a:lnTo>
                    <a:pt x="7" y="98"/>
                  </a:lnTo>
                  <a:lnTo>
                    <a:pt x="4" y="107"/>
                  </a:lnTo>
                  <a:lnTo>
                    <a:pt x="1" y="117"/>
                  </a:lnTo>
                  <a:lnTo>
                    <a:pt x="0" y="137"/>
                  </a:lnTo>
                  <a:lnTo>
                    <a:pt x="1" y="158"/>
                  </a:lnTo>
                  <a:lnTo>
                    <a:pt x="1" y="181"/>
                  </a:lnTo>
                  <a:lnTo>
                    <a:pt x="2" y="202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5" y="235"/>
                  </a:lnTo>
                  <a:lnTo>
                    <a:pt x="7" y="248"/>
                  </a:lnTo>
                  <a:lnTo>
                    <a:pt x="7" y="273"/>
                  </a:lnTo>
                  <a:lnTo>
                    <a:pt x="8" y="285"/>
                  </a:lnTo>
                  <a:lnTo>
                    <a:pt x="11" y="296"/>
                  </a:lnTo>
                  <a:lnTo>
                    <a:pt x="15" y="307"/>
                  </a:lnTo>
                  <a:lnTo>
                    <a:pt x="19" y="312"/>
                  </a:lnTo>
                  <a:lnTo>
                    <a:pt x="24" y="317"/>
                  </a:lnTo>
                  <a:lnTo>
                    <a:pt x="24" y="317"/>
                  </a:lnTo>
                  <a:lnTo>
                    <a:pt x="32" y="323"/>
                  </a:lnTo>
                  <a:lnTo>
                    <a:pt x="42" y="327"/>
                  </a:lnTo>
                  <a:lnTo>
                    <a:pt x="51" y="332"/>
                  </a:lnTo>
                  <a:lnTo>
                    <a:pt x="62" y="334"/>
                  </a:lnTo>
                  <a:lnTo>
                    <a:pt x="83" y="339"/>
                  </a:lnTo>
                  <a:lnTo>
                    <a:pt x="106" y="340"/>
                  </a:lnTo>
                  <a:lnTo>
                    <a:pt x="130" y="340"/>
                  </a:lnTo>
                  <a:lnTo>
                    <a:pt x="153" y="339"/>
                  </a:lnTo>
                  <a:lnTo>
                    <a:pt x="176" y="336"/>
                  </a:lnTo>
                  <a:lnTo>
                    <a:pt x="197" y="332"/>
                  </a:lnTo>
                  <a:lnTo>
                    <a:pt x="197" y="332"/>
                  </a:lnTo>
                  <a:lnTo>
                    <a:pt x="211" y="327"/>
                  </a:lnTo>
                  <a:lnTo>
                    <a:pt x="224" y="320"/>
                  </a:lnTo>
                  <a:lnTo>
                    <a:pt x="237" y="313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51" y="299"/>
                  </a:lnTo>
                  <a:lnTo>
                    <a:pt x="251" y="293"/>
                  </a:lnTo>
                  <a:lnTo>
                    <a:pt x="250" y="288"/>
                  </a:lnTo>
                  <a:lnTo>
                    <a:pt x="247" y="285"/>
                  </a:lnTo>
                  <a:lnTo>
                    <a:pt x="244" y="283"/>
                  </a:lnTo>
                  <a:lnTo>
                    <a:pt x="244" y="283"/>
                  </a:lnTo>
                  <a:lnTo>
                    <a:pt x="226" y="283"/>
                  </a:lnTo>
                  <a:lnTo>
                    <a:pt x="207" y="285"/>
                  </a:lnTo>
                  <a:lnTo>
                    <a:pt x="190" y="288"/>
                  </a:lnTo>
                  <a:lnTo>
                    <a:pt x="173" y="293"/>
                  </a:lnTo>
                  <a:lnTo>
                    <a:pt x="173" y="293"/>
                  </a:lnTo>
                  <a:lnTo>
                    <a:pt x="162" y="296"/>
                  </a:lnTo>
                  <a:lnTo>
                    <a:pt x="150" y="296"/>
                  </a:lnTo>
                  <a:lnTo>
                    <a:pt x="139" y="296"/>
                  </a:lnTo>
                  <a:lnTo>
                    <a:pt x="128" y="295"/>
                  </a:lnTo>
                  <a:lnTo>
                    <a:pt x="118" y="292"/>
                  </a:lnTo>
                  <a:lnTo>
                    <a:pt x="108" y="288"/>
                  </a:lnTo>
                  <a:lnTo>
                    <a:pt x="98" y="283"/>
                  </a:lnTo>
                  <a:lnTo>
                    <a:pt x="88" y="278"/>
                  </a:lnTo>
                  <a:lnTo>
                    <a:pt x="88" y="278"/>
                  </a:lnTo>
                  <a:lnTo>
                    <a:pt x="82" y="269"/>
                  </a:lnTo>
                  <a:lnTo>
                    <a:pt x="78" y="259"/>
                  </a:lnTo>
                  <a:lnTo>
                    <a:pt x="75" y="249"/>
                  </a:lnTo>
                  <a:lnTo>
                    <a:pt x="75" y="243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6" y="216"/>
                  </a:lnTo>
                  <a:lnTo>
                    <a:pt x="75" y="194"/>
                  </a:lnTo>
                  <a:lnTo>
                    <a:pt x="74" y="171"/>
                  </a:lnTo>
                  <a:lnTo>
                    <a:pt x="72" y="148"/>
                  </a:lnTo>
                  <a:lnTo>
                    <a:pt x="74" y="125"/>
                  </a:lnTo>
                  <a:lnTo>
                    <a:pt x="74" y="115"/>
                  </a:lnTo>
                  <a:lnTo>
                    <a:pt x="76" y="105"/>
                  </a:lnTo>
                  <a:lnTo>
                    <a:pt x="79" y="95"/>
                  </a:lnTo>
                  <a:lnTo>
                    <a:pt x="83" y="86"/>
                  </a:lnTo>
                  <a:lnTo>
                    <a:pt x="89" y="77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101" y="64"/>
                  </a:lnTo>
                  <a:lnTo>
                    <a:pt x="103" y="60"/>
                  </a:lnTo>
                  <a:lnTo>
                    <a:pt x="113" y="54"/>
                  </a:lnTo>
                  <a:lnTo>
                    <a:pt x="123" y="51"/>
                  </a:lnTo>
                  <a:lnTo>
                    <a:pt x="135" y="49"/>
                  </a:lnTo>
                  <a:lnTo>
                    <a:pt x="145" y="47"/>
                  </a:lnTo>
                  <a:lnTo>
                    <a:pt x="156" y="44"/>
                  </a:lnTo>
                  <a:lnTo>
                    <a:pt x="166" y="39"/>
                  </a:lnTo>
                  <a:lnTo>
                    <a:pt x="170" y="36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9" y="29"/>
                  </a:lnTo>
                  <a:lnTo>
                    <a:pt x="186" y="29"/>
                  </a:lnTo>
                  <a:lnTo>
                    <a:pt x="199" y="31"/>
                  </a:lnTo>
                  <a:lnTo>
                    <a:pt x="204" y="31"/>
                  </a:lnTo>
                  <a:lnTo>
                    <a:pt x="209" y="30"/>
                  </a:lnTo>
                  <a:lnTo>
                    <a:pt x="211" y="29"/>
                  </a:lnTo>
                  <a:lnTo>
                    <a:pt x="213" y="27"/>
                  </a:lnTo>
                  <a:lnTo>
                    <a:pt x="213" y="19"/>
                  </a:lnTo>
                  <a:lnTo>
                    <a:pt x="207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377"/>
            <p:cNvSpPr>
              <a:spLocks/>
            </p:cNvSpPr>
            <p:nvPr/>
          </p:nvSpPr>
          <p:spPr bwMode="auto">
            <a:xfrm>
              <a:off x="6930" y="2569"/>
              <a:ext cx="110" cy="295"/>
            </a:xfrm>
            <a:custGeom>
              <a:avLst/>
              <a:gdLst>
                <a:gd name="T0" fmla="*/ 73 w 110"/>
                <a:gd name="T1" fmla="*/ 0 h 295"/>
                <a:gd name="T2" fmla="*/ 73 w 110"/>
                <a:gd name="T3" fmla="*/ 0 h 295"/>
                <a:gd name="T4" fmla="*/ 67 w 110"/>
                <a:gd name="T5" fmla="*/ 2 h 295"/>
                <a:gd name="T6" fmla="*/ 61 w 110"/>
                <a:gd name="T7" fmla="*/ 4 h 295"/>
                <a:gd name="T8" fmla="*/ 57 w 110"/>
                <a:gd name="T9" fmla="*/ 7 h 295"/>
                <a:gd name="T10" fmla="*/ 54 w 110"/>
                <a:gd name="T11" fmla="*/ 12 h 295"/>
                <a:gd name="T12" fmla="*/ 48 w 110"/>
                <a:gd name="T13" fmla="*/ 20 h 295"/>
                <a:gd name="T14" fmla="*/ 43 w 110"/>
                <a:gd name="T15" fmla="*/ 30 h 295"/>
                <a:gd name="T16" fmla="*/ 43 w 110"/>
                <a:gd name="T17" fmla="*/ 30 h 295"/>
                <a:gd name="T18" fmla="*/ 44 w 110"/>
                <a:gd name="T19" fmla="*/ 57 h 295"/>
                <a:gd name="T20" fmla="*/ 41 w 110"/>
                <a:gd name="T21" fmla="*/ 83 h 295"/>
                <a:gd name="T22" fmla="*/ 37 w 110"/>
                <a:gd name="T23" fmla="*/ 108 h 295"/>
                <a:gd name="T24" fmla="*/ 33 w 110"/>
                <a:gd name="T25" fmla="*/ 132 h 295"/>
                <a:gd name="T26" fmla="*/ 26 w 110"/>
                <a:gd name="T27" fmla="*/ 157 h 295"/>
                <a:gd name="T28" fmla="*/ 17 w 110"/>
                <a:gd name="T29" fmla="*/ 181 h 295"/>
                <a:gd name="T30" fmla="*/ 0 w 110"/>
                <a:gd name="T31" fmla="*/ 225 h 295"/>
                <a:gd name="T32" fmla="*/ 0 w 110"/>
                <a:gd name="T33" fmla="*/ 225 h 295"/>
                <a:gd name="T34" fmla="*/ 3 w 110"/>
                <a:gd name="T35" fmla="*/ 245 h 295"/>
                <a:gd name="T36" fmla="*/ 7 w 110"/>
                <a:gd name="T37" fmla="*/ 265 h 295"/>
                <a:gd name="T38" fmla="*/ 11 w 110"/>
                <a:gd name="T39" fmla="*/ 273 h 295"/>
                <a:gd name="T40" fmla="*/ 16 w 110"/>
                <a:gd name="T41" fmla="*/ 280 h 295"/>
                <a:gd name="T42" fmla="*/ 21 w 110"/>
                <a:gd name="T43" fmla="*/ 288 h 295"/>
                <a:gd name="T44" fmla="*/ 28 w 110"/>
                <a:gd name="T45" fmla="*/ 292 h 295"/>
                <a:gd name="T46" fmla="*/ 28 w 110"/>
                <a:gd name="T47" fmla="*/ 292 h 295"/>
                <a:gd name="T48" fmla="*/ 36 w 110"/>
                <a:gd name="T49" fmla="*/ 295 h 295"/>
                <a:gd name="T50" fmla="*/ 44 w 110"/>
                <a:gd name="T51" fmla="*/ 295 h 295"/>
                <a:gd name="T52" fmla="*/ 51 w 110"/>
                <a:gd name="T53" fmla="*/ 295 h 295"/>
                <a:gd name="T54" fmla="*/ 58 w 110"/>
                <a:gd name="T55" fmla="*/ 293 h 295"/>
                <a:gd name="T56" fmla="*/ 65 w 110"/>
                <a:gd name="T57" fmla="*/ 290 h 295"/>
                <a:gd name="T58" fmla="*/ 71 w 110"/>
                <a:gd name="T59" fmla="*/ 286 h 295"/>
                <a:gd name="T60" fmla="*/ 77 w 110"/>
                <a:gd name="T61" fmla="*/ 282 h 295"/>
                <a:gd name="T62" fmla="*/ 81 w 110"/>
                <a:gd name="T63" fmla="*/ 276 h 295"/>
                <a:gd name="T64" fmla="*/ 81 w 110"/>
                <a:gd name="T65" fmla="*/ 276 h 295"/>
                <a:gd name="T66" fmla="*/ 83 w 110"/>
                <a:gd name="T67" fmla="*/ 270 h 295"/>
                <a:gd name="T68" fmla="*/ 84 w 110"/>
                <a:gd name="T69" fmla="*/ 266 h 295"/>
                <a:gd name="T70" fmla="*/ 84 w 110"/>
                <a:gd name="T71" fmla="*/ 262 h 295"/>
                <a:gd name="T72" fmla="*/ 84 w 110"/>
                <a:gd name="T73" fmla="*/ 258 h 295"/>
                <a:gd name="T74" fmla="*/ 81 w 110"/>
                <a:gd name="T75" fmla="*/ 249 h 295"/>
                <a:gd name="T76" fmla="*/ 77 w 110"/>
                <a:gd name="T77" fmla="*/ 242 h 295"/>
                <a:gd name="T78" fmla="*/ 71 w 110"/>
                <a:gd name="T79" fmla="*/ 235 h 295"/>
                <a:gd name="T80" fmla="*/ 68 w 110"/>
                <a:gd name="T81" fmla="*/ 226 h 295"/>
                <a:gd name="T82" fmla="*/ 67 w 110"/>
                <a:gd name="T83" fmla="*/ 222 h 295"/>
                <a:gd name="T84" fmla="*/ 67 w 110"/>
                <a:gd name="T85" fmla="*/ 218 h 295"/>
                <a:gd name="T86" fmla="*/ 68 w 110"/>
                <a:gd name="T87" fmla="*/ 214 h 295"/>
                <a:gd name="T88" fmla="*/ 70 w 110"/>
                <a:gd name="T89" fmla="*/ 209 h 295"/>
                <a:gd name="T90" fmla="*/ 70 w 110"/>
                <a:gd name="T91" fmla="*/ 209 h 295"/>
                <a:gd name="T92" fmla="*/ 81 w 110"/>
                <a:gd name="T93" fmla="*/ 188 h 295"/>
                <a:gd name="T94" fmla="*/ 90 w 110"/>
                <a:gd name="T95" fmla="*/ 167 h 295"/>
                <a:gd name="T96" fmla="*/ 98 w 110"/>
                <a:gd name="T97" fmla="*/ 145 h 295"/>
                <a:gd name="T98" fmla="*/ 102 w 110"/>
                <a:gd name="T99" fmla="*/ 122 h 295"/>
                <a:gd name="T100" fmla="*/ 107 w 110"/>
                <a:gd name="T101" fmla="*/ 98 h 295"/>
                <a:gd name="T102" fmla="*/ 110 w 110"/>
                <a:gd name="T103" fmla="*/ 74 h 295"/>
                <a:gd name="T104" fmla="*/ 110 w 110"/>
                <a:gd name="T105" fmla="*/ 50 h 295"/>
                <a:gd name="T106" fmla="*/ 108 w 110"/>
                <a:gd name="T107" fmla="*/ 24 h 295"/>
                <a:gd name="T108" fmla="*/ 108 w 110"/>
                <a:gd name="T109" fmla="*/ 24 h 295"/>
                <a:gd name="T110" fmla="*/ 105 w 110"/>
                <a:gd name="T111" fmla="*/ 17 h 295"/>
                <a:gd name="T112" fmla="*/ 102 w 110"/>
                <a:gd name="T113" fmla="*/ 13 h 295"/>
                <a:gd name="T114" fmla="*/ 100 w 110"/>
                <a:gd name="T115" fmla="*/ 9 h 295"/>
                <a:gd name="T116" fmla="*/ 95 w 110"/>
                <a:gd name="T117" fmla="*/ 6 h 295"/>
                <a:gd name="T118" fmla="*/ 90 w 110"/>
                <a:gd name="T119" fmla="*/ 3 h 295"/>
                <a:gd name="T120" fmla="*/ 84 w 110"/>
                <a:gd name="T121" fmla="*/ 2 h 295"/>
                <a:gd name="T122" fmla="*/ 73 w 110"/>
                <a:gd name="T123" fmla="*/ 0 h 295"/>
                <a:gd name="T124" fmla="*/ 73 w 110"/>
                <a:gd name="T125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0" h="295">
                  <a:moveTo>
                    <a:pt x="73" y="0"/>
                  </a:moveTo>
                  <a:lnTo>
                    <a:pt x="73" y="0"/>
                  </a:lnTo>
                  <a:lnTo>
                    <a:pt x="67" y="2"/>
                  </a:lnTo>
                  <a:lnTo>
                    <a:pt x="61" y="4"/>
                  </a:lnTo>
                  <a:lnTo>
                    <a:pt x="57" y="7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4" y="57"/>
                  </a:lnTo>
                  <a:lnTo>
                    <a:pt x="41" y="83"/>
                  </a:lnTo>
                  <a:lnTo>
                    <a:pt x="37" y="108"/>
                  </a:lnTo>
                  <a:lnTo>
                    <a:pt x="33" y="132"/>
                  </a:lnTo>
                  <a:lnTo>
                    <a:pt x="26" y="157"/>
                  </a:lnTo>
                  <a:lnTo>
                    <a:pt x="17" y="181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3" y="245"/>
                  </a:lnTo>
                  <a:lnTo>
                    <a:pt x="7" y="265"/>
                  </a:lnTo>
                  <a:lnTo>
                    <a:pt x="11" y="273"/>
                  </a:lnTo>
                  <a:lnTo>
                    <a:pt x="16" y="280"/>
                  </a:lnTo>
                  <a:lnTo>
                    <a:pt x="21" y="288"/>
                  </a:lnTo>
                  <a:lnTo>
                    <a:pt x="28" y="292"/>
                  </a:lnTo>
                  <a:lnTo>
                    <a:pt x="28" y="292"/>
                  </a:lnTo>
                  <a:lnTo>
                    <a:pt x="36" y="295"/>
                  </a:lnTo>
                  <a:lnTo>
                    <a:pt x="44" y="295"/>
                  </a:lnTo>
                  <a:lnTo>
                    <a:pt x="51" y="295"/>
                  </a:lnTo>
                  <a:lnTo>
                    <a:pt x="58" y="293"/>
                  </a:lnTo>
                  <a:lnTo>
                    <a:pt x="65" y="290"/>
                  </a:lnTo>
                  <a:lnTo>
                    <a:pt x="71" y="286"/>
                  </a:lnTo>
                  <a:lnTo>
                    <a:pt x="77" y="282"/>
                  </a:lnTo>
                  <a:lnTo>
                    <a:pt x="81" y="276"/>
                  </a:lnTo>
                  <a:lnTo>
                    <a:pt x="81" y="276"/>
                  </a:lnTo>
                  <a:lnTo>
                    <a:pt x="83" y="270"/>
                  </a:lnTo>
                  <a:lnTo>
                    <a:pt x="84" y="266"/>
                  </a:lnTo>
                  <a:lnTo>
                    <a:pt x="84" y="262"/>
                  </a:lnTo>
                  <a:lnTo>
                    <a:pt x="84" y="258"/>
                  </a:lnTo>
                  <a:lnTo>
                    <a:pt x="81" y="249"/>
                  </a:lnTo>
                  <a:lnTo>
                    <a:pt x="77" y="242"/>
                  </a:lnTo>
                  <a:lnTo>
                    <a:pt x="71" y="235"/>
                  </a:lnTo>
                  <a:lnTo>
                    <a:pt x="68" y="226"/>
                  </a:lnTo>
                  <a:lnTo>
                    <a:pt x="67" y="222"/>
                  </a:lnTo>
                  <a:lnTo>
                    <a:pt x="67" y="218"/>
                  </a:lnTo>
                  <a:lnTo>
                    <a:pt x="68" y="214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81" y="188"/>
                  </a:lnTo>
                  <a:lnTo>
                    <a:pt x="90" y="167"/>
                  </a:lnTo>
                  <a:lnTo>
                    <a:pt x="98" y="145"/>
                  </a:lnTo>
                  <a:lnTo>
                    <a:pt x="102" y="122"/>
                  </a:lnTo>
                  <a:lnTo>
                    <a:pt x="107" y="98"/>
                  </a:lnTo>
                  <a:lnTo>
                    <a:pt x="110" y="74"/>
                  </a:lnTo>
                  <a:lnTo>
                    <a:pt x="110" y="50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5" y="17"/>
                  </a:lnTo>
                  <a:lnTo>
                    <a:pt x="102" y="13"/>
                  </a:lnTo>
                  <a:lnTo>
                    <a:pt x="100" y="9"/>
                  </a:lnTo>
                  <a:lnTo>
                    <a:pt x="95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3" y="0"/>
                  </a:lnTo>
                  <a:lnTo>
                    <a:pt x="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378"/>
            <p:cNvSpPr>
              <a:spLocks/>
            </p:cNvSpPr>
            <p:nvPr/>
          </p:nvSpPr>
          <p:spPr bwMode="auto">
            <a:xfrm>
              <a:off x="7382" y="2317"/>
              <a:ext cx="375" cy="548"/>
            </a:xfrm>
            <a:custGeom>
              <a:avLst/>
              <a:gdLst>
                <a:gd name="T0" fmla="*/ 306 w 375"/>
                <a:gd name="T1" fmla="*/ 3 h 548"/>
                <a:gd name="T2" fmla="*/ 296 w 375"/>
                <a:gd name="T3" fmla="*/ 17 h 548"/>
                <a:gd name="T4" fmla="*/ 292 w 375"/>
                <a:gd name="T5" fmla="*/ 63 h 548"/>
                <a:gd name="T6" fmla="*/ 303 w 375"/>
                <a:gd name="T7" fmla="*/ 214 h 548"/>
                <a:gd name="T8" fmla="*/ 305 w 375"/>
                <a:gd name="T9" fmla="*/ 323 h 548"/>
                <a:gd name="T10" fmla="*/ 295 w 375"/>
                <a:gd name="T11" fmla="*/ 329 h 548"/>
                <a:gd name="T12" fmla="*/ 284 w 375"/>
                <a:gd name="T13" fmla="*/ 325 h 548"/>
                <a:gd name="T14" fmla="*/ 239 w 375"/>
                <a:gd name="T15" fmla="*/ 278 h 548"/>
                <a:gd name="T16" fmla="*/ 235 w 375"/>
                <a:gd name="T17" fmla="*/ 268 h 548"/>
                <a:gd name="T18" fmla="*/ 215 w 375"/>
                <a:gd name="T19" fmla="*/ 258 h 548"/>
                <a:gd name="T20" fmla="*/ 184 w 375"/>
                <a:gd name="T21" fmla="*/ 255 h 548"/>
                <a:gd name="T22" fmla="*/ 167 w 375"/>
                <a:gd name="T23" fmla="*/ 264 h 548"/>
                <a:gd name="T24" fmla="*/ 130 w 375"/>
                <a:gd name="T25" fmla="*/ 268 h 548"/>
                <a:gd name="T26" fmla="*/ 87 w 375"/>
                <a:gd name="T27" fmla="*/ 279 h 548"/>
                <a:gd name="T28" fmla="*/ 27 w 375"/>
                <a:gd name="T29" fmla="*/ 309 h 548"/>
                <a:gd name="T30" fmla="*/ 8 w 375"/>
                <a:gd name="T31" fmla="*/ 363 h 548"/>
                <a:gd name="T32" fmla="*/ 0 w 375"/>
                <a:gd name="T33" fmla="*/ 409 h 548"/>
                <a:gd name="T34" fmla="*/ 6 w 375"/>
                <a:gd name="T35" fmla="*/ 441 h 548"/>
                <a:gd name="T36" fmla="*/ 25 w 375"/>
                <a:gd name="T37" fmla="*/ 480 h 548"/>
                <a:gd name="T38" fmla="*/ 29 w 375"/>
                <a:gd name="T39" fmla="*/ 495 h 548"/>
                <a:gd name="T40" fmla="*/ 40 w 375"/>
                <a:gd name="T41" fmla="*/ 505 h 548"/>
                <a:gd name="T42" fmla="*/ 60 w 375"/>
                <a:gd name="T43" fmla="*/ 508 h 548"/>
                <a:gd name="T44" fmla="*/ 133 w 375"/>
                <a:gd name="T45" fmla="*/ 541 h 548"/>
                <a:gd name="T46" fmla="*/ 192 w 375"/>
                <a:gd name="T47" fmla="*/ 548 h 548"/>
                <a:gd name="T48" fmla="*/ 222 w 375"/>
                <a:gd name="T49" fmla="*/ 544 h 548"/>
                <a:gd name="T50" fmla="*/ 241 w 375"/>
                <a:gd name="T51" fmla="*/ 532 h 548"/>
                <a:gd name="T52" fmla="*/ 261 w 375"/>
                <a:gd name="T53" fmla="*/ 508 h 548"/>
                <a:gd name="T54" fmla="*/ 278 w 375"/>
                <a:gd name="T55" fmla="*/ 508 h 548"/>
                <a:gd name="T56" fmla="*/ 301 w 375"/>
                <a:gd name="T57" fmla="*/ 522 h 548"/>
                <a:gd name="T58" fmla="*/ 325 w 375"/>
                <a:gd name="T59" fmla="*/ 544 h 548"/>
                <a:gd name="T60" fmla="*/ 336 w 375"/>
                <a:gd name="T61" fmla="*/ 547 h 548"/>
                <a:gd name="T62" fmla="*/ 363 w 375"/>
                <a:gd name="T63" fmla="*/ 538 h 548"/>
                <a:gd name="T64" fmla="*/ 375 w 375"/>
                <a:gd name="T65" fmla="*/ 525 h 548"/>
                <a:gd name="T66" fmla="*/ 370 w 375"/>
                <a:gd name="T67" fmla="*/ 504 h 548"/>
                <a:gd name="T68" fmla="*/ 356 w 375"/>
                <a:gd name="T69" fmla="*/ 464 h 548"/>
                <a:gd name="T70" fmla="*/ 355 w 375"/>
                <a:gd name="T71" fmla="*/ 443 h 548"/>
                <a:gd name="T72" fmla="*/ 365 w 375"/>
                <a:gd name="T73" fmla="*/ 325 h 548"/>
                <a:gd name="T74" fmla="*/ 363 w 375"/>
                <a:gd name="T75" fmla="*/ 204 h 548"/>
                <a:gd name="T76" fmla="*/ 356 w 375"/>
                <a:gd name="T77" fmla="*/ 126 h 548"/>
                <a:gd name="T78" fmla="*/ 345 w 375"/>
                <a:gd name="T79" fmla="*/ 42 h 548"/>
                <a:gd name="T80" fmla="*/ 336 w 375"/>
                <a:gd name="T81" fmla="*/ 10 h 548"/>
                <a:gd name="T82" fmla="*/ 318 w 375"/>
                <a:gd name="T83" fmla="*/ 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548">
                  <a:moveTo>
                    <a:pt x="311" y="0"/>
                  </a:moveTo>
                  <a:lnTo>
                    <a:pt x="311" y="0"/>
                  </a:lnTo>
                  <a:lnTo>
                    <a:pt x="306" y="3"/>
                  </a:lnTo>
                  <a:lnTo>
                    <a:pt x="303" y="5"/>
                  </a:lnTo>
                  <a:lnTo>
                    <a:pt x="299" y="10"/>
                  </a:lnTo>
                  <a:lnTo>
                    <a:pt x="296" y="17"/>
                  </a:lnTo>
                  <a:lnTo>
                    <a:pt x="292" y="23"/>
                  </a:lnTo>
                  <a:lnTo>
                    <a:pt x="292" y="23"/>
                  </a:lnTo>
                  <a:lnTo>
                    <a:pt x="292" y="63"/>
                  </a:lnTo>
                  <a:lnTo>
                    <a:pt x="293" y="101"/>
                  </a:lnTo>
                  <a:lnTo>
                    <a:pt x="301" y="177"/>
                  </a:lnTo>
                  <a:lnTo>
                    <a:pt x="303" y="214"/>
                  </a:lnTo>
                  <a:lnTo>
                    <a:pt x="306" y="251"/>
                  </a:lnTo>
                  <a:lnTo>
                    <a:pt x="306" y="288"/>
                  </a:lnTo>
                  <a:lnTo>
                    <a:pt x="305" y="323"/>
                  </a:lnTo>
                  <a:lnTo>
                    <a:pt x="305" y="323"/>
                  </a:lnTo>
                  <a:lnTo>
                    <a:pt x="299" y="329"/>
                  </a:lnTo>
                  <a:lnTo>
                    <a:pt x="295" y="329"/>
                  </a:lnTo>
                  <a:lnTo>
                    <a:pt x="292" y="330"/>
                  </a:lnTo>
                  <a:lnTo>
                    <a:pt x="292" y="330"/>
                  </a:lnTo>
                  <a:lnTo>
                    <a:pt x="284" y="325"/>
                  </a:lnTo>
                  <a:lnTo>
                    <a:pt x="276" y="320"/>
                  </a:lnTo>
                  <a:lnTo>
                    <a:pt x="264" y="308"/>
                  </a:lnTo>
                  <a:lnTo>
                    <a:pt x="239" y="278"/>
                  </a:lnTo>
                  <a:lnTo>
                    <a:pt x="239" y="273"/>
                  </a:lnTo>
                  <a:lnTo>
                    <a:pt x="239" y="273"/>
                  </a:lnTo>
                  <a:lnTo>
                    <a:pt x="235" y="268"/>
                  </a:lnTo>
                  <a:lnTo>
                    <a:pt x="228" y="264"/>
                  </a:lnTo>
                  <a:lnTo>
                    <a:pt x="222" y="261"/>
                  </a:lnTo>
                  <a:lnTo>
                    <a:pt x="215" y="258"/>
                  </a:lnTo>
                  <a:lnTo>
                    <a:pt x="208" y="255"/>
                  </a:lnTo>
                  <a:lnTo>
                    <a:pt x="200" y="255"/>
                  </a:lnTo>
                  <a:lnTo>
                    <a:pt x="184" y="255"/>
                  </a:lnTo>
                  <a:lnTo>
                    <a:pt x="184" y="255"/>
                  </a:lnTo>
                  <a:lnTo>
                    <a:pt x="175" y="261"/>
                  </a:lnTo>
                  <a:lnTo>
                    <a:pt x="167" y="264"/>
                  </a:lnTo>
                  <a:lnTo>
                    <a:pt x="158" y="266"/>
                  </a:lnTo>
                  <a:lnTo>
                    <a:pt x="150" y="266"/>
                  </a:lnTo>
                  <a:lnTo>
                    <a:pt x="13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87" y="279"/>
                  </a:lnTo>
                  <a:lnTo>
                    <a:pt x="63" y="291"/>
                  </a:lnTo>
                  <a:lnTo>
                    <a:pt x="39" y="302"/>
                  </a:lnTo>
                  <a:lnTo>
                    <a:pt x="27" y="309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8" y="363"/>
                  </a:lnTo>
                  <a:lnTo>
                    <a:pt x="3" y="386"/>
                  </a:lnTo>
                  <a:lnTo>
                    <a:pt x="0" y="409"/>
                  </a:lnTo>
                  <a:lnTo>
                    <a:pt x="0" y="409"/>
                  </a:lnTo>
                  <a:lnTo>
                    <a:pt x="0" y="421"/>
                  </a:lnTo>
                  <a:lnTo>
                    <a:pt x="2" y="431"/>
                  </a:lnTo>
                  <a:lnTo>
                    <a:pt x="6" y="441"/>
                  </a:lnTo>
                  <a:lnTo>
                    <a:pt x="10" y="451"/>
                  </a:lnTo>
                  <a:lnTo>
                    <a:pt x="20" y="470"/>
                  </a:lnTo>
                  <a:lnTo>
                    <a:pt x="25" y="480"/>
                  </a:lnTo>
                  <a:lnTo>
                    <a:pt x="27" y="490"/>
                  </a:lnTo>
                  <a:lnTo>
                    <a:pt x="27" y="490"/>
                  </a:lnTo>
                  <a:lnTo>
                    <a:pt x="29" y="495"/>
                  </a:lnTo>
                  <a:lnTo>
                    <a:pt x="32" y="500"/>
                  </a:lnTo>
                  <a:lnTo>
                    <a:pt x="36" y="503"/>
                  </a:lnTo>
                  <a:lnTo>
                    <a:pt x="40" y="505"/>
                  </a:lnTo>
                  <a:lnTo>
                    <a:pt x="50" y="508"/>
                  </a:lnTo>
                  <a:lnTo>
                    <a:pt x="60" y="508"/>
                  </a:lnTo>
                  <a:lnTo>
                    <a:pt x="60" y="508"/>
                  </a:lnTo>
                  <a:lnTo>
                    <a:pt x="96" y="527"/>
                  </a:lnTo>
                  <a:lnTo>
                    <a:pt x="114" y="534"/>
                  </a:lnTo>
                  <a:lnTo>
                    <a:pt x="133" y="541"/>
                  </a:lnTo>
                  <a:lnTo>
                    <a:pt x="151" y="545"/>
                  </a:lnTo>
                  <a:lnTo>
                    <a:pt x="171" y="548"/>
                  </a:lnTo>
                  <a:lnTo>
                    <a:pt x="192" y="548"/>
                  </a:lnTo>
                  <a:lnTo>
                    <a:pt x="215" y="547"/>
                  </a:lnTo>
                  <a:lnTo>
                    <a:pt x="215" y="547"/>
                  </a:lnTo>
                  <a:lnTo>
                    <a:pt x="222" y="544"/>
                  </a:lnTo>
                  <a:lnTo>
                    <a:pt x="229" y="541"/>
                  </a:lnTo>
                  <a:lnTo>
                    <a:pt x="235" y="537"/>
                  </a:lnTo>
                  <a:lnTo>
                    <a:pt x="241" y="532"/>
                  </a:lnTo>
                  <a:lnTo>
                    <a:pt x="249" y="521"/>
                  </a:lnTo>
                  <a:lnTo>
                    <a:pt x="261" y="508"/>
                  </a:lnTo>
                  <a:lnTo>
                    <a:pt x="261" y="508"/>
                  </a:lnTo>
                  <a:lnTo>
                    <a:pt x="266" y="507"/>
                  </a:lnTo>
                  <a:lnTo>
                    <a:pt x="274" y="507"/>
                  </a:lnTo>
                  <a:lnTo>
                    <a:pt x="278" y="508"/>
                  </a:lnTo>
                  <a:lnTo>
                    <a:pt x="284" y="510"/>
                  </a:lnTo>
                  <a:lnTo>
                    <a:pt x="292" y="515"/>
                  </a:lnTo>
                  <a:lnTo>
                    <a:pt x="301" y="522"/>
                  </a:lnTo>
                  <a:lnTo>
                    <a:pt x="308" y="531"/>
                  </a:lnTo>
                  <a:lnTo>
                    <a:pt x="316" y="538"/>
                  </a:lnTo>
                  <a:lnTo>
                    <a:pt x="325" y="544"/>
                  </a:lnTo>
                  <a:lnTo>
                    <a:pt x="330" y="545"/>
                  </a:lnTo>
                  <a:lnTo>
                    <a:pt x="336" y="547"/>
                  </a:lnTo>
                  <a:lnTo>
                    <a:pt x="336" y="547"/>
                  </a:lnTo>
                  <a:lnTo>
                    <a:pt x="348" y="545"/>
                  </a:lnTo>
                  <a:lnTo>
                    <a:pt x="359" y="541"/>
                  </a:lnTo>
                  <a:lnTo>
                    <a:pt x="363" y="538"/>
                  </a:lnTo>
                  <a:lnTo>
                    <a:pt x="369" y="535"/>
                  </a:lnTo>
                  <a:lnTo>
                    <a:pt x="372" y="531"/>
                  </a:lnTo>
                  <a:lnTo>
                    <a:pt x="375" y="525"/>
                  </a:lnTo>
                  <a:lnTo>
                    <a:pt x="375" y="525"/>
                  </a:lnTo>
                  <a:lnTo>
                    <a:pt x="373" y="515"/>
                  </a:lnTo>
                  <a:lnTo>
                    <a:pt x="370" y="504"/>
                  </a:lnTo>
                  <a:lnTo>
                    <a:pt x="363" y="484"/>
                  </a:lnTo>
                  <a:lnTo>
                    <a:pt x="359" y="474"/>
                  </a:lnTo>
                  <a:lnTo>
                    <a:pt x="356" y="464"/>
                  </a:lnTo>
                  <a:lnTo>
                    <a:pt x="355" y="454"/>
                  </a:lnTo>
                  <a:lnTo>
                    <a:pt x="355" y="443"/>
                  </a:lnTo>
                  <a:lnTo>
                    <a:pt x="355" y="443"/>
                  </a:lnTo>
                  <a:lnTo>
                    <a:pt x="359" y="404"/>
                  </a:lnTo>
                  <a:lnTo>
                    <a:pt x="363" y="366"/>
                  </a:lnTo>
                  <a:lnTo>
                    <a:pt x="365" y="325"/>
                  </a:lnTo>
                  <a:lnTo>
                    <a:pt x="366" y="285"/>
                  </a:lnTo>
                  <a:lnTo>
                    <a:pt x="365" y="244"/>
                  </a:lnTo>
                  <a:lnTo>
                    <a:pt x="363" y="204"/>
                  </a:lnTo>
                  <a:lnTo>
                    <a:pt x="360" y="164"/>
                  </a:lnTo>
                  <a:lnTo>
                    <a:pt x="356" y="126"/>
                  </a:lnTo>
                  <a:lnTo>
                    <a:pt x="356" y="126"/>
                  </a:lnTo>
                  <a:lnTo>
                    <a:pt x="352" y="97"/>
                  </a:lnTo>
                  <a:lnTo>
                    <a:pt x="348" y="70"/>
                  </a:lnTo>
                  <a:lnTo>
                    <a:pt x="345" y="42"/>
                  </a:lnTo>
                  <a:lnTo>
                    <a:pt x="339" y="13"/>
                  </a:lnTo>
                  <a:lnTo>
                    <a:pt x="339" y="13"/>
                  </a:lnTo>
                  <a:lnTo>
                    <a:pt x="336" y="10"/>
                  </a:lnTo>
                  <a:lnTo>
                    <a:pt x="333" y="7"/>
                  </a:lnTo>
                  <a:lnTo>
                    <a:pt x="326" y="5"/>
                  </a:lnTo>
                  <a:lnTo>
                    <a:pt x="318" y="3"/>
                  </a:lnTo>
                  <a:lnTo>
                    <a:pt x="311" y="0"/>
                  </a:lnTo>
                  <a:lnTo>
                    <a:pt x="3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" name="Freeform 379"/>
            <p:cNvSpPr>
              <a:spLocks/>
            </p:cNvSpPr>
            <p:nvPr/>
          </p:nvSpPr>
          <p:spPr bwMode="auto">
            <a:xfrm>
              <a:off x="7461" y="2618"/>
              <a:ext cx="166" cy="203"/>
            </a:xfrm>
            <a:custGeom>
              <a:avLst/>
              <a:gdLst>
                <a:gd name="T0" fmla="*/ 143 w 166"/>
                <a:gd name="T1" fmla="*/ 25 h 203"/>
                <a:gd name="T2" fmla="*/ 143 w 166"/>
                <a:gd name="T3" fmla="*/ 25 h 203"/>
                <a:gd name="T4" fmla="*/ 146 w 166"/>
                <a:gd name="T5" fmla="*/ 41 h 203"/>
                <a:gd name="T6" fmla="*/ 150 w 166"/>
                <a:gd name="T7" fmla="*/ 55 h 203"/>
                <a:gd name="T8" fmla="*/ 153 w 166"/>
                <a:gd name="T9" fmla="*/ 62 h 203"/>
                <a:gd name="T10" fmla="*/ 156 w 166"/>
                <a:gd name="T11" fmla="*/ 69 h 203"/>
                <a:gd name="T12" fmla="*/ 160 w 166"/>
                <a:gd name="T13" fmla="*/ 75 h 203"/>
                <a:gd name="T14" fmla="*/ 166 w 166"/>
                <a:gd name="T15" fmla="*/ 81 h 203"/>
                <a:gd name="T16" fmla="*/ 166 w 166"/>
                <a:gd name="T17" fmla="*/ 81 h 203"/>
                <a:gd name="T18" fmla="*/ 165 w 166"/>
                <a:gd name="T19" fmla="*/ 102 h 203"/>
                <a:gd name="T20" fmla="*/ 162 w 166"/>
                <a:gd name="T21" fmla="*/ 125 h 203"/>
                <a:gd name="T22" fmla="*/ 153 w 166"/>
                <a:gd name="T23" fmla="*/ 169 h 203"/>
                <a:gd name="T24" fmla="*/ 153 w 166"/>
                <a:gd name="T25" fmla="*/ 169 h 203"/>
                <a:gd name="T26" fmla="*/ 146 w 166"/>
                <a:gd name="T27" fmla="*/ 180 h 203"/>
                <a:gd name="T28" fmla="*/ 136 w 166"/>
                <a:gd name="T29" fmla="*/ 189 h 203"/>
                <a:gd name="T30" fmla="*/ 126 w 166"/>
                <a:gd name="T31" fmla="*/ 197 h 203"/>
                <a:gd name="T32" fmla="*/ 113 w 166"/>
                <a:gd name="T33" fmla="*/ 202 h 203"/>
                <a:gd name="T34" fmla="*/ 113 w 166"/>
                <a:gd name="T35" fmla="*/ 202 h 203"/>
                <a:gd name="T36" fmla="*/ 99 w 166"/>
                <a:gd name="T37" fmla="*/ 203 h 203"/>
                <a:gd name="T38" fmla="*/ 85 w 166"/>
                <a:gd name="T39" fmla="*/ 202 h 203"/>
                <a:gd name="T40" fmla="*/ 71 w 166"/>
                <a:gd name="T41" fmla="*/ 199 h 203"/>
                <a:gd name="T42" fmla="*/ 58 w 166"/>
                <a:gd name="T43" fmla="*/ 193 h 203"/>
                <a:gd name="T44" fmla="*/ 47 w 166"/>
                <a:gd name="T45" fmla="*/ 187 h 203"/>
                <a:gd name="T46" fmla="*/ 35 w 166"/>
                <a:gd name="T47" fmla="*/ 179 h 203"/>
                <a:gd name="T48" fmla="*/ 25 w 166"/>
                <a:gd name="T49" fmla="*/ 169 h 203"/>
                <a:gd name="T50" fmla="*/ 18 w 166"/>
                <a:gd name="T51" fmla="*/ 157 h 203"/>
                <a:gd name="T52" fmla="*/ 18 w 166"/>
                <a:gd name="T53" fmla="*/ 157 h 203"/>
                <a:gd name="T54" fmla="*/ 11 w 166"/>
                <a:gd name="T55" fmla="*/ 146 h 203"/>
                <a:gd name="T56" fmla="*/ 5 w 166"/>
                <a:gd name="T57" fmla="*/ 132 h 203"/>
                <a:gd name="T58" fmla="*/ 1 w 166"/>
                <a:gd name="T59" fmla="*/ 116 h 203"/>
                <a:gd name="T60" fmla="*/ 0 w 166"/>
                <a:gd name="T61" fmla="*/ 102 h 203"/>
                <a:gd name="T62" fmla="*/ 0 w 166"/>
                <a:gd name="T63" fmla="*/ 86 h 203"/>
                <a:gd name="T64" fmla="*/ 1 w 166"/>
                <a:gd name="T65" fmla="*/ 71 h 203"/>
                <a:gd name="T66" fmla="*/ 5 w 166"/>
                <a:gd name="T67" fmla="*/ 56 h 203"/>
                <a:gd name="T68" fmla="*/ 12 w 166"/>
                <a:gd name="T69" fmla="*/ 44 h 203"/>
                <a:gd name="T70" fmla="*/ 12 w 166"/>
                <a:gd name="T71" fmla="*/ 44 h 203"/>
                <a:gd name="T72" fmla="*/ 20 w 166"/>
                <a:gd name="T73" fmla="*/ 32 h 203"/>
                <a:gd name="T74" fmla="*/ 30 w 166"/>
                <a:gd name="T75" fmla="*/ 24 h 203"/>
                <a:gd name="T76" fmla="*/ 41 w 166"/>
                <a:gd name="T77" fmla="*/ 17 h 203"/>
                <a:gd name="T78" fmla="*/ 54 w 166"/>
                <a:gd name="T79" fmla="*/ 9 h 203"/>
                <a:gd name="T80" fmla="*/ 68 w 166"/>
                <a:gd name="T81" fmla="*/ 5 h 203"/>
                <a:gd name="T82" fmla="*/ 82 w 166"/>
                <a:gd name="T83" fmla="*/ 2 h 203"/>
                <a:gd name="T84" fmla="*/ 96 w 166"/>
                <a:gd name="T85" fmla="*/ 0 h 203"/>
                <a:gd name="T86" fmla="*/ 109 w 166"/>
                <a:gd name="T87" fmla="*/ 0 h 203"/>
                <a:gd name="T88" fmla="*/ 109 w 166"/>
                <a:gd name="T89" fmla="*/ 0 h 203"/>
                <a:gd name="T90" fmla="*/ 121 w 166"/>
                <a:gd name="T91" fmla="*/ 4 h 203"/>
                <a:gd name="T92" fmla="*/ 129 w 166"/>
                <a:gd name="T93" fmla="*/ 9 h 203"/>
                <a:gd name="T94" fmla="*/ 138 w 166"/>
                <a:gd name="T95" fmla="*/ 17 h 203"/>
                <a:gd name="T96" fmla="*/ 143 w 166"/>
                <a:gd name="T97" fmla="*/ 25 h 203"/>
                <a:gd name="T98" fmla="*/ 143 w 166"/>
                <a:gd name="T99" fmla="*/ 2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6" h="203">
                  <a:moveTo>
                    <a:pt x="143" y="25"/>
                  </a:moveTo>
                  <a:lnTo>
                    <a:pt x="143" y="25"/>
                  </a:lnTo>
                  <a:lnTo>
                    <a:pt x="146" y="41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6" y="69"/>
                  </a:lnTo>
                  <a:lnTo>
                    <a:pt x="160" y="75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5" y="102"/>
                  </a:lnTo>
                  <a:lnTo>
                    <a:pt x="162" y="125"/>
                  </a:lnTo>
                  <a:lnTo>
                    <a:pt x="153" y="169"/>
                  </a:lnTo>
                  <a:lnTo>
                    <a:pt x="153" y="169"/>
                  </a:lnTo>
                  <a:lnTo>
                    <a:pt x="146" y="180"/>
                  </a:lnTo>
                  <a:lnTo>
                    <a:pt x="136" y="189"/>
                  </a:lnTo>
                  <a:lnTo>
                    <a:pt x="126" y="197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99" y="203"/>
                  </a:lnTo>
                  <a:lnTo>
                    <a:pt x="85" y="202"/>
                  </a:lnTo>
                  <a:lnTo>
                    <a:pt x="71" y="199"/>
                  </a:lnTo>
                  <a:lnTo>
                    <a:pt x="58" y="193"/>
                  </a:lnTo>
                  <a:lnTo>
                    <a:pt x="47" y="187"/>
                  </a:lnTo>
                  <a:lnTo>
                    <a:pt x="35" y="179"/>
                  </a:lnTo>
                  <a:lnTo>
                    <a:pt x="25" y="169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1" y="146"/>
                  </a:lnTo>
                  <a:lnTo>
                    <a:pt x="5" y="132"/>
                  </a:lnTo>
                  <a:lnTo>
                    <a:pt x="1" y="116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1" y="71"/>
                  </a:lnTo>
                  <a:lnTo>
                    <a:pt x="5" y="5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20" y="32"/>
                  </a:lnTo>
                  <a:lnTo>
                    <a:pt x="30" y="24"/>
                  </a:lnTo>
                  <a:lnTo>
                    <a:pt x="41" y="17"/>
                  </a:lnTo>
                  <a:lnTo>
                    <a:pt x="54" y="9"/>
                  </a:lnTo>
                  <a:lnTo>
                    <a:pt x="68" y="5"/>
                  </a:lnTo>
                  <a:lnTo>
                    <a:pt x="82" y="2"/>
                  </a:lnTo>
                  <a:lnTo>
                    <a:pt x="9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21" y="4"/>
                  </a:lnTo>
                  <a:lnTo>
                    <a:pt x="129" y="9"/>
                  </a:lnTo>
                  <a:lnTo>
                    <a:pt x="138" y="17"/>
                  </a:lnTo>
                  <a:lnTo>
                    <a:pt x="143" y="25"/>
                  </a:lnTo>
                  <a:lnTo>
                    <a:pt x="143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380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" name="Freeform 381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382"/>
            <p:cNvSpPr>
              <a:spLocks noEditPoints="1"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  <a:gd name="T18" fmla="*/ 200 w 535"/>
                <a:gd name="T19" fmla="*/ 322 h 541"/>
                <a:gd name="T20" fmla="*/ 299 w 535"/>
                <a:gd name="T21" fmla="*/ 322 h 541"/>
                <a:gd name="T22" fmla="*/ 252 w 535"/>
                <a:gd name="T23" fmla="*/ 137 h 541"/>
                <a:gd name="T24" fmla="*/ 200 w 535"/>
                <a:gd name="T25" fmla="*/ 32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  <a:close/>
                  <a:moveTo>
                    <a:pt x="200" y="322"/>
                  </a:moveTo>
                  <a:lnTo>
                    <a:pt x="299" y="322"/>
                  </a:lnTo>
                  <a:lnTo>
                    <a:pt x="252" y="137"/>
                  </a:lnTo>
                  <a:lnTo>
                    <a:pt x="200" y="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383"/>
            <p:cNvSpPr>
              <a:spLocks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384"/>
            <p:cNvSpPr>
              <a:spLocks/>
            </p:cNvSpPr>
            <p:nvPr/>
          </p:nvSpPr>
          <p:spPr bwMode="auto">
            <a:xfrm>
              <a:off x="6986" y="1551"/>
              <a:ext cx="99" cy="185"/>
            </a:xfrm>
            <a:custGeom>
              <a:avLst/>
              <a:gdLst>
                <a:gd name="T0" fmla="*/ 0 w 99"/>
                <a:gd name="T1" fmla="*/ 185 h 185"/>
                <a:gd name="T2" fmla="*/ 99 w 99"/>
                <a:gd name="T3" fmla="*/ 185 h 185"/>
                <a:gd name="T4" fmla="*/ 52 w 99"/>
                <a:gd name="T5" fmla="*/ 0 h 185"/>
                <a:gd name="T6" fmla="*/ 0 w 99"/>
                <a:gd name="T7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85">
                  <a:moveTo>
                    <a:pt x="0" y="185"/>
                  </a:moveTo>
                  <a:lnTo>
                    <a:pt x="99" y="185"/>
                  </a:lnTo>
                  <a:lnTo>
                    <a:pt x="52" y="0"/>
                  </a:lnTo>
                  <a:lnTo>
                    <a:pt x="0" y="18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385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" name="Freeform 386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" name="Freeform 387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  <a:gd name="T52" fmla="*/ 166 w 166"/>
                <a:gd name="T53" fmla="*/ 5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  <a:lnTo>
                    <a:pt x="166" y="54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6" name="Freeform 388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4785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1130300"/>
            <a:ext cx="3932237" cy="11788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171" y="1130301"/>
            <a:ext cx="6172200" cy="504718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365892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126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2192000" cy="11811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708"/>
            <a:ext cx="12192000" cy="1205784"/>
          </a:xfrm>
          <a:prstGeom prst="rect">
            <a:avLst/>
          </a:prstGeom>
        </p:spPr>
      </p:pic>
      <p:grpSp>
        <p:nvGrpSpPr>
          <p:cNvPr id="11" name="Group 363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11500626" y="6215063"/>
            <a:ext cx="585788" cy="538162"/>
            <a:chOff x="5907" y="1132"/>
            <a:chExt cx="2151" cy="1976"/>
          </a:xfrm>
        </p:grpSpPr>
        <p:sp>
          <p:nvSpPr>
            <p:cNvPr id="12" name="Freeform 364"/>
            <p:cNvSpPr>
              <a:spLocks/>
            </p:cNvSpPr>
            <p:nvPr/>
          </p:nvSpPr>
          <p:spPr bwMode="auto">
            <a:xfrm>
              <a:off x="5966" y="2117"/>
              <a:ext cx="2028" cy="0"/>
            </a:xfrm>
            <a:custGeom>
              <a:avLst/>
              <a:gdLst>
                <a:gd name="T0" fmla="*/ 0 w 2028"/>
                <a:gd name="T1" fmla="*/ 2028 w 2028"/>
                <a:gd name="T2" fmla="*/ 0 w 202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28">
                  <a:moveTo>
                    <a:pt x="0" y="0"/>
                  </a:moveTo>
                  <a:lnTo>
                    <a:pt x="202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Line 365"/>
            <p:cNvSpPr>
              <a:spLocks noChangeShapeType="1"/>
            </p:cNvSpPr>
            <p:nvPr/>
          </p:nvSpPr>
          <p:spPr bwMode="auto">
            <a:xfrm>
              <a:off x="5966" y="2117"/>
              <a:ext cx="202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Rectangle 366"/>
            <p:cNvSpPr>
              <a:spLocks noChangeArrowheads="1"/>
            </p:cNvSpPr>
            <p:nvPr/>
          </p:nvSpPr>
          <p:spPr bwMode="auto">
            <a:xfrm>
              <a:off x="5968" y="1194"/>
              <a:ext cx="2030" cy="1853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367"/>
            <p:cNvSpPr>
              <a:spLocks noEditPoints="1"/>
            </p:cNvSpPr>
            <p:nvPr/>
          </p:nvSpPr>
          <p:spPr bwMode="auto">
            <a:xfrm>
              <a:off x="5907" y="1132"/>
              <a:ext cx="2151" cy="1976"/>
            </a:xfrm>
            <a:custGeom>
              <a:avLst/>
              <a:gdLst>
                <a:gd name="T0" fmla="*/ 0 w 2151"/>
                <a:gd name="T1" fmla="*/ 1976 h 1976"/>
                <a:gd name="T2" fmla="*/ 2151 w 2151"/>
                <a:gd name="T3" fmla="*/ 1976 h 1976"/>
                <a:gd name="T4" fmla="*/ 2151 w 2151"/>
                <a:gd name="T5" fmla="*/ 0 h 1976"/>
                <a:gd name="T6" fmla="*/ 0 w 2151"/>
                <a:gd name="T7" fmla="*/ 0 h 1976"/>
                <a:gd name="T8" fmla="*/ 0 w 2151"/>
                <a:gd name="T9" fmla="*/ 1976 h 1976"/>
                <a:gd name="T10" fmla="*/ 123 w 2151"/>
                <a:gd name="T11" fmla="*/ 1854 h 1976"/>
                <a:gd name="T12" fmla="*/ 123 w 2151"/>
                <a:gd name="T13" fmla="*/ 1854 h 1976"/>
                <a:gd name="T14" fmla="*/ 123 w 2151"/>
                <a:gd name="T15" fmla="*/ 1046 h 1976"/>
                <a:gd name="T16" fmla="*/ 2030 w 2151"/>
                <a:gd name="T17" fmla="*/ 1046 h 1976"/>
                <a:gd name="T18" fmla="*/ 2030 w 2151"/>
                <a:gd name="T19" fmla="*/ 1046 h 1976"/>
                <a:gd name="T20" fmla="*/ 2030 w 2151"/>
                <a:gd name="T21" fmla="*/ 1854 h 1976"/>
                <a:gd name="T22" fmla="*/ 2030 w 2151"/>
                <a:gd name="T23" fmla="*/ 1854 h 1976"/>
                <a:gd name="T24" fmla="*/ 123 w 2151"/>
                <a:gd name="T25" fmla="*/ 1854 h 1976"/>
                <a:gd name="T26" fmla="*/ 123 w 2151"/>
                <a:gd name="T27" fmla="*/ 1854 h 1976"/>
                <a:gd name="T28" fmla="*/ 2030 w 2151"/>
                <a:gd name="T29" fmla="*/ 123 h 1976"/>
                <a:gd name="T30" fmla="*/ 2030 w 2151"/>
                <a:gd name="T31" fmla="*/ 123 h 1976"/>
                <a:gd name="T32" fmla="*/ 2030 w 2151"/>
                <a:gd name="T33" fmla="*/ 924 h 1976"/>
                <a:gd name="T34" fmla="*/ 123 w 2151"/>
                <a:gd name="T35" fmla="*/ 924 h 1976"/>
                <a:gd name="T36" fmla="*/ 123 w 2151"/>
                <a:gd name="T37" fmla="*/ 924 h 1976"/>
                <a:gd name="T38" fmla="*/ 123 w 2151"/>
                <a:gd name="T39" fmla="*/ 123 h 1976"/>
                <a:gd name="T40" fmla="*/ 123 w 2151"/>
                <a:gd name="T41" fmla="*/ 123 h 1976"/>
                <a:gd name="T42" fmla="*/ 2030 w 2151"/>
                <a:gd name="T43" fmla="*/ 123 h 1976"/>
                <a:gd name="T44" fmla="*/ 2030 w 2151"/>
                <a:gd name="T45" fmla="*/ 123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51" h="1976">
                  <a:moveTo>
                    <a:pt x="0" y="1976"/>
                  </a:moveTo>
                  <a:lnTo>
                    <a:pt x="2151" y="1976"/>
                  </a:lnTo>
                  <a:lnTo>
                    <a:pt x="2151" y="0"/>
                  </a:lnTo>
                  <a:lnTo>
                    <a:pt x="0" y="0"/>
                  </a:lnTo>
                  <a:lnTo>
                    <a:pt x="0" y="1976"/>
                  </a:lnTo>
                  <a:close/>
                  <a:moveTo>
                    <a:pt x="123" y="1854"/>
                  </a:moveTo>
                  <a:lnTo>
                    <a:pt x="123" y="1854"/>
                  </a:lnTo>
                  <a:lnTo>
                    <a:pt x="123" y="1046"/>
                  </a:lnTo>
                  <a:lnTo>
                    <a:pt x="2030" y="1046"/>
                  </a:lnTo>
                  <a:lnTo>
                    <a:pt x="2030" y="1046"/>
                  </a:lnTo>
                  <a:lnTo>
                    <a:pt x="2030" y="1854"/>
                  </a:lnTo>
                  <a:lnTo>
                    <a:pt x="2030" y="1854"/>
                  </a:lnTo>
                  <a:lnTo>
                    <a:pt x="123" y="1854"/>
                  </a:lnTo>
                  <a:lnTo>
                    <a:pt x="123" y="1854"/>
                  </a:lnTo>
                  <a:close/>
                  <a:moveTo>
                    <a:pt x="2030" y="123"/>
                  </a:moveTo>
                  <a:lnTo>
                    <a:pt x="2030" y="123"/>
                  </a:lnTo>
                  <a:lnTo>
                    <a:pt x="2030" y="924"/>
                  </a:lnTo>
                  <a:lnTo>
                    <a:pt x="123" y="924"/>
                  </a:lnTo>
                  <a:lnTo>
                    <a:pt x="123" y="924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2030" y="123"/>
                  </a:lnTo>
                  <a:lnTo>
                    <a:pt x="2030" y="123"/>
                  </a:lnTo>
                  <a:close/>
                </a:path>
              </a:pathLst>
            </a:custGeom>
            <a:solidFill>
              <a:srgbClr val="EF3E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368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64 h 587"/>
                <a:gd name="T34" fmla="*/ 953 w 1552"/>
                <a:gd name="T35" fmla="*/ 227 h 587"/>
                <a:gd name="T36" fmla="*/ 960 w 1552"/>
                <a:gd name="T37" fmla="*/ 419 h 587"/>
                <a:gd name="T38" fmla="*/ 968 w 1552"/>
                <a:gd name="T39" fmla="*/ 519 h 587"/>
                <a:gd name="T40" fmla="*/ 1034 w 1552"/>
                <a:gd name="T41" fmla="*/ 540 h 587"/>
                <a:gd name="T42" fmla="*/ 1039 w 1552"/>
                <a:gd name="T43" fmla="*/ 458 h 587"/>
                <a:gd name="T44" fmla="*/ 1039 w 1552"/>
                <a:gd name="T45" fmla="*/ 261 h 587"/>
                <a:gd name="T46" fmla="*/ 994 w 1552"/>
                <a:gd name="T47" fmla="*/ 69 h 587"/>
                <a:gd name="T48" fmla="*/ 936 w 1552"/>
                <a:gd name="T49" fmla="*/ 39 h 587"/>
                <a:gd name="T50" fmla="*/ 830 w 1552"/>
                <a:gd name="T51" fmla="*/ 196 h 587"/>
                <a:gd name="T52" fmla="*/ 786 w 1552"/>
                <a:gd name="T53" fmla="*/ 190 h 587"/>
                <a:gd name="T54" fmla="*/ 145 w 1552"/>
                <a:gd name="T55" fmla="*/ 250 h 587"/>
                <a:gd name="T56" fmla="*/ 15 w 1552"/>
                <a:gd name="T57" fmla="*/ 327 h 587"/>
                <a:gd name="T58" fmla="*/ 2 w 1552"/>
                <a:gd name="T59" fmla="*/ 471 h 587"/>
                <a:gd name="T60" fmla="*/ 32 w 1552"/>
                <a:gd name="T61" fmla="*/ 570 h 587"/>
                <a:gd name="T62" fmla="*/ 197 w 1552"/>
                <a:gd name="T63" fmla="*/ 579 h 587"/>
                <a:gd name="T64" fmla="*/ 244 w 1552"/>
                <a:gd name="T65" fmla="*/ 530 h 587"/>
                <a:gd name="T66" fmla="*/ 128 w 1552"/>
                <a:gd name="T67" fmla="*/ 542 h 587"/>
                <a:gd name="T68" fmla="*/ 76 w 1552"/>
                <a:gd name="T69" fmla="*/ 485 h 587"/>
                <a:gd name="T70" fmla="*/ 83 w 1552"/>
                <a:gd name="T71" fmla="*/ 333 h 587"/>
                <a:gd name="T72" fmla="*/ 156 w 1552"/>
                <a:gd name="T73" fmla="*/ 291 h 587"/>
                <a:gd name="T74" fmla="*/ 211 w 1552"/>
                <a:gd name="T75" fmla="*/ 276 h 587"/>
                <a:gd name="T76" fmla="*/ 773 w 1552"/>
                <a:gd name="T77" fmla="*/ 304 h 587"/>
                <a:gd name="T78" fmla="*/ 725 w 1552"/>
                <a:gd name="T79" fmla="*/ 509 h 587"/>
                <a:gd name="T80" fmla="*/ 776 w 1552"/>
                <a:gd name="T81" fmla="*/ 579 h 587"/>
                <a:gd name="T82" fmla="*/ 809 w 1552"/>
                <a:gd name="T83" fmla="*/ 542 h 587"/>
                <a:gd name="T84" fmla="*/ 806 w 1552"/>
                <a:gd name="T85" fmla="*/ 472 h 587"/>
                <a:gd name="T86" fmla="*/ 827 w 1552"/>
                <a:gd name="T87" fmla="*/ 297 h 587"/>
                <a:gd name="T88" fmla="*/ 1480 w 1552"/>
                <a:gd name="T89" fmla="*/ 37 h 587"/>
                <a:gd name="T90" fmla="*/ 1483 w 1552"/>
                <a:gd name="T91" fmla="*/ 320 h 587"/>
                <a:gd name="T92" fmla="*/ 1416 w 1552"/>
                <a:gd name="T93" fmla="*/ 310 h 587"/>
                <a:gd name="T94" fmla="*/ 1361 w 1552"/>
                <a:gd name="T95" fmla="*/ 287 h 587"/>
                <a:gd name="T96" fmla="*/ 1216 w 1552"/>
                <a:gd name="T97" fmla="*/ 334 h 587"/>
                <a:gd name="T98" fmla="*/ 1183 w 1552"/>
                <a:gd name="T99" fmla="*/ 473 h 587"/>
                <a:gd name="T100" fmla="*/ 1227 w 1552"/>
                <a:gd name="T101" fmla="*/ 540 h 587"/>
                <a:gd name="T102" fmla="*/ 1392 w 1552"/>
                <a:gd name="T103" fmla="*/ 579 h 587"/>
                <a:gd name="T104" fmla="*/ 1455 w 1552"/>
                <a:gd name="T105" fmla="*/ 540 h 587"/>
                <a:gd name="T106" fmla="*/ 1525 w 1552"/>
                <a:gd name="T107" fmla="*/ 577 h 587"/>
                <a:gd name="T108" fmla="*/ 1536 w 1552"/>
                <a:gd name="T109" fmla="*/ 506 h 587"/>
                <a:gd name="T110" fmla="*/ 1540 w 1552"/>
                <a:gd name="T111" fmla="*/ 236 h 587"/>
                <a:gd name="T112" fmla="*/ 1510 w 1552"/>
                <a:gd name="T113" fmla="*/ 39 h 587"/>
                <a:gd name="T114" fmla="*/ 1412 w 1552"/>
                <a:gd name="T115" fmla="*/ 402 h 587"/>
                <a:gd name="T116" fmla="*/ 1382 w 1552"/>
                <a:gd name="T117" fmla="*/ 530 h 587"/>
                <a:gd name="T118" fmla="*/ 1274 w 1552"/>
                <a:gd name="T119" fmla="*/ 490 h 587"/>
                <a:gd name="T120" fmla="*/ 1268 w 1552"/>
                <a:gd name="T121" fmla="*/ 377 h 587"/>
                <a:gd name="T122" fmla="*/ 1377 w 1552"/>
                <a:gd name="T123" fmla="*/ 337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noFill/>
            <a:ln w="0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369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370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371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  <a:gd name="T42" fmla="*/ 0 w 57"/>
                <a:gd name="T43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372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79 h 587"/>
                <a:gd name="T34" fmla="*/ 954 w 1552"/>
                <a:gd name="T35" fmla="*/ 298 h 587"/>
                <a:gd name="T36" fmla="*/ 958 w 1552"/>
                <a:gd name="T37" fmla="*/ 429 h 587"/>
                <a:gd name="T38" fmla="*/ 968 w 1552"/>
                <a:gd name="T39" fmla="*/ 519 h 587"/>
                <a:gd name="T40" fmla="*/ 1039 w 1552"/>
                <a:gd name="T41" fmla="*/ 537 h 587"/>
                <a:gd name="T42" fmla="*/ 1038 w 1552"/>
                <a:gd name="T43" fmla="*/ 445 h 587"/>
                <a:gd name="T44" fmla="*/ 1037 w 1552"/>
                <a:gd name="T45" fmla="*/ 249 h 587"/>
                <a:gd name="T46" fmla="*/ 994 w 1552"/>
                <a:gd name="T47" fmla="*/ 48 h 587"/>
                <a:gd name="T48" fmla="*/ 936 w 1552"/>
                <a:gd name="T49" fmla="*/ 39 h 587"/>
                <a:gd name="T50" fmla="*/ 833 w 1552"/>
                <a:gd name="T51" fmla="*/ 192 h 587"/>
                <a:gd name="T52" fmla="*/ 782 w 1552"/>
                <a:gd name="T53" fmla="*/ 196 h 587"/>
                <a:gd name="T54" fmla="*/ 133 w 1552"/>
                <a:gd name="T55" fmla="*/ 253 h 587"/>
                <a:gd name="T56" fmla="*/ 9 w 1552"/>
                <a:gd name="T57" fmla="*/ 335 h 587"/>
                <a:gd name="T58" fmla="*/ 5 w 1552"/>
                <a:gd name="T59" fmla="*/ 482 h 587"/>
                <a:gd name="T60" fmla="*/ 42 w 1552"/>
                <a:gd name="T61" fmla="*/ 574 h 587"/>
                <a:gd name="T62" fmla="*/ 211 w 1552"/>
                <a:gd name="T63" fmla="*/ 574 h 587"/>
                <a:gd name="T64" fmla="*/ 244 w 1552"/>
                <a:gd name="T65" fmla="*/ 530 h 587"/>
                <a:gd name="T66" fmla="*/ 118 w 1552"/>
                <a:gd name="T67" fmla="*/ 539 h 587"/>
                <a:gd name="T68" fmla="*/ 76 w 1552"/>
                <a:gd name="T69" fmla="*/ 485 h 587"/>
                <a:gd name="T70" fmla="*/ 89 w 1552"/>
                <a:gd name="T71" fmla="*/ 324 h 587"/>
                <a:gd name="T72" fmla="*/ 166 w 1552"/>
                <a:gd name="T73" fmla="*/ 286 h 587"/>
                <a:gd name="T74" fmla="*/ 213 w 1552"/>
                <a:gd name="T75" fmla="*/ 274 h 587"/>
                <a:gd name="T76" fmla="*/ 768 w 1552"/>
                <a:gd name="T77" fmla="*/ 314 h 587"/>
                <a:gd name="T78" fmla="*/ 728 w 1552"/>
                <a:gd name="T79" fmla="*/ 529 h 587"/>
                <a:gd name="T80" fmla="*/ 783 w 1552"/>
                <a:gd name="T81" fmla="*/ 577 h 587"/>
                <a:gd name="T82" fmla="*/ 806 w 1552"/>
                <a:gd name="T83" fmla="*/ 533 h 587"/>
                <a:gd name="T84" fmla="*/ 815 w 1552"/>
                <a:gd name="T85" fmla="*/ 451 h 587"/>
                <a:gd name="T86" fmla="*/ 825 w 1552"/>
                <a:gd name="T87" fmla="*/ 293 h 587"/>
                <a:gd name="T88" fmla="*/ 1476 w 1552"/>
                <a:gd name="T89" fmla="*/ 42 h 587"/>
                <a:gd name="T90" fmla="*/ 1482 w 1552"/>
                <a:gd name="T91" fmla="*/ 355 h 587"/>
                <a:gd name="T92" fmla="*/ 1416 w 1552"/>
                <a:gd name="T93" fmla="*/ 305 h 587"/>
                <a:gd name="T94" fmla="*/ 1352 w 1552"/>
                <a:gd name="T95" fmla="*/ 293 h 587"/>
                <a:gd name="T96" fmla="*/ 1204 w 1552"/>
                <a:gd name="T97" fmla="*/ 341 h 587"/>
                <a:gd name="T98" fmla="*/ 1187 w 1552"/>
                <a:gd name="T99" fmla="*/ 483 h 587"/>
                <a:gd name="T100" fmla="*/ 1237 w 1552"/>
                <a:gd name="T101" fmla="*/ 540 h 587"/>
                <a:gd name="T102" fmla="*/ 1399 w 1552"/>
                <a:gd name="T103" fmla="*/ 576 h 587"/>
                <a:gd name="T104" fmla="*/ 1461 w 1552"/>
                <a:gd name="T105" fmla="*/ 542 h 587"/>
                <a:gd name="T106" fmla="*/ 1536 w 1552"/>
                <a:gd name="T107" fmla="*/ 573 h 587"/>
                <a:gd name="T108" fmla="*/ 1533 w 1552"/>
                <a:gd name="T109" fmla="*/ 496 h 587"/>
                <a:gd name="T110" fmla="*/ 1537 w 1552"/>
                <a:gd name="T111" fmla="*/ 196 h 587"/>
                <a:gd name="T112" fmla="*/ 1503 w 1552"/>
                <a:gd name="T113" fmla="*/ 37 h 587"/>
                <a:gd name="T114" fmla="*/ 1416 w 1552"/>
                <a:gd name="T115" fmla="*/ 408 h 587"/>
                <a:gd name="T116" fmla="*/ 1369 w 1552"/>
                <a:gd name="T117" fmla="*/ 535 h 587"/>
                <a:gd name="T118" fmla="*/ 1274 w 1552"/>
                <a:gd name="T119" fmla="*/ 490 h 587"/>
                <a:gd name="T120" fmla="*/ 1276 w 1552"/>
                <a:gd name="T121" fmla="*/ 365 h 587"/>
                <a:gd name="T122" fmla="*/ 1385 w 1552"/>
                <a:gd name="T123" fmla="*/ 34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373"/>
            <p:cNvSpPr>
              <a:spLocks/>
            </p:cNvSpPr>
            <p:nvPr/>
          </p:nvSpPr>
          <p:spPr bwMode="auto">
            <a:xfrm>
              <a:off x="6526" y="2285"/>
              <a:ext cx="299" cy="549"/>
            </a:xfrm>
            <a:custGeom>
              <a:avLst/>
              <a:gdLst>
                <a:gd name="T0" fmla="*/ 97 w 299"/>
                <a:gd name="T1" fmla="*/ 84 h 549"/>
                <a:gd name="T2" fmla="*/ 114 w 299"/>
                <a:gd name="T3" fmla="*/ 197 h 549"/>
                <a:gd name="T4" fmla="*/ 125 w 299"/>
                <a:gd name="T5" fmla="*/ 241 h 549"/>
                <a:gd name="T6" fmla="*/ 118 w 299"/>
                <a:gd name="T7" fmla="*/ 280 h 549"/>
                <a:gd name="T8" fmla="*/ 122 w 299"/>
                <a:gd name="T9" fmla="*/ 304 h 549"/>
                <a:gd name="T10" fmla="*/ 196 w 299"/>
                <a:gd name="T11" fmla="*/ 301 h 549"/>
                <a:gd name="T12" fmla="*/ 243 w 299"/>
                <a:gd name="T13" fmla="*/ 310 h 549"/>
                <a:gd name="T14" fmla="*/ 272 w 299"/>
                <a:gd name="T15" fmla="*/ 325 h 549"/>
                <a:gd name="T16" fmla="*/ 292 w 299"/>
                <a:gd name="T17" fmla="*/ 355 h 549"/>
                <a:gd name="T18" fmla="*/ 297 w 299"/>
                <a:gd name="T19" fmla="*/ 421 h 549"/>
                <a:gd name="T20" fmla="*/ 296 w 299"/>
                <a:gd name="T21" fmla="*/ 489 h 549"/>
                <a:gd name="T22" fmla="*/ 286 w 299"/>
                <a:gd name="T23" fmla="*/ 519 h 549"/>
                <a:gd name="T24" fmla="*/ 276 w 299"/>
                <a:gd name="T25" fmla="*/ 535 h 549"/>
                <a:gd name="T26" fmla="*/ 258 w 299"/>
                <a:gd name="T27" fmla="*/ 546 h 549"/>
                <a:gd name="T28" fmla="*/ 236 w 299"/>
                <a:gd name="T29" fmla="*/ 547 h 549"/>
                <a:gd name="T30" fmla="*/ 223 w 299"/>
                <a:gd name="T31" fmla="*/ 540 h 549"/>
                <a:gd name="T32" fmla="*/ 218 w 299"/>
                <a:gd name="T33" fmla="*/ 523 h 549"/>
                <a:gd name="T34" fmla="*/ 225 w 299"/>
                <a:gd name="T35" fmla="*/ 493 h 549"/>
                <a:gd name="T36" fmla="*/ 232 w 299"/>
                <a:gd name="T37" fmla="*/ 446 h 549"/>
                <a:gd name="T38" fmla="*/ 229 w 299"/>
                <a:gd name="T39" fmla="*/ 398 h 549"/>
                <a:gd name="T40" fmla="*/ 216 w 299"/>
                <a:gd name="T41" fmla="*/ 372 h 549"/>
                <a:gd name="T42" fmla="*/ 198 w 299"/>
                <a:gd name="T43" fmla="*/ 352 h 549"/>
                <a:gd name="T44" fmla="*/ 159 w 299"/>
                <a:gd name="T45" fmla="*/ 340 h 549"/>
                <a:gd name="T46" fmla="*/ 118 w 299"/>
                <a:gd name="T47" fmla="*/ 341 h 549"/>
                <a:gd name="T48" fmla="*/ 108 w 299"/>
                <a:gd name="T49" fmla="*/ 355 h 549"/>
                <a:gd name="T50" fmla="*/ 97 w 299"/>
                <a:gd name="T51" fmla="*/ 388 h 549"/>
                <a:gd name="T52" fmla="*/ 94 w 299"/>
                <a:gd name="T53" fmla="*/ 445 h 549"/>
                <a:gd name="T54" fmla="*/ 94 w 299"/>
                <a:gd name="T55" fmla="*/ 492 h 549"/>
                <a:gd name="T56" fmla="*/ 90 w 299"/>
                <a:gd name="T57" fmla="*/ 519 h 549"/>
                <a:gd name="T58" fmla="*/ 77 w 299"/>
                <a:gd name="T59" fmla="*/ 542 h 549"/>
                <a:gd name="T60" fmla="*/ 61 w 299"/>
                <a:gd name="T61" fmla="*/ 549 h 549"/>
                <a:gd name="T62" fmla="*/ 38 w 299"/>
                <a:gd name="T63" fmla="*/ 544 h 549"/>
                <a:gd name="T64" fmla="*/ 23 w 299"/>
                <a:gd name="T65" fmla="*/ 532 h 549"/>
                <a:gd name="T66" fmla="*/ 19 w 299"/>
                <a:gd name="T67" fmla="*/ 503 h 549"/>
                <a:gd name="T68" fmla="*/ 26 w 299"/>
                <a:gd name="T69" fmla="*/ 436 h 549"/>
                <a:gd name="T70" fmla="*/ 21 w 299"/>
                <a:gd name="T71" fmla="*/ 395 h 549"/>
                <a:gd name="T72" fmla="*/ 7 w 299"/>
                <a:gd name="T73" fmla="*/ 370 h 549"/>
                <a:gd name="T74" fmla="*/ 0 w 299"/>
                <a:gd name="T75" fmla="*/ 358 h 549"/>
                <a:gd name="T76" fmla="*/ 16 w 299"/>
                <a:gd name="T77" fmla="*/ 344 h 549"/>
                <a:gd name="T78" fmla="*/ 37 w 299"/>
                <a:gd name="T79" fmla="*/ 331 h 549"/>
                <a:gd name="T80" fmla="*/ 43 w 299"/>
                <a:gd name="T81" fmla="*/ 320 h 549"/>
                <a:gd name="T82" fmla="*/ 51 w 299"/>
                <a:gd name="T83" fmla="*/ 305 h 549"/>
                <a:gd name="T84" fmla="*/ 67 w 299"/>
                <a:gd name="T85" fmla="*/ 276 h 549"/>
                <a:gd name="T86" fmla="*/ 71 w 299"/>
                <a:gd name="T87" fmla="*/ 241 h 549"/>
                <a:gd name="T88" fmla="*/ 65 w 299"/>
                <a:gd name="T89" fmla="*/ 224 h 549"/>
                <a:gd name="T90" fmla="*/ 57 w 299"/>
                <a:gd name="T91" fmla="*/ 190 h 549"/>
                <a:gd name="T92" fmla="*/ 57 w 299"/>
                <a:gd name="T93" fmla="*/ 146 h 549"/>
                <a:gd name="T94" fmla="*/ 50 w 299"/>
                <a:gd name="T95" fmla="*/ 121 h 549"/>
                <a:gd name="T96" fmla="*/ 37 w 299"/>
                <a:gd name="T97" fmla="*/ 74 h 549"/>
                <a:gd name="T98" fmla="*/ 33 w 299"/>
                <a:gd name="T99" fmla="*/ 32 h 549"/>
                <a:gd name="T100" fmla="*/ 41 w 299"/>
                <a:gd name="T101" fmla="*/ 11 h 549"/>
                <a:gd name="T102" fmla="*/ 54 w 299"/>
                <a:gd name="T103" fmla="*/ 0 h 549"/>
                <a:gd name="T104" fmla="*/ 77 w 299"/>
                <a:gd name="T105" fmla="*/ 15 h 549"/>
                <a:gd name="T106" fmla="*/ 87 w 299"/>
                <a:gd name="T107" fmla="*/ 44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9" h="549">
                  <a:moveTo>
                    <a:pt x="91" y="62"/>
                  </a:moveTo>
                  <a:lnTo>
                    <a:pt x="91" y="62"/>
                  </a:lnTo>
                  <a:lnTo>
                    <a:pt x="97" y="84"/>
                  </a:lnTo>
                  <a:lnTo>
                    <a:pt x="102" y="105"/>
                  </a:lnTo>
                  <a:lnTo>
                    <a:pt x="108" y="152"/>
                  </a:lnTo>
                  <a:lnTo>
                    <a:pt x="114" y="197"/>
                  </a:lnTo>
                  <a:lnTo>
                    <a:pt x="118" y="219"/>
                  </a:lnTo>
                  <a:lnTo>
                    <a:pt x="125" y="241"/>
                  </a:lnTo>
                  <a:lnTo>
                    <a:pt x="125" y="241"/>
                  </a:lnTo>
                  <a:lnTo>
                    <a:pt x="121" y="256"/>
                  </a:lnTo>
                  <a:lnTo>
                    <a:pt x="118" y="273"/>
                  </a:lnTo>
                  <a:lnTo>
                    <a:pt x="118" y="280"/>
                  </a:lnTo>
                  <a:lnTo>
                    <a:pt x="118" y="288"/>
                  </a:lnTo>
                  <a:lnTo>
                    <a:pt x="120" y="296"/>
                  </a:lnTo>
                  <a:lnTo>
                    <a:pt x="122" y="304"/>
                  </a:lnTo>
                  <a:lnTo>
                    <a:pt x="122" y="304"/>
                  </a:lnTo>
                  <a:lnTo>
                    <a:pt x="171" y="301"/>
                  </a:lnTo>
                  <a:lnTo>
                    <a:pt x="196" y="301"/>
                  </a:lnTo>
                  <a:lnTo>
                    <a:pt x="221" y="304"/>
                  </a:lnTo>
                  <a:lnTo>
                    <a:pt x="232" y="305"/>
                  </a:lnTo>
                  <a:lnTo>
                    <a:pt x="243" y="310"/>
                  </a:lnTo>
                  <a:lnTo>
                    <a:pt x="253" y="314"/>
                  </a:lnTo>
                  <a:lnTo>
                    <a:pt x="263" y="318"/>
                  </a:lnTo>
                  <a:lnTo>
                    <a:pt x="272" y="325"/>
                  </a:lnTo>
                  <a:lnTo>
                    <a:pt x="279" y="334"/>
                  </a:lnTo>
                  <a:lnTo>
                    <a:pt x="286" y="344"/>
                  </a:lnTo>
                  <a:lnTo>
                    <a:pt x="292" y="355"/>
                  </a:lnTo>
                  <a:lnTo>
                    <a:pt x="292" y="355"/>
                  </a:lnTo>
                  <a:lnTo>
                    <a:pt x="296" y="398"/>
                  </a:lnTo>
                  <a:lnTo>
                    <a:pt x="297" y="421"/>
                  </a:lnTo>
                  <a:lnTo>
                    <a:pt x="299" y="445"/>
                  </a:lnTo>
                  <a:lnTo>
                    <a:pt x="299" y="468"/>
                  </a:lnTo>
                  <a:lnTo>
                    <a:pt x="296" y="489"/>
                  </a:lnTo>
                  <a:lnTo>
                    <a:pt x="293" y="499"/>
                  </a:lnTo>
                  <a:lnTo>
                    <a:pt x="290" y="510"/>
                  </a:lnTo>
                  <a:lnTo>
                    <a:pt x="286" y="519"/>
                  </a:lnTo>
                  <a:lnTo>
                    <a:pt x="280" y="529"/>
                  </a:lnTo>
                  <a:lnTo>
                    <a:pt x="280" y="529"/>
                  </a:lnTo>
                  <a:lnTo>
                    <a:pt x="276" y="535"/>
                  </a:lnTo>
                  <a:lnTo>
                    <a:pt x="270" y="539"/>
                  </a:lnTo>
                  <a:lnTo>
                    <a:pt x="263" y="543"/>
                  </a:lnTo>
                  <a:lnTo>
                    <a:pt x="258" y="546"/>
                  </a:lnTo>
                  <a:lnTo>
                    <a:pt x="250" y="547"/>
                  </a:lnTo>
                  <a:lnTo>
                    <a:pt x="243" y="547"/>
                  </a:lnTo>
                  <a:lnTo>
                    <a:pt x="236" y="547"/>
                  </a:lnTo>
                  <a:lnTo>
                    <a:pt x="229" y="546"/>
                  </a:lnTo>
                  <a:lnTo>
                    <a:pt x="229" y="546"/>
                  </a:lnTo>
                  <a:lnTo>
                    <a:pt x="223" y="540"/>
                  </a:lnTo>
                  <a:lnTo>
                    <a:pt x="221" y="536"/>
                  </a:lnTo>
                  <a:lnTo>
                    <a:pt x="219" y="530"/>
                  </a:lnTo>
                  <a:lnTo>
                    <a:pt x="218" y="523"/>
                  </a:lnTo>
                  <a:lnTo>
                    <a:pt x="219" y="512"/>
                  </a:lnTo>
                  <a:lnTo>
                    <a:pt x="221" y="499"/>
                  </a:lnTo>
                  <a:lnTo>
                    <a:pt x="225" y="493"/>
                  </a:lnTo>
                  <a:lnTo>
                    <a:pt x="225" y="493"/>
                  </a:lnTo>
                  <a:lnTo>
                    <a:pt x="229" y="463"/>
                  </a:lnTo>
                  <a:lnTo>
                    <a:pt x="232" y="446"/>
                  </a:lnTo>
                  <a:lnTo>
                    <a:pt x="232" y="431"/>
                  </a:lnTo>
                  <a:lnTo>
                    <a:pt x="232" y="414"/>
                  </a:lnTo>
                  <a:lnTo>
                    <a:pt x="229" y="398"/>
                  </a:lnTo>
                  <a:lnTo>
                    <a:pt x="223" y="385"/>
                  </a:lnTo>
                  <a:lnTo>
                    <a:pt x="221" y="378"/>
                  </a:lnTo>
                  <a:lnTo>
                    <a:pt x="216" y="372"/>
                  </a:lnTo>
                  <a:lnTo>
                    <a:pt x="216" y="372"/>
                  </a:lnTo>
                  <a:lnTo>
                    <a:pt x="208" y="361"/>
                  </a:lnTo>
                  <a:lnTo>
                    <a:pt x="198" y="352"/>
                  </a:lnTo>
                  <a:lnTo>
                    <a:pt x="186" y="347"/>
                  </a:lnTo>
                  <a:lnTo>
                    <a:pt x="174" y="342"/>
                  </a:lnTo>
                  <a:lnTo>
                    <a:pt x="159" y="340"/>
                  </a:lnTo>
                  <a:lnTo>
                    <a:pt x="147" y="338"/>
                  </a:lnTo>
                  <a:lnTo>
                    <a:pt x="132" y="340"/>
                  </a:lnTo>
                  <a:lnTo>
                    <a:pt x="118" y="341"/>
                  </a:lnTo>
                  <a:lnTo>
                    <a:pt x="118" y="341"/>
                  </a:lnTo>
                  <a:lnTo>
                    <a:pt x="112" y="348"/>
                  </a:lnTo>
                  <a:lnTo>
                    <a:pt x="108" y="355"/>
                  </a:lnTo>
                  <a:lnTo>
                    <a:pt x="104" y="362"/>
                  </a:lnTo>
                  <a:lnTo>
                    <a:pt x="101" y="371"/>
                  </a:lnTo>
                  <a:lnTo>
                    <a:pt x="97" y="388"/>
                  </a:lnTo>
                  <a:lnTo>
                    <a:pt x="94" y="405"/>
                  </a:lnTo>
                  <a:lnTo>
                    <a:pt x="94" y="425"/>
                  </a:lnTo>
                  <a:lnTo>
                    <a:pt x="94" y="445"/>
                  </a:lnTo>
                  <a:lnTo>
                    <a:pt x="94" y="483"/>
                  </a:lnTo>
                  <a:lnTo>
                    <a:pt x="94" y="483"/>
                  </a:lnTo>
                  <a:lnTo>
                    <a:pt x="94" y="492"/>
                  </a:lnTo>
                  <a:lnTo>
                    <a:pt x="94" y="500"/>
                  </a:lnTo>
                  <a:lnTo>
                    <a:pt x="93" y="510"/>
                  </a:lnTo>
                  <a:lnTo>
                    <a:pt x="90" y="519"/>
                  </a:lnTo>
                  <a:lnTo>
                    <a:pt x="87" y="527"/>
                  </a:lnTo>
                  <a:lnTo>
                    <a:pt x="83" y="535"/>
                  </a:lnTo>
                  <a:lnTo>
                    <a:pt x="77" y="542"/>
                  </a:lnTo>
                  <a:lnTo>
                    <a:pt x="70" y="547"/>
                  </a:lnTo>
                  <a:lnTo>
                    <a:pt x="70" y="547"/>
                  </a:lnTo>
                  <a:lnTo>
                    <a:pt x="61" y="549"/>
                  </a:lnTo>
                  <a:lnTo>
                    <a:pt x="53" y="547"/>
                  </a:lnTo>
                  <a:lnTo>
                    <a:pt x="46" y="547"/>
                  </a:lnTo>
                  <a:lnTo>
                    <a:pt x="38" y="544"/>
                  </a:lnTo>
                  <a:lnTo>
                    <a:pt x="33" y="542"/>
                  </a:lnTo>
                  <a:lnTo>
                    <a:pt x="27" y="537"/>
                  </a:lnTo>
                  <a:lnTo>
                    <a:pt x="23" y="532"/>
                  </a:lnTo>
                  <a:lnTo>
                    <a:pt x="19" y="525"/>
                  </a:lnTo>
                  <a:lnTo>
                    <a:pt x="19" y="525"/>
                  </a:lnTo>
                  <a:lnTo>
                    <a:pt x="19" y="503"/>
                  </a:lnTo>
                  <a:lnTo>
                    <a:pt x="20" y="482"/>
                  </a:lnTo>
                  <a:lnTo>
                    <a:pt x="23" y="459"/>
                  </a:lnTo>
                  <a:lnTo>
                    <a:pt x="26" y="436"/>
                  </a:lnTo>
                  <a:lnTo>
                    <a:pt x="26" y="415"/>
                  </a:lnTo>
                  <a:lnTo>
                    <a:pt x="24" y="405"/>
                  </a:lnTo>
                  <a:lnTo>
                    <a:pt x="21" y="395"/>
                  </a:lnTo>
                  <a:lnTo>
                    <a:pt x="19" y="387"/>
                  </a:lnTo>
                  <a:lnTo>
                    <a:pt x="14" y="377"/>
                  </a:lnTo>
                  <a:lnTo>
                    <a:pt x="7" y="370"/>
                  </a:lnTo>
                  <a:lnTo>
                    <a:pt x="0" y="362"/>
                  </a:lnTo>
                  <a:lnTo>
                    <a:pt x="0" y="362"/>
                  </a:lnTo>
                  <a:lnTo>
                    <a:pt x="0" y="358"/>
                  </a:lnTo>
                  <a:lnTo>
                    <a:pt x="3" y="354"/>
                  </a:lnTo>
                  <a:lnTo>
                    <a:pt x="7" y="348"/>
                  </a:lnTo>
                  <a:lnTo>
                    <a:pt x="16" y="344"/>
                  </a:lnTo>
                  <a:lnTo>
                    <a:pt x="23" y="340"/>
                  </a:lnTo>
                  <a:lnTo>
                    <a:pt x="31" y="337"/>
                  </a:lnTo>
                  <a:lnTo>
                    <a:pt x="37" y="331"/>
                  </a:lnTo>
                  <a:lnTo>
                    <a:pt x="40" y="328"/>
                  </a:lnTo>
                  <a:lnTo>
                    <a:pt x="41" y="324"/>
                  </a:lnTo>
                  <a:lnTo>
                    <a:pt x="43" y="320"/>
                  </a:lnTo>
                  <a:lnTo>
                    <a:pt x="43" y="314"/>
                  </a:lnTo>
                  <a:lnTo>
                    <a:pt x="43" y="314"/>
                  </a:lnTo>
                  <a:lnTo>
                    <a:pt x="51" y="305"/>
                  </a:lnTo>
                  <a:lnTo>
                    <a:pt x="58" y="296"/>
                  </a:lnTo>
                  <a:lnTo>
                    <a:pt x="64" y="286"/>
                  </a:lnTo>
                  <a:lnTo>
                    <a:pt x="67" y="276"/>
                  </a:lnTo>
                  <a:lnTo>
                    <a:pt x="70" y="264"/>
                  </a:lnTo>
                  <a:lnTo>
                    <a:pt x="71" y="253"/>
                  </a:lnTo>
                  <a:lnTo>
                    <a:pt x="71" y="241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5" y="224"/>
                  </a:lnTo>
                  <a:lnTo>
                    <a:pt x="63" y="219"/>
                  </a:lnTo>
                  <a:lnTo>
                    <a:pt x="58" y="205"/>
                  </a:lnTo>
                  <a:lnTo>
                    <a:pt x="57" y="190"/>
                  </a:lnTo>
                  <a:lnTo>
                    <a:pt x="57" y="176"/>
                  </a:lnTo>
                  <a:lnTo>
                    <a:pt x="58" y="160"/>
                  </a:lnTo>
                  <a:lnTo>
                    <a:pt x="57" y="146"/>
                  </a:lnTo>
                  <a:lnTo>
                    <a:pt x="56" y="133"/>
                  </a:lnTo>
                  <a:lnTo>
                    <a:pt x="53" y="126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41" y="91"/>
                  </a:lnTo>
                  <a:lnTo>
                    <a:pt x="37" y="74"/>
                  </a:lnTo>
                  <a:lnTo>
                    <a:pt x="33" y="57"/>
                  </a:lnTo>
                  <a:lnTo>
                    <a:pt x="33" y="41"/>
                  </a:lnTo>
                  <a:lnTo>
                    <a:pt x="33" y="32"/>
                  </a:lnTo>
                  <a:lnTo>
                    <a:pt x="36" y="25"/>
                  </a:lnTo>
                  <a:lnTo>
                    <a:pt x="37" y="18"/>
                  </a:lnTo>
                  <a:lnTo>
                    <a:pt x="41" y="11"/>
                  </a:lnTo>
                  <a:lnTo>
                    <a:pt x="47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3"/>
                  </a:lnTo>
                  <a:lnTo>
                    <a:pt x="71" y="8"/>
                  </a:lnTo>
                  <a:lnTo>
                    <a:pt x="77" y="15"/>
                  </a:lnTo>
                  <a:lnTo>
                    <a:pt x="81" y="24"/>
                  </a:lnTo>
                  <a:lnTo>
                    <a:pt x="84" y="34"/>
                  </a:lnTo>
                  <a:lnTo>
                    <a:pt x="87" y="44"/>
                  </a:lnTo>
                  <a:lnTo>
                    <a:pt x="91" y="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374"/>
            <p:cNvSpPr>
              <a:spLocks/>
            </p:cNvSpPr>
            <p:nvPr/>
          </p:nvSpPr>
          <p:spPr bwMode="auto">
            <a:xfrm>
              <a:off x="7126" y="2317"/>
              <a:ext cx="131" cy="511"/>
            </a:xfrm>
            <a:custGeom>
              <a:avLst/>
              <a:gdLst>
                <a:gd name="T0" fmla="*/ 15 w 131"/>
                <a:gd name="T1" fmla="*/ 7 h 511"/>
                <a:gd name="T2" fmla="*/ 3 w 131"/>
                <a:gd name="T3" fmla="*/ 17 h 511"/>
                <a:gd name="T4" fmla="*/ 0 w 131"/>
                <a:gd name="T5" fmla="*/ 32 h 511"/>
                <a:gd name="T6" fmla="*/ 2 w 131"/>
                <a:gd name="T7" fmla="*/ 63 h 511"/>
                <a:gd name="T8" fmla="*/ 10 w 131"/>
                <a:gd name="T9" fmla="*/ 77 h 511"/>
                <a:gd name="T10" fmla="*/ 22 w 131"/>
                <a:gd name="T11" fmla="*/ 110 h 511"/>
                <a:gd name="T12" fmla="*/ 27 w 131"/>
                <a:gd name="T13" fmla="*/ 143 h 511"/>
                <a:gd name="T14" fmla="*/ 32 w 131"/>
                <a:gd name="T15" fmla="*/ 195 h 511"/>
                <a:gd name="T16" fmla="*/ 36 w 131"/>
                <a:gd name="T17" fmla="*/ 301 h 511"/>
                <a:gd name="T18" fmla="*/ 39 w 131"/>
                <a:gd name="T19" fmla="*/ 335 h 511"/>
                <a:gd name="T20" fmla="*/ 46 w 131"/>
                <a:gd name="T21" fmla="*/ 352 h 511"/>
                <a:gd name="T22" fmla="*/ 43 w 131"/>
                <a:gd name="T23" fmla="*/ 369 h 511"/>
                <a:gd name="T24" fmla="*/ 39 w 131"/>
                <a:gd name="T25" fmla="*/ 387 h 511"/>
                <a:gd name="T26" fmla="*/ 39 w 131"/>
                <a:gd name="T27" fmla="*/ 407 h 511"/>
                <a:gd name="T28" fmla="*/ 43 w 131"/>
                <a:gd name="T29" fmla="*/ 416 h 511"/>
                <a:gd name="T30" fmla="*/ 46 w 131"/>
                <a:gd name="T31" fmla="*/ 436 h 511"/>
                <a:gd name="T32" fmla="*/ 46 w 131"/>
                <a:gd name="T33" fmla="*/ 467 h 511"/>
                <a:gd name="T34" fmla="*/ 47 w 131"/>
                <a:gd name="T35" fmla="*/ 487 h 511"/>
                <a:gd name="T36" fmla="*/ 53 w 131"/>
                <a:gd name="T37" fmla="*/ 494 h 511"/>
                <a:gd name="T38" fmla="*/ 66 w 131"/>
                <a:gd name="T39" fmla="*/ 505 h 511"/>
                <a:gd name="T40" fmla="*/ 83 w 131"/>
                <a:gd name="T41" fmla="*/ 511 h 511"/>
                <a:gd name="T42" fmla="*/ 103 w 131"/>
                <a:gd name="T43" fmla="*/ 511 h 511"/>
                <a:gd name="T44" fmla="*/ 113 w 131"/>
                <a:gd name="T45" fmla="*/ 508 h 511"/>
                <a:gd name="T46" fmla="*/ 124 w 131"/>
                <a:gd name="T47" fmla="*/ 501 h 511"/>
                <a:gd name="T48" fmla="*/ 130 w 131"/>
                <a:gd name="T49" fmla="*/ 491 h 511"/>
                <a:gd name="T50" fmla="*/ 131 w 131"/>
                <a:gd name="T51" fmla="*/ 480 h 511"/>
                <a:gd name="T52" fmla="*/ 126 w 131"/>
                <a:gd name="T53" fmla="*/ 453 h 511"/>
                <a:gd name="T54" fmla="*/ 118 w 131"/>
                <a:gd name="T55" fmla="*/ 426 h 511"/>
                <a:gd name="T56" fmla="*/ 117 w 131"/>
                <a:gd name="T57" fmla="*/ 413 h 511"/>
                <a:gd name="T58" fmla="*/ 116 w 131"/>
                <a:gd name="T59" fmla="*/ 384 h 511"/>
                <a:gd name="T60" fmla="*/ 121 w 131"/>
                <a:gd name="T61" fmla="*/ 299 h 511"/>
                <a:gd name="T62" fmla="*/ 123 w 131"/>
                <a:gd name="T63" fmla="*/ 256 h 511"/>
                <a:gd name="T64" fmla="*/ 118 w 131"/>
                <a:gd name="T65" fmla="*/ 229 h 511"/>
                <a:gd name="T66" fmla="*/ 110 w 131"/>
                <a:gd name="T67" fmla="*/ 204 h 511"/>
                <a:gd name="T68" fmla="*/ 104 w 131"/>
                <a:gd name="T69" fmla="*/ 191 h 511"/>
                <a:gd name="T70" fmla="*/ 97 w 131"/>
                <a:gd name="T71" fmla="*/ 145 h 511"/>
                <a:gd name="T72" fmla="*/ 80 w 131"/>
                <a:gd name="T73" fmla="*/ 81 h 511"/>
                <a:gd name="T74" fmla="*/ 73 w 131"/>
                <a:gd name="T75" fmla="*/ 37 h 511"/>
                <a:gd name="T76" fmla="*/ 73 w 131"/>
                <a:gd name="T77" fmla="*/ 16 h 511"/>
                <a:gd name="T78" fmla="*/ 62 w 131"/>
                <a:gd name="T79" fmla="*/ 3 h 511"/>
                <a:gd name="T80" fmla="*/ 47 w 131"/>
                <a:gd name="T81" fmla="*/ 0 h 511"/>
                <a:gd name="T82" fmla="*/ 30 w 131"/>
                <a:gd name="T83" fmla="*/ 2 h 511"/>
                <a:gd name="T84" fmla="*/ 15 w 131"/>
                <a:gd name="T85" fmla="*/ 7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" h="511">
                  <a:moveTo>
                    <a:pt x="15" y="7"/>
                  </a:moveTo>
                  <a:lnTo>
                    <a:pt x="15" y="7"/>
                  </a:lnTo>
                  <a:lnTo>
                    <a:pt x="9" y="12"/>
                  </a:lnTo>
                  <a:lnTo>
                    <a:pt x="3" y="17"/>
                  </a:lnTo>
                  <a:lnTo>
                    <a:pt x="2" y="23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10" y="77"/>
                  </a:lnTo>
                  <a:lnTo>
                    <a:pt x="16" y="93"/>
                  </a:lnTo>
                  <a:lnTo>
                    <a:pt x="22" y="110"/>
                  </a:lnTo>
                  <a:lnTo>
                    <a:pt x="25" y="126"/>
                  </a:lnTo>
                  <a:lnTo>
                    <a:pt x="27" y="143"/>
                  </a:lnTo>
                  <a:lnTo>
                    <a:pt x="30" y="160"/>
                  </a:lnTo>
                  <a:lnTo>
                    <a:pt x="32" y="195"/>
                  </a:lnTo>
                  <a:lnTo>
                    <a:pt x="33" y="266"/>
                  </a:lnTo>
                  <a:lnTo>
                    <a:pt x="36" y="301"/>
                  </a:lnTo>
                  <a:lnTo>
                    <a:pt x="39" y="335"/>
                  </a:lnTo>
                  <a:lnTo>
                    <a:pt x="39" y="335"/>
                  </a:lnTo>
                  <a:lnTo>
                    <a:pt x="44" y="343"/>
                  </a:lnTo>
                  <a:lnTo>
                    <a:pt x="46" y="352"/>
                  </a:lnTo>
                  <a:lnTo>
                    <a:pt x="46" y="360"/>
                  </a:lnTo>
                  <a:lnTo>
                    <a:pt x="43" y="369"/>
                  </a:lnTo>
                  <a:lnTo>
                    <a:pt x="40" y="377"/>
                  </a:lnTo>
                  <a:lnTo>
                    <a:pt x="39" y="387"/>
                  </a:lnTo>
                  <a:lnTo>
                    <a:pt x="37" y="39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43" y="416"/>
                  </a:lnTo>
                  <a:lnTo>
                    <a:pt x="44" y="426"/>
                  </a:lnTo>
                  <a:lnTo>
                    <a:pt x="46" y="436"/>
                  </a:lnTo>
                  <a:lnTo>
                    <a:pt x="46" y="446"/>
                  </a:lnTo>
                  <a:lnTo>
                    <a:pt x="46" y="467"/>
                  </a:lnTo>
                  <a:lnTo>
                    <a:pt x="46" y="477"/>
                  </a:lnTo>
                  <a:lnTo>
                    <a:pt x="47" y="487"/>
                  </a:lnTo>
                  <a:lnTo>
                    <a:pt x="47" y="487"/>
                  </a:lnTo>
                  <a:lnTo>
                    <a:pt x="53" y="494"/>
                  </a:lnTo>
                  <a:lnTo>
                    <a:pt x="59" y="501"/>
                  </a:lnTo>
                  <a:lnTo>
                    <a:pt x="66" y="505"/>
                  </a:lnTo>
                  <a:lnTo>
                    <a:pt x="74" y="510"/>
                  </a:lnTo>
                  <a:lnTo>
                    <a:pt x="83" y="511"/>
                  </a:lnTo>
                  <a:lnTo>
                    <a:pt x="93" y="511"/>
                  </a:lnTo>
                  <a:lnTo>
                    <a:pt x="103" y="511"/>
                  </a:lnTo>
                  <a:lnTo>
                    <a:pt x="113" y="508"/>
                  </a:lnTo>
                  <a:lnTo>
                    <a:pt x="113" y="508"/>
                  </a:lnTo>
                  <a:lnTo>
                    <a:pt x="118" y="505"/>
                  </a:lnTo>
                  <a:lnTo>
                    <a:pt x="124" y="501"/>
                  </a:lnTo>
                  <a:lnTo>
                    <a:pt x="127" y="497"/>
                  </a:lnTo>
                  <a:lnTo>
                    <a:pt x="130" y="491"/>
                  </a:lnTo>
                  <a:lnTo>
                    <a:pt x="131" y="485"/>
                  </a:lnTo>
                  <a:lnTo>
                    <a:pt x="131" y="480"/>
                  </a:lnTo>
                  <a:lnTo>
                    <a:pt x="130" y="467"/>
                  </a:lnTo>
                  <a:lnTo>
                    <a:pt x="126" y="453"/>
                  </a:lnTo>
                  <a:lnTo>
                    <a:pt x="123" y="439"/>
                  </a:lnTo>
                  <a:lnTo>
                    <a:pt x="118" y="426"/>
                  </a:lnTo>
                  <a:lnTo>
                    <a:pt x="117" y="413"/>
                  </a:lnTo>
                  <a:lnTo>
                    <a:pt x="117" y="413"/>
                  </a:lnTo>
                  <a:lnTo>
                    <a:pt x="116" y="399"/>
                  </a:lnTo>
                  <a:lnTo>
                    <a:pt x="116" y="384"/>
                  </a:lnTo>
                  <a:lnTo>
                    <a:pt x="117" y="356"/>
                  </a:lnTo>
                  <a:lnTo>
                    <a:pt x="121" y="299"/>
                  </a:lnTo>
                  <a:lnTo>
                    <a:pt x="123" y="271"/>
                  </a:lnTo>
                  <a:lnTo>
                    <a:pt x="123" y="256"/>
                  </a:lnTo>
                  <a:lnTo>
                    <a:pt x="121" y="244"/>
                  </a:lnTo>
                  <a:lnTo>
                    <a:pt x="118" y="229"/>
                  </a:lnTo>
                  <a:lnTo>
                    <a:pt x="116" y="217"/>
                  </a:lnTo>
                  <a:lnTo>
                    <a:pt x="110" y="204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1" y="168"/>
                  </a:lnTo>
                  <a:lnTo>
                    <a:pt x="97" y="145"/>
                  </a:lnTo>
                  <a:lnTo>
                    <a:pt x="86" y="103"/>
                  </a:lnTo>
                  <a:lnTo>
                    <a:pt x="80" y="81"/>
                  </a:lnTo>
                  <a:lnTo>
                    <a:pt x="76" y="60"/>
                  </a:lnTo>
                  <a:lnTo>
                    <a:pt x="73" y="37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67" y="9"/>
                  </a:lnTo>
                  <a:lnTo>
                    <a:pt x="62" y="3"/>
                  </a:lnTo>
                  <a:lnTo>
                    <a:pt x="54" y="2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0" y="2"/>
                  </a:lnTo>
                  <a:lnTo>
                    <a:pt x="22" y="5"/>
                  </a:lnTo>
                  <a:lnTo>
                    <a:pt x="15" y="7"/>
                  </a:lnTo>
                  <a:lnTo>
                    <a:pt x="15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" name="Freeform 375"/>
            <p:cNvSpPr>
              <a:spLocks/>
            </p:cNvSpPr>
            <p:nvPr/>
          </p:nvSpPr>
          <p:spPr bwMode="auto">
            <a:xfrm>
              <a:off x="6983" y="2462"/>
              <a:ext cx="57" cy="35"/>
            </a:xfrm>
            <a:custGeom>
              <a:avLst/>
              <a:gdLst>
                <a:gd name="T0" fmla="*/ 0 w 57"/>
                <a:gd name="T1" fmla="*/ 28 h 35"/>
                <a:gd name="T2" fmla="*/ 0 w 57"/>
                <a:gd name="T3" fmla="*/ 28 h 35"/>
                <a:gd name="T4" fmla="*/ 10 w 57"/>
                <a:gd name="T5" fmla="*/ 30 h 35"/>
                <a:gd name="T6" fmla="*/ 18 w 57"/>
                <a:gd name="T7" fmla="*/ 33 h 35"/>
                <a:gd name="T8" fmla="*/ 28 w 57"/>
                <a:gd name="T9" fmla="*/ 35 h 35"/>
                <a:gd name="T10" fmla="*/ 38 w 57"/>
                <a:gd name="T11" fmla="*/ 32 h 35"/>
                <a:gd name="T12" fmla="*/ 38 w 57"/>
                <a:gd name="T13" fmla="*/ 32 h 35"/>
                <a:gd name="T14" fmla="*/ 45 w 57"/>
                <a:gd name="T15" fmla="*/ 28 h 35"/>
                <a:gd name="T16" fmla="*/ 52 w 57"/>
                <a:gd name="T17" fmla="*/ 19 h 35"/>
                <a:gd name="T18" fmla="*/ 55 w 57"/>
                <a:gd name="T19" fmla="*/ 15 h 35"/>
                <a:gd name="T20" fmla="*/ 57 w 57"/>
                <a:gd name="T21" fmla="*/ 10 h 35"/>
                <a:gd name="T22" fmla="*/ 55 w 57"/>
                <a:gd name="T23" fmla="*/ 5 h 35"/>
                <a:gd name="T24" fmla="*/ 54 w 57"/>
                <a:gd name="T25" fmla="*/ 0 h 35"/>
                <a:gd name="T26" fmla="*/ 54 w 57"/>
                <a:gd name="T27" fmla="*/ 0 h 35"/>
                <a:gd name="T28" fmla="*/ 37 w 57"/>
                <a:gd name="T29" fmla="*/ 2 h 35"/>
                <a:gd name="T30" fmla="*/ 30 w 57"/>
                <a:gd name="T31" fmla="*/ 3 h 35"/>
                <a:gd name="T32" fmla="*/ 21 w 57"/>
                <a:gd name="T33" fmla="*/ 6 h 35"/>
                <a:gd name="T34" fmla="*/ 14 w 57"/>
                <a:gd name="T35" fmla="*/ 9 h 35"/>
                <a:gd name="T36" fmla="*/ 8 w 57"/>
                <a:gd name="T37" fmla="*/ 13 h 35"/>
                <a:gd name="T38" fmla="*/ 4 w 57"/>
                <a:gd name="T39" fmla="*/ 19 h 35"/>
                <a:gd name="T40" fmla="*/ 0 w 57"/>
                <a:gd name="T41" fmla="*/ 28 h 35"/>
                <a:gd name="T42" fmla="*/ 0 w 57"/>
                <a:gd name="T43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5">
                  <a:moveTo>
                    <a:pt x="0" y="28"/>
                  </a:moveTo>
                  <a:lnTo>
                    <a:pt x="0" y="28"/>
                  </a:lnTo>
                  <a:lnTo>
                    <a:pt x="10" y="30"/>
                  </a:lnTo>
                  <a:lnTo>
                    <a:pt x="18" y="33"/>
                  </a:lnTo>
                  <a:lnTo>
                    <a:pt x="28" y="35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5" y="28"/>
                  </a:lnTo>
                  <a:lnTo>
                    <a:pt x="52" y="19"/>
                  </a:lnTo>
                  <a:lnTo>
                    <a:pt x="55" y="15"/>
                  </a:lnTo>
                  <a:lnTo>
                    <a:pt x="57" y="10"/>
                  </a:lnTo>
                  <a:lnTo>
                    <a:pt x="55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8" y="13"/>
                  </a:lnTo>
                  <a:lnTo>
                    <a:pt x="4" y="19"/>
                  </a:lnTo>
                  <a:lnTo>
                    <a:pt x="0" y="28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" name="Freeform 376"/>
            <p:cNvSpPr>
              <a:spLocks/>
            </p:cNvSpPr>
            <p:nvPr/>
          </p:nvSpPr>
          <p:spPr bwMode="auto">
            <a:xfrm>
              <a:off x="6205" y="2532"/>
              <a:ext cx="251" cy="340"/>
            </a:xfrm>
            <a:custGeom>
              <a:avLst/>
              <a:gdLst>
                <a:gd name="T0" fmla="*/ 207 w 251"/>
                <a:gd name="T1" fmla="*/ 6 h 340"/>
                <a:gd name="T2" fmla="*/ 180 w 251"/>
                <a:gd name="T3" fmla="*/ 2 h 340"/>
                <a:gd name="T4" fmla="*/ 156 w 251"/>
                <a:gd name="T5" fmla="*/ 2 h 340"/>
                <a:gd name="T6" fmla="*/ 133 w 251"/>
                <a:gd name="T7" fmla="*/ 6 h 340"/>
                <a:gd name="T8" fmla="*/ 110 w 251"/>
                <a:gd name="T9" fmla="*/ 16 h 340"/>
                <a:gd name="T10" fmla="*/ 69 w 251"/>
                <a:gd name="T11" fmla="*/ 39 h 340"/>
                <a:gd name="T12" fmla="*/ 28 w 251"/>
                <a:gd name="T13" fmla="*/ 64 h 340"/>
                <a:gd name="T14" fmla="*/ 21 w 251"/>
                <a:gd name="T15" fmla="*/ 73 h 340"/>
                <a:gd name="T16" fmla="*/ 9 w 251"/>
                <a:gd name="T17" fmla="*/ 88 h 340"/>
                <a:gd name="T18" fmla="*/ 4 w 251"/>
                <a:gd name="T19" fmla="*/ 107 h 340"/>
                <a:gd name="T20" fmla="*/ 0 w 251"/>
                <a:gd name="T21" fmla="*/ 137 h 340"/>
                <a:gd name="T22" fmla="*/ 1 w 251"/>
                <a:gd name="T23" fmla="*/ 181 h 340"/>
                <a:gd name="T24" fmla="*/ 2 w 251"/>
                <a:gd name="T25" fmla="*/ 224 h 340"/>
                <a:gd name="T26" fmla="*/ 5 w 251"/>
                <a:gd name="T27" fmla="*/ 235 h 340"/>
                <a:gd name="T28" fmla="*/ 7 w 251"/>
                <a:gd name="T29" fmla="*/ 273 h 340"/>
                <a:gd name="T30" fmla="*/ 11 w 251"/>
                <a:gd name="T31" fmla="*/ 296 h 340"/>
                <a:gd name="T32" fmla="*/ 19 w 251"/>
                <a:gd name="T33" fmla="*/ 312 h 340"/>
                <a:gd name="T34" fmla="*/ 24 w 251"/>
                <a:gd name="T35" fmla="*/ 317 h 340"/>
                <a:gd name="T36" fmla="*/ 42 w 251"/>
                <a:gd name="T37" fmla="*/ 327 h 340"/>
                <a:gd name="T38" fmla="*/ 62 w 251"/>
                <a:gd name="T39" fmla="*/ 334 h 340"/>
                <a:gd name="T40" fmla="*/ 106 w 251"/>
                <a:gd name="T41" fmla="*/ 340 h 340"/>
                <a:gd name="T42" fmla="*/ 153 w 251"/>
                <a:gd name="T43" fmla="*/ 339 h 340"/>
                <a:gd name="T44" fmla="*/ 197 w 251"/>
                <a:gd name="T45" fmla="*/ 332 h 340"/>
                <a:gd name="T46" fmla="*/ 211 w 251"/>
                <a:gd name="T47" fmla="*/ 327 h 340"/>
                <a:gd name="T48" fmla="*/ 237 w 251"/>
                <a:gd name="T49" fmla="*/ 313 h 340"/>
                <a:gd name="T50" fmla="*/ 248 w 251"/>
                <a:gd name="T51" fmla="*/ 305 h 340"/>
                <a:gd name="T52" fmla="*/ 251 w 251"/>
                <a:gd name="T53" fmla="*/ 293 h 340"/>
                <a:gd name="T54" fmla="*/ 247 w 251"/>
                <a:gd name="T55" fmla="*/ 285 h 340"/>
                <a:gd name="T56" fmla="*/ 244 w 251"/>
                <a:gd name="T57" fmla="*/ 283 h 340"/>
                <a:gd name="T58" fmla="*/ 207 w 251"/>
                <a:gd name="T59" fmla="*/ 285 h 340"/>
                <a:gd name="T60" fmla="*/ 173 w 251"/>
                <a:gd name="T61" fmla="*/ 293 h 340"/>
                <a:gd name="T62" fmla="*/ 162 w 251"/>
                <a:gd name="T63" fmla="*/ 296 h 340"/>
                <a:gd name="T64" fmla="*/ 139 w 251"/>
                <a:gd name="T65" fmla="*/ 296 h 340"/>
                <a:gd name="T66" fmla="*/ 118 w 251"/>
                <a:gd name="T67" fmla="*/ 292 h 340"/>
                <a:gd name="T68" fmla="*/ 98 w 251"/>
                <a:gd name="T69" fmla="*/ 283 h 340"/>
                <a:gd name="T70" fmla="*/ 88 w 251"/>
                <a:gd name="T71" fmla="*/ 278 h 340"/>
                <a:gd name="T72" fmla="*/ 78 w 251"/>
                <a:gd name="T73" fmla="*/ 259 h 340"/>
                <a:gd name="T74" fmla="*/ 75 w 251"/>
                <a:gd name="T75" fmla="*/ 243 h 340"/>
                <a:gd name="T76" fmla="*/ 76 w 251"/>
                <a:gd name="T77" fmla="*/ 238 h 340"/>
                <a:gd name="T78" fmla="*/ 75 w 251"/>
                <a:gd name="T79" fmla="*/ 194 h 340"/>
                <a:gd name="T80" fmla="*/ 72 w 251"/>
                <a:gd name="T81" fmla="*/ 148 h 340"/>
                <a:gd name="T82" fmla="*/ 74 w 251"/>
                <a:gd name="T83" fmla="*/ 115 h 340"/>
                <a:gd name="T84" fmla="*/ 79 w 251"/>
                <a:gd name="T85" fmla="*/ 95 h 340"/>
                <a:gd name="T86" fmla="*/ 89 w 251"/>
                <a:gd name="T87" fmla="*/ 77 h 340"/>
                <a:gd name="T88" fmla="*/ 96 w 251"/>
                <a:gd name="T89" fmla="*/ 68 h 340"/>
                <a:gd name="T90" fmla="*/ 103 w 251"/>
                <a:gd name="T91" fmla="*/ 60 h 340"/>
                <a:gd name="T92" fmla="*/ 123 w 251"/>
                <a:gd name="T93" fmla="*/ 51 h 340"/>
                <a:gd name="T94" fmla="*/ 145 w 251"/>
                <a:gd name="T95" fmla="*/ 47 h 340"/>
                <a:gd name="T96" fmla="*/ 166 w 251"/>
                <a:gd name="T97" fmla="*/ 39 h 340"/>
                <a:gd name="T98" fmla="*/ 173 w 251"/>
                <a:gd name="T99" fmla="*/ 31 h 340"/>
                <a:gd name="T100" fmla="*/ 179 w 251"/>
                <a:gd name="T101" fmla="*/ 29 h 340"/>
                <a:gd name="T102" fmla="*/ 199 w 251"/>
                <a:gd name="T103" fmla="*/ 31 h 340"/>
                <a:gd name="T104" fmla="*/ 209 w 251"/>
                <a:gd name="T105" fmla="*/ 30 h 340"/>
                <a:gd name="T106" fmla="*/ 213 w 251"/>
                <a:gd name="T107" fmla="*/ 27 h 340"/>
                <a:gd name="T108" fmla="*/ 207 w 251"/>
                <a:gd name="T109" fmla="*/ 6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1" h="340">
                  <a:moveTo>
                    <a:pt x="207" y="6"/>
                  </a:moveTo>
                  <a:lnTo>
                    <a:pt x="207" y="6"/>
                  </a:lnTo>
                  <a:lnTo>
                    <a:pt x="193" y="3"/>
                  </a:lnTo>
                  <a:lnTo>
                    <a:pt x="180" y="2"/>
                  </a:lnTo>
                  <a:lnTo>
                    <a:pt x="167" y="0"/>
                  </a:lnTo>
                  <a:lnTo>
                    <a:pt x="156" y="2"/>
                  </a:lnTo>
                  <a:lnTo>
                    <a:pt x="145" y="3"/>
                  </a:lnTo>
                  <a:lnTo>
                    <a:pt x="133" y="6"/>
                  </a:lnTo>
                  <a:lnTo>
                    <a:pt x="122" y="10"/>
                  </a:lnTo>
                  <a:lnTo>
                    <a:pt x="110" y="16"/>
                  </a:lnTo>
                  <a:lnTo>
                    <a:pt x="89" y="26"/>
                  </a:lnTo>
                  <a:lnTo>
                    <a:pt x="69" y="39"/>
                  </a:lnTo>
                  <a:lnTo>
                    <a:pt x="49" y="5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1" y="73"/>
                  </a:lnTo>
                  <a:lnTo>
                    <a:pt x="15" y="80"/>
                  </a:lnTo>
                  <a:lnTo>
                    <a:pt x="9" y="88"/>
                  </a:lnTo>
                  <a:lnTo>
                    <a:pt x="7" y="98"/>
                  </a:lnTo>
                  <a:lnTo>
                    <a:pt x="4" y="107"/>
                  </a:lnTo>
                  <a:lnTo>
                    <a:pt x="1" y="117"/>
                  </a:lnTo>
                  <a:lnTo>
                    <a:pt x="0" y="137"/>
                  </a:lnTo>
                  <a:lnTo>
                    <a:pt x="1" y="158"/>
                  </a:lnTo>
                  <a:lnTo>
                    <a:pt x="1" y="181"/>
                  </a:lnTo>
                  <a:lnTo>
                    <a:pt x="2" y="202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5" y="235"/>
                  </a:lnTo>
                  <a:lnTo>
                    <a:pt x="7" y="248"/>
                  </a:lnTo>
                  <a:lnTo>
                    <a:pt x="7" y="273"/>
                  </a:lnTo>
                  <a:lnTo>
                    <a:pt x="8" y="285"/>
                  </a:lnTo>
                  <a:lnTo>
                    <a:pt x="11" y="296"/>
                  </a:lnTo>
                  <a:lnTo>
                    <a:pt x="15" y="307"/>
                  </a:lnTo>
                  <a:lnTo>
                    <a:pt x="19" y="312"/>
                  </a:lnTo>
                  <a:lnTo>
                    <a:pt x="24" y="317"/>
                  </a:lnTo>
                  <a:lnTo>
                    <a:pt x="24" y="317"/>
                  </a:lnTo>
                  <a:lnTo>
                    <a:pt x="32" y="323"/>
                  </a:lnTo>
                  <a:lnTo>
                    <a:pt x="42" y="327"/>
                  </a:lnTo>
                  <a:lnTo>
                    <a:pt x="51" y="332"/>
                  </a:lnTo>
                  <a:lnTo>
                    <a:pt x="62" y="334"/>
                  </a:lnTo>
                  <a:lnTo>
                    <a:pt x="83" y="339"/>
                  </a:lnTo>
                  <a:lnTo>
                    <a:pt x="106" y="340"/>
                  </a:lnTo>
                  <a:lnTo>
                    <a:pt x="130" y="340"/>
                  </a:lnTo>
                  <a:lnTo>
                    <a:pt x="153" y="339"/>
                  </a:lnTo>
                  <a:lnTo>
                    <a:pt x="176" y="336"/>
                  </a:lnTo>
                  <a:lnTo>
                    <a:pt x="197" y="332"/>
                  </a:lnTo>
                  <a:lnTo>
                    <a:pt x="197" y="332"/>
                  </a:lnTo>
                  <a:lnTo>
                    <a:pt x="211" y="327"/>
                  </a:lnTo>
                  <a:lnTo>
                    <a:pt x="224" y="320"/>
                  </a:lnTo>
                  <a:lnTo>
                    <a:pt x="237" y="313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51" y="299"/>
                  </a:lnTo>
                  <a:lnTo>
                    <a:pt x="251" y="293"/>
                  </a:lnTo>
                  <a:lnTo>
                    <a:pt x="250" y="288"/>
                  </a:lnTo>
                  <a:lnTo>
                    <a:pt x="247" y="285"/>
                  </a:lnTo>
                  <a:lnTo>
                    <a:pt x="244" y="283"/>
                  </a:lnTo>
                  <a:lnTo>
                    <a:pt x="244" y="283"/>
                  </a:lnTo>
                  <a:lnTo>
                    <a:pt x="226" y="283"/>
                  </a:lnTo>
                  <a:lnTo>
                    <a:pt x="207" y="285"/>
                  </a:lnTo>
                  <a:lnTo>
                    <a:pt x="190" y="288"/>
                  </a:lnTo>
                  <a:lnTo>
                    <a:pt x="173" y="293"/>
                  </a:lnTo>
                  <a:lnTo>
                    <a:pt x="173" y="293"/>
                  </a:lnTo>
                  <a:lnTo>
                    <a:pt x="162" y="296"/>
                  </a:lnTo>
                  <a:lnTo>
                    <a:pt x="150" y="296"/>
                  </a:lnTo>
                  <a:lnTo>
                    <a:pt x="139" y="296"/>
                  </a:lnTo>
                  <a:lnTo>
                    <a:pt x="128" y="295"/>
                  </a:lnTo>
                  <a:lnTo>
                    <a:pt x="118" y="292"/>
                  </a:lnTo>
                  <a:lnTo>
                    <a:pt x="108" y="288"/>
                  </a:lnTo>
                  <a:lnTo>
                    <a:pt x="98" y="283"/>
                  </a:lnTo>
                  <a:lnTo>
                    <a:pt x="88" y="278"/>
                  </a:lnTo>
                  <a:lnTo>
                    <a:pt x="88" y="278"/>
                  </a:lnTo>
                  <a:lnTo>
                    <a:pt x="82" y="269"/>
                  </a:lnTo>
                  <a:lnTo>
                    <a:pt x="78" y="259"/>
                  </a:lnTo>
                  <a:lnTo>
                    <a:pt x="75" y="249"/>
                  </a:lnTo>
                  <a:lnTo>
                    <a:pt x="75" y="243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6" y="216"/>
                  </a:lnTo>
                  <a:lnTo>
                    <a:pt x="75" y="194"/>
                  </a:lnTo>
                  <a:lnTo>
                    <a:pt x="74" y="171"/>
                  </a:lnTo>
                  <a:lnTo>
                    <a:pt x="72" y="148"/>
                  </a:lnTo>
                  <a:lnTo>
                    <a:pt x="74" y="125"/>
                  </a:lnTo>
                  <a:lnTo>
                    <a:pt x="74" y="115"/>
                  </a:lnTo>
                  <a:lnTo>
                    <a:pt x="76" y="105"/>
                  </a:lnTo>
                  <a:lnTo>
                    <a:pt x="79" y="95"/>
                  </a:lnTo>
                  <a:lnTo>
                    <a:pt x="83" y="86"/>
                  </a:lnTo>
                  <a:lnTo>
                    <a:pt x="89" y="77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101" y="64"/>
                  </a:lnTo>
                  <a:lnTo>
                    <a:pt x="103" y="60"/>
                  </a:lnTo>
                  <a:lnTo>
                    <a:pt x="113" y="54"/>
                  </a:lnTo>
                  <a:lnTo>
                    <a:pt x="123" y="51"/>
                  </a:lnTo>
                  <a:lnTo>
                    <a:pt x="135" y="49"/>
                  </a:lnTo>
                  <a:lnTo>
                    <a:pt x="145" y="47"/>
                  </a:lnTo>
                  <a:lnTo>
                    <a:pt x="156" y="44"/>
                  </a:lnTo>
                  <a:lnTo>
                    <a:pt x="166" y="39"/>
                  </a:lnTo>
                  <a:lnTo>
                    <a:pt x="170" y="36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9" y="29"/>
                  </a:lnTo>
                  <a:lnTo>
                    <a:pt x="186" y="29"/>
                  </a:lnTo>
                  <a:lnTo>
                    <a:pt x="199" y="31"/>
                  </a:lnTo>
                  <a:lnTo>
                    <a:pt x="204" y="31"/>
                  </a:lnTo>
                  <a:lnTo>
                    <a:pt x="209" y="30"/>
                  </a:lnTo>
                  <a:lnTo>
                    <a:pt x="211" y="29"/>
                  </a:lnTo>
                  <a:lnTo>
                    <a:pt x="213" y="27"/>
                  </a:lnTo>
                  <a:lnTo>
                    <a:pt x="213" y="19"/>
                  </a:lnTo>
                  <a:lnTo>
                    <a:pt x="207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377"/>
            <p:cNvSpPr>
              <a:spLocks/>
            </p:cNvSpPr>
            <p:nvPr/>
          </p:nvSpPr>
          <p:spPr bwMode="auto">
            <a:xfrm>
              <a:off x="6930" y="2569"/>
              <a:ext cx="110" cy="295"/>
            </a:xfrm>
            <a:custGeom>
              <a:avLst/>
              <a:gdLst>
                <a:gd name="T0" fmla="*/ 73 w 110"/>
                <a:gd name="T1" fmla="*/ 0 h 295"/>
                <a:gd name="T2" fmla="*/ 73 w 110"/>
                <a:gd name="T3" fmla="*/ 0 h 295"/>
                <a:gd name="T4" fmla="*/ 67 w 110"/>
                <a:gd name="T5" fmla="*/ 2 h 295"/>
                <a:gd name="T6" fmla="*/ 61 w 110"/>
                <a:gd name="T7" fmla="*/ 4 h 295"/>
                <a:gd name="T8" fmla="*/ 57 w 110"/>
                <a:gd name="T9" fmla="*/ 7 h 295"/>
                <a:gd name="T10" fmla="*/ 54 w 110"/>
                <a:gd name="T11" fmla="*/ 12 h 295"/>
                <a:gd name="T12" fmla="*/ 48 w 110"/>
                <a:gd name="T13" fmla="*/ 20 h 295"/>
                <a:gd name="T14" fmla="*/ 43 w 110"/>
                <a:gd name="T15" fmla="*/ 30 h 295"/>
                <a:gd name="T16" fmla="*/ 43 w 110"/>
                <a:gd name="T17" fmla="*/ 30 h 295"/>
                <a:gd name="T18" fmla="*/ 44 w 110"/>
                <a:gd name="T19" fmla="*/ 57 h 295"/>
                <a:gd name="T20" fmla="*/ 41 w 110"/>
                <a:gd name="T21" fmla="*/ 83 h 295"/>
                <a:gd name="T22" fmla="*/ 37 w 110"/>
                <a:gd name="T23" fmla="*/ 108 h 295"/>
                <a:gd name="T24" fmla="*/ 33 w 110"/>
                <a:gd name="T25" fmla="*/ 132 h 295"/>
                <a:gd name="T26" fmla="*/ 26 w 110"/>
                <a:gd name="T27" fmla="*/ 157 h 295"/>
                <a:gd name="T28" fmla="*/ 17 w 110"/>
                <a:gd name="T29" fmla="*/ 181 h 295"/>
                <a:gd name="T30" fmla="*/ 0 w 110"/>
                <a:gd name="T31" fmla="*/ 225 h 295"/>
                <a:gd name="T32" fmla="*/ 0 w 110"/>
                <a:gd name="T33" fmla="*/ 225 h 295"/>
                <a:gd name="T34" fmla="*/ 3 w 110"/>
                <a:gd name="T35" fmla="*/ 245 h 295"/>
                <a:gd name="T36" fmla="*/ 7 w 110"/>
                <a:gd name="T37" fmla="*/ 265 h 295"/>
                <a:gd name="T38" fmla="*/ 11 w 110"/>
                <a:gd name="T39" fmla="*/ 273 h 295"/>
                <a:gd name="T40" fmla="*/ 16 w 110"/>
                <a:gd name="T41" fmla="*/ 280 h 295"/>
                <a:gd name="T42" fmla="*/ 21 w 110"/>
                <a:gd name="T43" fmla="*/ 288 h 295"/>
                <a:gd name="T44" fmla="*/ 28 w 110"/>
                <a:gd name="T45" fmla="*/ 292 h 295"/>
                <a:gd name="T46" fmla="*/ 28 w 110"/>
                <a:gd name="T47" fmla="*/ 292 h 295"/>
                <a:gd name="T48" fmla="*/ 36 w 110"/>
                <a:gd name="T49" fmla="*/ 295 h 295"/>
                <a:gd name="T50" fmla="*/ 44 w 110"/>
                <a:gd name="T51" fmla="*/ 295 h 295"/>
                <a:gd name="T52" fmla="*/ 51 w 110"/>
                <a:gd name="T53" fmla="*/ 295 h 295"/>
                <a:gd name="T54" fmla="*/ 58 w 110"/>
                <a:gd name="T55" fmla="*/ 293 h 295"/>
                <a:gd name="T56" fmla="*/ 65 w 110"/>
                <a:gd name="T57" fmla="*/ 290 h 295"/>
                <a:gd name="T58" fmla="*/ 71 w 110"/>
                <a:gd name="T59" fmla="*/ 286 h 295"/>
                <a:gd name="T60" fmla="*/ 77 w 110"/>
                <a:gd name="T61" fmla="*/ 282 h 295"/>
                <a:gd name="T62" fmla="*/ 81 w 110"/>
                <a:gd name="T63" fmla="*/ 276 h 295"/>
                <a:gd name="T64" fmla="*/ 81 w 110"/>
                <a:gd name="T65" fmla="*/ 276 h 295"/>
                <a:gd name="T66" fmla="*/ 83 w 110"/>
                <a:gd name="T67" fmla="*/ 270 h 295"/>
                <a:gd name="T68" fmla="*/ 84 w 110"/>
                <a:gd name="T69" fmla="*/ 266 h 295"/>
                <a:gd name="T70" fmla="*/ 84 w 110"/>
                <a:gd name="T71" fmla="*/ 262 h 295"/>
                <a:gd name="T72" fmla="*/ 84 w 110"/>
                <a:gd name="T73" fmla="*/ 258 h 295"/>
                <a:gd name="T74" fmla="*/ 81 w 110"/>
                <a:gd name="T75" fmla="*/ 249 h 295"/>
                <a:gd name="T76" fmla="*/ 77 w 110"/>
                <a:gd name="T77" fmla="*/ 242 h 295"/>
                <a:gd name="T78" fmla="*/ 71 w 110"/>
                <a:gd name="T79" fmla="*/ 235 h 295"/>
                <a:gd name="T80" fmla="*/ 68 w 110"/>
                <a:gd name="T81" fmla="*/ 226 h 295"/>
                <a:gd name="T82" fmla="*/ 67 w 110"/>
                <a:gd name="T83" fmla="*/ 222 h 295"/>
                <a:gd name="T84" fmla="*/ 67 w 110"/>
                <a:gd name="T85" fmla="*/ 218 h 295"/>
                <a:gd name="T86" fmla="*/ 68 w 110"/>
                <a:gd name="T87" fmla="*/ 214 h 295"/>
                <a:gd name="T88" fmla="*/ 70 w 110"/>
                <a:gd name="T89" fmla="*/ 209 h 295"/>
                <a:gd name="T90" fmla="*/ 70 w 110"/>
                <a:gd name="T91" fmla="*/ 209 h 295"/>
                <a:gd name="T92" fmla="*/ 81 w 110"/>
                <a:gd name="T93" fmla="*/ 188 h 295"/>
                <a:gd name="T94" fmla="*/ 90 w 110"/>
                <a:gd name="T95" fmla="*/ 167 h 295"/>
                <a:gd name="T96" fmla="*/ 98 w 110"/>
                <a:gd name="T97" fmla="*/ 145 h 295"/>
                <a:gd name="T98" fmla="*/ 102 w 110"/>
                <a:gd name="T99" fmla="*/ 122 h 295"/>
                <a:gd name="T100" fmla="*/ 107 w 110"/>
                <a:gd name="T101" fmla="*/ 98 h 295"/>
                <a:gd name="T102" fmla="*/ 110 w 110"/>
                <a:gd name="T103" fmla="*/ 74 h 295"/>
                <a:gd name="T104" fmla="*/ 110 w 110"/>
                <a:gd name="T105" fmla="*/ 50 h 295"/>
                <a:gd name="T106" fmla="*/ 108 w 110"/>
                <a:gd name="T107" fmla="*/ 24 h 295"/>
                <a:gd name="T108" fmla="*/ 108 w 110"/>
                <a:gd name="T109" fmla="*/ 24 h 295"/>
                <a:gd name="T110" fmla="*/ 105 w 110"/>
                <a:gd name="T111" fmla="*/ 17 h 295"/>
                <a:gd name="T112" fmla="*/ 102 w 110"/>
                <a:gd name="T113" fmla="*/ 13 h 295"/>
                <a:gd name="T114" fmla="*/ 100 w 110"/>
                <a:gd name="T115" fmla="*/ 9 h 295"/>
                <a:gd name="T116" fmla="*/ 95 w 110"/>
                <a:gd name="T117" fmla="*/ 6 h 295"/>
                <a:gd name="T118" fmla="*/ 90 w 110"/>
                <a:gd name="T119" fmla="*/ 3 h 295"/>
                <a:gd name="T120" fmla="*/ 84 w 110"/>
                <a:gd name="T121" fmla="*/ 2 h 295"/>
                <a:gd name="T122" fmla="*/ 73 w 110"/>
                <a:gd name="T123" fmla="*/ 0 h 295"/>
                <a:gd name="T124" fmla="*/ 73 w 110"/>
                <a:gd name="T125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0" h="295">
                  <a:moveTo>
                    <a:pt x="73" y="0"/>
                  </a:moveTo>
                  <a:lnTo>
                    <a:pt x="73" y="0"/>
                  </a:lnTo>
                  <a:lnTo>
                    <a:pt x="67" y="2"/>
                  </a:lnTo>
                  <a:lnTo>
                    <a:pt x="61" y="4"/>
                  </a:lnTo>
                  <a:lnTo>
                    <a:pt x="57" y="7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4" y="57"/>
                  </a:lnTo>
                  <a:lnTo>
                    <a:pt x="41" y="83"/>
                  </a:lnTo>
                  <a:lnTo>
                    <a:pt x="37" y="108"/>
                  </a:lnTo>
                  <a:lnTo>
                    <a:pt x="33" y="132"/>
                  </a:lnTo>
                  <a:lnTo>
                    <a:pt x="26" y="157"/>
                  </a:lnTo>
                  <a:lnTo>
                    <a:pt x="17" y="181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3" y="245"/>
                  </a:lnTo>
                  <a:lnTo>
                    <a:pt x="7" y="265"/>
                  </a:lnTo>
                  <a:lnTo>
                    <a:pt x="11" y="273"/>
                  </a:lnTo>
                  <a:lnTo>
                    <a:pt x="16" y="280"/>
                  </a:lnTo>
                  <a:lnTo>
                    <a:pt x="21" y="288"/>
                  </a:lnTo>
                  <a:lnTo>
                    <a:pt x="28" y="292"/>
                  </a:lnTo>
                  <a:lnTo>
                    <a:pt x="28" y="292"/>
                  </a:lnTo>
                  <a:lnTo>
                    <a:pt x="36" y="295"/>
                  </a:lnTo>
                  <a:lnTo>
                    <a:pt x="44" y="295"/>
                  </a:lnTo>
                  <a:lnTo>
                    <a:pt x="51" y="295"/>
                  </a:lnTo>
                  <a:lnTo>
                    <a:pt x="58" y="293"/>
                  </a:lnTo>
                  <a:lnTo>
                    <a:pt x="65" y="290"/>
                  </a:lnTo>
                  <a:lnTo>
                    <a:pt x="71" y="286"/>
                  </a:lnTo>
                  <a:lnTo>
                    <a:pt x="77" y="282"/>
                  </a:lnTo>
                  <a:lnTo>
                    <a:pt x="81" y="276"/>
                  </a:lnTo>
                  <a:lnTo>
                    <a:pt x="81" y="276"/>
                  </a:lnTo>
                  <a:lnTo>
                    <a:pt x="83" y="270"/>
                  </a:lnTo>
                  <a:lnTo>
                    <a:pt x="84" y="266"/>
                  </a:lnTo>
                  <a:lnTo>
                    <a:pt x="84" y="262"/>
                  </a:lnTo>
                  <a:lnTo>
                    <a:pt x="84" y="258"/>
                  </a:lnTo>
                  <a:lnTo>
                    <a:pt x="81" y="249"/>
                  </a:lnTo>
                  <a:lnTo>
                    <a:pt x="77" y="242"/>
                  </a:lnTo>
                  <a:lnTo>
                    <a:pt x="71" y="235"/>
                  </a:lnTo>
                  <a:lnTo>
                    <a:pt x="68" y="226"/>
                  </a:lnTo>
                  <a:lnTo>
                    <a:pt x="67" y="222"/>
                  </a:lnTo>
                  <a:lnTo>
                    <a:pt x="67" y="218"/>
                  </a:lnTo>
                  <a:lnTo>
                    <a:pt x="68" y="214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81" y="188"/>
                  </a:lnTo>
                  <a:lnTo>
                    <a:pt x="90" y="167"/>
                  </a:lnTo>
                  <a:lnTo>
                    <a:pt x="98" y="145"/>
                  </a:lnTo>
                  <a:lnTo>
                    <a:pt x="102" y="122"/>
                  </a:lnTo>
                  <a:lnTo>
                    <a:pt x="107" y="98"/>
                  </a:lnTo>
                  <a:lnTo>
                    <a:pt x="110" y="74"/>
                  </a:lnTo>
                  <a:lnTo>
                    <a:pt x="110" y="50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5" y="17"/>
                  </a:lnTo>
                  <a:lnTo>
                    <a:pt x="102" y="13"/>
                  </a:lnTo>
                  <a:lnTo>
                    <a:pt x="100" y="9"/>
                  </a:lnTo>
                  <a:lnTo>
                    <a:pt x="95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3" y="0"/>
                  </a:lnTo>
                  <a:lnTo>
                    <a:pt x="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378"/>
            <p:cNvSpPr>
              <a:spLocks/>
            </p:cNvSpPr>
            <p:nvPr/>
          </p:nvSpPr>
          <p:spPr bwMode="auto">
            <a:xfrm>
              <a:off x="7382" y="2317"/>
              <a:ext cx="375" cy="548"/>
            </a:xfrm>
            <a:custGeom>
              <a:avLst/>
              <a:gdLst>
                <a:gd name="T0" fmla="*/ 306 w 375"/>
                <a:gd name="T1" fmla="*/ 3 h 548"/>
                <a:gd name="T2" fmla="*/ 296 w 375"/>
                <a:gd name="T3" fmla="*/ 17 h 548"/>
                <a:gd name="T4" fmla="*/ 292 w 375"/>
                <a:gd name="T5" fmla="*/ 63 h 548"/>
                <a:gd name="T6" fmla="*/ 303 w 375"/>
                <a:gd name="T7" fmla="*/ 214 h 548"/>
                <a:gd name="T8" fmla="*/ 305 w 375"/>
                <a:gd name="T9" fmla="*/ 323 h 548"/>
                <a:gd name="T10" fmla="*/ 295 w 375"/>
                <a:gd name="T11" fmla="*/ 329 h 548"/>
                <a:gd name="T12" fmla="*/ 284 w 375"/>
                <a:gd name="T13" fmla="*/ 325 h 548"/>
                <a:gd name="T14" fmla="*/ 239 w 375"/>
                <a:gd name="T15" fmla="*/ 278 h 548"/>
                <a:gd name="T16" fmla="*/ 235 w 375"/>
                <a:gd name="T17" fmla="*/ 268 h 548"/>
                <a:gd name="T18" fmla="*/ 215 w 375"/>
                <a:gd name="T19" fmla="*/ 258 h 548"/>
                <a:gd name="T20" fmla="*/ 184 w 375"/>
                <a:gd name="T21" fmla="*/ 255 h 548"/>
                <a:gd name="T22" fmla="*/ 167 w 375"/>
                <a:gd name="T23" fmla="*/ 264 h 548"/>
                <a:gd name="T24" fmla="*/ 130 w 375"/>
                <a:gd name="T25" fmla="*/ 268 h 548"/>
                <a:gd name="T26" fmla="*/ 87 w 375"/>
                <a:gd name="T27" fmla="*/ 279 h 548"/>
                <a:gd name="T28" fmla="*/ 27 w 375"/>
                <a:gd name="T29" fmla="*/ 309 h 548"/>
                <a:gd name="T30" fmla="*/ 8 w 375"/>
                <a:gd name="T31" fmla="*/ 363 h 548"/>
                <a:gd name="T32" fmla="*/ 0 w 375"/>
                <a:gd name="T33" fmla="*/ 409 h 548"/>
                <a:gd name="T34" fmla="*/ 6 w 375"/>
                <a:gd name="T35" fmla="*/ 441 h 548"/>
                <a:gd name="T36" fmla="*/ 25 w 375"/>
                <a:gd name="T37" fmla="*/ 480 h 548"/>
                <a:gd name="T38" fmla="*/ 29 w 375"/>
                <a:gd name="T39" fmla="*/ 495 h 548"/>
                <a:gd name="T40" fmla="*/ 40 w 375"/>
                <a:gd name="T41" fmla="*/ 505 h 548"/>
                <a:gd name="T42" fmla="*/ 60 w 375"/>
                <a:gd name="T43" fmla="*/ 508 h 548"/>
                <a:gd name="T44" fmla="*/ 133 w 375"/>
                <a:gd name="T45" fmla="*/ 541 h 548"/>
                <a:gd name="T46" fmla="*/ 192 w 375"/>
                <a:gd name="T47" fmla="*/ 548 h 548"/>
                <a:gd name="T48" fmla="*/ 222 w 375"/>
                <a:gd name="T49" fmla="*/ 544 h 548"/>
                <a:gd name="T50" fmla="*/ 241 w 375"/>
                <a:gd name="T51" fmla="*/ 532 h 548"/>
                <a:gd name="T52" fmla="*/ 261 w 375"/>
                <a:gd name="T53" fmla="*/ 508 h 548"/>
                <a:gd name="T54" fmla="*/ 278 w 375"/>
                <a:gd name="T55" fmla="*/ 508 h 548"/>
                <a:gd name="T56" fmla="*/ 301 w 375"/>
                <a:gd name="T57" fmla="*/ 522 h 548"/>
                <a:gd name="T58" fmla="*/ 325 w 375"/>
                <a:gd name="T59" fmla="*/ 544 h 548"/>
                <a:gd name="T60" fmla="*/ 336 w 375"/>
                <a:gd name="T61" fmla="*/ 547 h 548"/>
                <a:gd name="T62" fmla="*/ 363 w 375"/>
                <a:gd name="T63" fmla="*/ 538 h 548"/>
                <a:gd name="T64" fmla="*/ 375 w 375"/>
                <a:gd name="T65" fmla="*/ 525 h 548"/>
                <a:gd name="T66" fmla="*/ 370 w 375"/>
                <a:gd name="T67" fmla="*/ 504 h 548"/>
                <a:gd name="T68" fmla="*/ 356 w 375"/>
                <a:gd name="T69" fmla="*/ 464 h 548"/>
                <a:gd name="T70" fmla="*/ 355 w 375"/>
                <a:gd name="T71" fmla="*/ 443 h 548"/>
                <a:gd name="T72" fmla="*/ 365 w 375"/>
                <a:gd name="T73" fmla="*/ 325 h 548"/>
                <a:gd name="T74" fmla="*/ 363 w 375"/>
                <a:gd name="T75" fmla="*/ 204 h 548"/>
                <a:gd name="T76" fmla="*/ 356 w 375"/>
                <a:gd name="T77" fmla="*/ 126 h 548"/>
                <a:gd name="T78" fmla="*/ 345 w 375"/>
                <a:gd name="T79" fmla="*/ 42 h 548"/>
                <a:gd name="T80" fmla="*/ 336 w 375"/>
                <a:gd name="T81" fmla="*/ 10 h 548"/>
                <a:gd name="T82" fmla="*/ 318 w 375"/>
                <a:gd name="T83" fmla="*/ 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548">
                  <a:moveTo>
                    <a:pt x="311" y="0"/>
                  </a:moveTo>
                  <a:lnTo>
                    <a:pt x="311" y="0"/>
                  </a:lnTo>
                  <a:lnTo>
                    <a:pt x="306" y="3"/>
                  </a:lnTo>
                  <a:lnTo>
                    <a:pt x="303" y="5"/>
                  </a:lnTo>
                  <a:lnTo>
                    <a:pt x="299" y="10"/>
                  </a:lnTo>
                  <a:lnTo>
                    <a:pt x="296" y="17"/>
                  </a:lnTo>
                  <a:lnTo>
                    <a:pt x="292" y="23"/>
                  </a:lnTo>
                  <a:lnTo>
                    <a:pt x="292" y="23"/>
                  </a:lnTo>
                  <a:lnTo>
                    <a:pt x="292" y="63"/>
                  </a:lnTo>
                  <a:lnTo>
                    <a:pt x="293" y="101"/>
                  </a:lnTo>
                  <a:lnTo>
                    <a:pt x="301" y="177"/>
                  </a:lnTo>
                  <a:lnTo>
                    <a:pt x="303" y="214"/>
                  </a:lnTo>
                  <a:lnTo>
                    <a:pt x="306" y="251"/>
                  </a:lnTo>
                  <a:lnTo>
                    <a:pt x="306" y="288"/>
                  </a:lnTo>
                  <a:lnTo>
                    <a:pt x="305" y="323"/>
                  </a:lnTo>
                  <a:lnTo>
                    <a:pt x="305" y="323"/>
                  </a:lnTo>
                  <a:lnTo>
                    <a:pt x="299" y="329"/>
                  </a:lnTo>
                  <a:lnTo>
                    <a:pt x="295" y="329"/>
                  </a:lnTo>
                  <a:lnTo>
                    <a:pt x="292" y="330"/>
                  </a:lnTo>
                  <a:lnTo>
                    <a:pt x="292" y="330"/>
                  </a:lnTo>
                  <a:lnTo>
                    <a:pt x="284" y="325"/>
                  </a:lnTo>
                  <a:lnTo>
                    <a:pt x="276" y="320"/>
                  </a:lnTo>
                  <a:lnTo>
                    <a:pt x="264" y="308"/>
                  </a:lnTo>
                  <a:lnTo>
                    <a:pt x="239" y="278"/>
                  </a:lnTo>
                  <a:lnTo>
                    <a:pt x="239" y="273"/>
                  </a:lnTo>
                  <a:lnTo>
                    <a:pt x="239" y="273"/>
                  </a:lnTo>
                  <a:lnTo>
                    <a:pt x="235" y="268"/>
                  </a:lnTo>
                  <a:lnTo>
                    <a:pt x="228" y="264"/>
                  </a:lnTo>
                  <a:lnTo>
                    <a:pt x="222" y="261"/>
                  </a:lnTo>
                  <a:lnTo>
                    <a:pt x="215" y="258"/>
                  </a:lnTo>
                  <a:lnTo>
                    <a:pt x="208" y="255"/>
                  </a:lnTo>
                  <a:lnTo>
                    <a:pt x="200" y="255"/>
                  </a:lnTo>
                  <a:lnTo>
                    <a:pt x="184" y="255"/>
                  </a:lnTo>
                  <a:lnTo>
                    <a:pt x="184" y="255"/>
                  </a:lnTo>
                  <a:lnTo>
                    <a:pt x="175" y="261"/>
                  </a:lnTo>
                  <a:lnTo>
                    <a:pt x="167" y="264"/>
                  </a:lnTo>
                  <a:lnTo>
                    <a:pt x="158" y="266"/>
                  </a:lnTo>
                  <a:lnTo>
                    <a:pt x="150" y="266"/>
                  </a:lnTo>
                  <a:lnTo>
                    <a:pt x="13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87" y="279"/>
                  </a:lnTo>
                  <a:lnTo>
                    <a:pt x="63" y="291"/>
                  </a:lnTo>
                  <a:lnTo>
                    <a:pt x="39" y="302"/>
                  </a:lnTo>
                  <a:lnTo>
                    <a:pt x="27" y="309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8" y="363"/>
                  </a:lnTo>
                  <a:lnTo>
                    <a:pt x="3" y="386"/>
                  </a:lnTo>
                  <a:lnTo>
                    <a:pt x="0" y="409"/>
                  </a:lnTo>
                  <a:lnTo>
                    <a:pt x="0" y="409"/>
                  </a:lnTo>
                  <a:lnTo>
                    <a:pt x="0" y="421"/>
                  </a:lnTo>
                  <a:lnTo>
                    <a:pt x="2" y="431"/>
                  </a:lnTo>
                  <a:lnTo>
                    <a:pt x="6" y="441"/>
                  </a:lnTo>
                  <a:lnTo>
                    <a:pt x="10" y="451"/>
                  </a:lnTo>
                  <a:lnTo>
                    <a:pt x="20" y="470"/>
                  </a:lnTo>
                  <a:lnTo>
                    <a:pt x="25" y="480"/>
                  </a:lnTo>
                  <a:lnTo>
                    <a:pt x="27" y="490"/>
                  </a:lnTo>
                  <a:lnTo>
                    <a:pt x="27" y="490"/>
                  </a:lnTo>
                  <a:lnTo>
                    <a:pt x="29" y="495"/>
                  </a:lnTo>
                  <a:lnTo>
                    <a:pt x="32" y="500"/>
                  </a:lnTo>
                  <a:lnTo>
                    <a:pt x="36" y="503"/>
                  </a:lnTo>
                  <a:lnTo>
                    <a:pt x="40" y="505"/>
                  </a:lnTo>
                  <a:lnTo>
                    <a:pt x="50" y="508"/>
                  </a:lnTo>
                  <a:lnTo>
                    <a:pt x="60" y="508"/>
                  </a:lnTo>
                  <a:lnTo>
                    <a:pt x="60" y="508"/>
                  </a:lnTo>
                  <a:lnTo>
                    <a:pt x="96" y="527"/>
                  </a:lnTo>
                  <a:lnTo>
                    <a:pt x="114" y="534"/>
                  </a:lnTo>
                  <a:lnTo>
                    <a:pt x="133" y="541"/>
                  </a:lnTo>
                  <a:lnTo>
                    <a:pt x="151" y="545"/>
                  </a:lnTo>
                  <a:lnTo>
                    <a:pt x="171" y="548"/>
                  </a:lnTo>
                  <a:lnTo>
                    <a:pt x="192" y="548"/>
                  </a:lnTo>
                  <a:lnTo>
                    <a:pt x="215" y="547"/>
                  </a:lnTo>
                  <a:lnTo>
                    <a:pt x="215" y="547"/>
                  </a:lnTo>
                  <a:lnTo>
                    <a:pt x="222" y="544"/>
                  </a:lnTo>
                  <a:lnTo>
                    <a:pt x="229" y="541"/>
                  </a:lnTo>
                  <a:lnTo>
                    <a:pt x="235" y="537"/>
                  </a:lnTo>
                  <a:lnTo>
                    <a:pt x="241" y="532"/>
                  </a:lnTo>
                  <a:lnTo>
                    <a:pt x="249" y="521"/>
                  </a:lnTo>
                  <a:lnTo>
                    <a:pt x="261" y="508"/>
                  </a:lnTo>
                  <a:lnTo>
                    <a:pt x="261" y="508"/>
                  </a:lnTo>
                  <a:lnTo>
                    <a:pt x="266" y="507"/>
                  </a:lnTo>
                  <a:lnTo>
                    <a:pt x="274" y="507"/>
                  </a:lnTo>
                  <a:lnTo>
                    <a:pt x="278" y="508"/>
                  </a:lnTo>
                  <a:lnTo>
                    <a:pt x="284" y="510"/>
                  </a:lnTo>
                  <a:lnTo>
                    <a:pt x="292" y="515"/>
                  </a:lnTo>
                  <a:lnTo>
                    <a:pt x="301" y="522"/>
                  </a:lnTo>
                  <a:lnTo>
                    <a:pt x="308" y="531"/>
                  </a:lnTo>
                  <a:lnTo>
                    <a:pt x="316" y="538"/>
                  </a:lnTo>
                  <a:lnTo>
                    <a:pt x="325" y="544"/>
                  </a:lnTo>
                  <a:lnTo>
                    <a:pt x="330" y="545"/>
                  </a:lnTo>
                  <a:lnTo>
                    <a:pt x="336" y="547"/>
                  </a:lnTo>
                  <a:lnTo>
                    <a:pt x="336" y="547"/>
                  </a:lnTo>
                  <a:lnTo>
                    <a:pt x="348" y="545"/>
                  </a:lnTo>
                  <a:lnTo>
                    <a:pt x="359" y="541"/>
                  </a:lnTo>
                  <a:lnTo>
                    <a:pt x="363" y="538"/>
                  </a:lnTo>
                  <a:lnTo>
                    <a:pt x="369" y="535"/>
                  </a:lnTo>
                  <a:lnTo>
                    <a:pt x="372" y="531"/>
                  </a:lnTo>
                  <a:lnTo>
                    <a:pt x="375" y="525"/>
                  </a:lnTo>
                  <a:lnTo>
                    <a:pt x="375" y="525"/>
                  </a:lnTo>
                  <a:lnTo>
                    <a:pt x="373" y="515"/>
                  </a:lnTo>
                  <a:lnTo>
                    <a:pt x="370" y="504"/>
                  </a:lnTo>
                  <a:lnTo>
                    <a:pt x="363" y="484"/>
                  </a:lnTo>
                  <a:lnTo>
                    <a:pt x="359" y="474"/>
                  </a:lnTo>
                  <a:lnTo>
                    <a:pt x="356" y="464"/>
                  </a:lnTo>
                  <a:lnTo>
                    <a:pt x="355" y="454"/>
                  </a:lnTo>
                  <a:lnTo>
                    <a:pt x="355" y="443"/>
                  </a:lnTo>
                  <a:lnTo>
                    <a:pt x="355" y="443"/>
                  </a:lnTo>
                  <a:lnTo>
                    <a:pt x="359" y="404"/>
                  </a:lnTo>
                  <a:lnTo>
                    <a:pt x="363" y="366"/>
                  </a:lnTo>
                  <a:lnTo>
                    <a:pt x="365" y="325"/>
                  </a:lnTo>
                  <a:lnTo>
                    <a:pt x="366" y="285"/>
                  </a:lnTo>
                  <a:lnTo>
                    <a:pt x="365" y="244"/>
                  </a:lnTo>
                  <a:lnTo>
                    <a:pt x="363" y="204"/>
                  </a:lnTo>
                  <a:lnTo>
                    <a:pt x="360" y="164"/>
                  </a:lnTo>
                  <a:lnTo>
                    <a:pt x="356" y="126"/>
                  </a:lnTo>
                  <a:lnTo>
                    <a:pt x="356" y="126"/>
                  </a:lnTo>
                  <a:lnTo>
                    <a:pt x="352" y="97"/>
                  </a:lnTo>
                  <a:lnTo>
                    <a:pt x="348" y="70"/>
                  </a:lnTo>
                  <a:lnTo>
                    <a:pt x="345" y="42"/>
                  </a:lnTo>
                  <a:lnTo>
                    <a:pt x="339" y="13"/>
                  </a:lnTo>
                  <a:lnTo>
                    <a:pt x="339" y="13"/>
                  </a:lnTo>
                  <a:lnTo>
                    <a:pt x="336" y="10"/>
                  </a:lnTo>
                  <a:lnTo>
                    <a:pt x="333" y="7"/>
                  </a:lnTo>
                  <a:lnTo>
                    <a:pt x="326" y="5"/>
                  </a:lnTo>
                  <a:lnTo>
                    <a:pt x="318" y="3"/>
                  </a:lnTo>
                  <a:lnTo>
                    <a:pt x="311" y="0"/>
                  </a:lnTo>
                  <a:lnTo>
                    <a:pt x="3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" name="Freeform 379"/>
            <p:cNvSpPr>
              <a:spLocks/>
            </p:cNvSpPr>
            <p:nvPr/>
          </p:nvSpPr>
          <p:spPr bwMode="auto">
            <a:xfrm>
              <a:off x="7461" y="2618"/>
              <a:ext cx="166" cy="203"/>
            </a:xfrm>
            <a:custGeom>
              <a:avLst/>
              <a:gdLst>
                <a:gd name="T0" fmla="*/ 143 w 166"/>
                <a:gd name="T1" fmla="*/ 25 h 203"/>
                <a:gd name="T2" fmla="*/ 143 w 166"/>
                <a:gd name="T3" fmla="*/ 25 h 203"/>
                <a:gd name="T4" fmla="*/ 146 w 166"/>
                <a:gd name="T5" fmla="*/ 41 h 203"/>
                <a:gd name="T6" fmla="*/ 150 w 166"/>
                <a:gd name="T7" fmla="*/ 55 h 203"/>
                <a:gd name="T8" fmla="*/ 153 w 166"/>
                <a:gd name="T9" fmla="*/ 62 h 203"/>
                <a:gd name="T10" fmla="*/ 156 w 166"/>
                <a:gd name="T11" fmla="*/ 69 h 203"/>
                <a:gd name="T12" fmla="*/ 160 w 166"/>
                <a:gd name="T13" fmla="*/ 75 h 203"/>
                <a:gd name="T14" fmla="*/ 166 w 166"/>
                <a:gd name="T15" fmla="*/ 81 h 203"/>
                <a:gd name="T16" fmla="*/ 166 w 166"/>
                <a:gd name="T17" fmla="*/ 81 h 203"/>
                <a:gd name="T18" fmla="*/ 165 w 166"/>
                <a:gd name="T19" fmla="*/ 102 h 203"/>
                <a:gd name="T20" fmla="*/ 162 w 166"/>
                <a:gd name="T21" fmla="*/ 125 h 203"/>
                <a:gd name="T22" fmla="*/ 153 w 166"/>
                <a:gd name="T23" fmla="*/ 169 h 203"/>
                <a:gd name="T24" fmla="*/ 153 w 166"/>
                <a:gd name="T25" fmla="*/ 169 h 203"/>
                <a:gd name="T26" fmla="*/ 146 w 166"/>
                <a:gd name="T27" fmla="*/ 180 h 203"/>
                <a:gd name="T28" fmla="*/ 136 w 166"/>
                <a:gd name="T29" fmla="*/ 189 h 203"/>
                <a:gd name="T30" fmla="*/ 126 w 166"/>
                <a:gd name="T31" fmla="*/ 197 h 203"/>
                <a:gd name="T32" fmla="*/ 113 w 166"/>
                <a:gd name="T33" fmla="*/ 202 h 203"/>
                <a:gd name="T34" fmla="*/ 113 w 166"/>
                <a:gd name="T35" fmla="*/ 202 h 203"/>
                <a:gd name="T36" fmla="*/ 99 w 166"/>
                <a:gd name="T37" fmla="*/ 203 h 203"/>
                <a:gd name="T38" fmla="*/ 85 w 166"/>
                <a:gd name="T39" fmla="*/ 202 h 203"/>
                <a:gd name="T40" fmla="*/ 71 w 166"/>
                <a:gd name="T41" fmla="*/ 199 h 203"/>
                <a:gd name="T42" fmla="*/ 58 w 166"/>
                <a:gd name="T43" fmla="*/ 193 h 203"/>
                <a:gd name="T44" fmla="*/ 47 w 166"/>
                <a:gd name="T45" fmla="*/ 187 h 203"/>
                <a:gd name="T46" fmla="*/ 35 w 166"/>
                <a:gd name="T47" fmla="*/ 179 h 203"/>
                <a:gd name="T48" fmla="*/ 25 w 166"/>
                <a:gd name="T49" fmla="*/ 169 h 203"/>
                <a:gd name="T50" fmla="*/ 18 w 166"/>
                <a:gd name="T51" fmla="*/ 157 h 203"/>
                <a:gd name="T52" fmla="*/ 18 w 166"/>
                <a:gd name="T53" fmla="*/ 157 h 203"/>
                <a:gd name="T54" fmla="*/ 11 w 166"/>
                <a:gd name="T55" fmla="*/ 146 h 203"/>
                <a:gd name="T56" fmla="*/ 5 w 166"/>
                <a:gd name="T57" fmla="*/ 132 h 203"/>
                <a:gd name="T58" fmla="*/ 1 w 166"/>
                <a:gd name="T59" fmla="*/ 116 h 203"/>
                <a:gd name="T60" fmla="*/ 0 w 166"/>
                <a:gd name="T61" fmla="*/ 102 h 203"/>
                <a:gd name="T62" fmla="*/ 0 w 166"/>
                <a:gd name="T63" fmla="*/ 86 h 203"/>
                <a:gd name="T64" fmla="*/ 1 w 166"/>
                <a:gd name="T65" fmla="*/ 71 h 203"/>
                <a:gd name="T66" fmla="*/ 5 w 166"/>
                <a:gd name="T67" fmla="*/ 56 h 203"/>
                <a:gd name="T68" fmla="*/ 12 w 166"/>
                <a:gd name="T69" fmla="*/ 44 h 203"/>
                <a:gd name="T70" fmla="*/ 12 w 166"/>
                <a:gd name="T71" fmla="*/ 44 h 203"/>
                <a:gd name="T72" fmla="*/ 20 w 166"/>
                <a:gd name="T73" fmla="*/ 32 h 203"/>
                <a:gd name="T74" fmla="*/ 30 w 166"/>
                <a:gd name="T75" fmla="*/ 24 h 203"/>
                <a:gd name="T76" fmla="*/ 41 w 166"/>
                <a:gd name="T77" fmla="*/ 17 h 203"/>
                <a:gd name="T78" fmla="*/ 54 w 166"/>
                <a:gd name="T79" fmla="*/ 9 h 203"/>
                <a:gd name="T80" fmla="*/ 68 w 166"/>
                <a:gd name="T81" fmla="*/ 5 h 203"/>
                <a:gd name="T82" fmla="*/ 82 w 166"/>
                <a:gd name="T83" fmla="*/ 2 h 203"/>
                <a:gd name="T84" fmla="*/ 96 w 166"/>
                <a:gd name="T85" fmla="*/ 0 h 203"/>
                <a:gd name="T86" fmla="*/ 109 w 166"/>
                <a:gd name="T87" fmla="*/ 0 h 203"/>
                <a:gd name="T88" fmla="*/ 109 w 166"/>
                <a:gd name="T89" fmla="*/ 0 h 203"/>
                <a:gd name="T90" fmla="*/ 121 w 166"/>
                <a:gd name="T91" fmla="*/ 4 h 203"/>
                <a:gd name="T92" fmla="*/ 129 w 166"/>
                <a:gd name="T93" fmla="*/ 9 h 203"/>
                <a:gd name="T94" fmla="*/ 138 w 166"/>
                <a:gd name="T95" fmla="*/ 17 h 203"/>
                <a:gd name="T96" fmla="*/ 143 w 166"/>
                <a:gd name="T97" fmla="*/ 25 h 203"/>
                <a:gd name="T98" fmla="*/ 143 w 166"/>
                <a:gd name="T99" fmla="*/ 2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6" h="203">
                  <a:moveTo>
                    <a:pt x="143" y="25"/>
                  </a:moveTo>
                  <a:lnTo>
                    <a:pt x="143" y="25"/>
                  </a:lnTo>
                  <a:lnTo>
                    <a:pt x="146" y="41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6" y="69"/>
                  </a:lnTo>
                  <a:lnTo>
                    <a:pt x="160" y="75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5" y="102"/>
                  </a:lnTo>
                  <a:lnTo>
                    <a:pt x="162" y="125"/>
                  </a:lnTo>
                  <a:lnTo>
                    <a:pt x="153" y="169"/>
                  </a:lnTo>
                  <a:lnTo>
                    <a:pt x="153" y="169"/>
                  </a:lnTo>
                  <a:lnTo>
                    <a:pt x="146" y="180"/>
                  </a:lnTo>
                  <a:lnTo>
                    <a:pt x="136" y="189"/>
                  </a:lnTo>
                  <a:lnTo>
                    <a:pt x="126" y="197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99" y="203"/>
                  </a:lnTo>
                  <a:lnTo>
                    <a:pt x="85" y="202"/>
                  </a:lnTo>
                  <a:lnTo>
                    <a:pt x="71" y="199"/>
                  </a:lnTo>
                  <a:lnTo>
                    <a:pt x="58" y="193"/>
                  </a:lnTo>
                  <a:lnTo>
                    <a:pt x="47" y="187"/>
                  </a:lnTo>
                  <a:lnTo>
                    <a:pt x="35" y="179"/>
                  </a:lnTo>
                  <a:lnTo>
                    <a:pt x="25" y="169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1" y="146"/>
                  </a:lnTo>
                  <a:lnTo>
                    <a:pt x="5" y="132"/>
                  </a:lnTo>
                  <a:lnTo>
                    <a:pt x="1" y="116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1" y="71"/>
                  </a:lnTo>
                  <a:lnTo>
                    <a:pt x="5" y="5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20" y="32"/>
                  </a:lnTo>
                  <a:lnTo>
                    <a:pt x="30" y="24"/>
                  </a:lnTo>
                  <a:lnTo>
                    <a:pt x="41" y="17"/>
                  </a:lnTo>
                  <a:lnTo>
                    <a:pt x="54" y="9"/>
                  </a:lnTo>
                  <a:lnTo>
                    <a:pt x="68" y="5"/>
                  </a:lnTo>
                  <a:lnTo>
                    <a:pt x="82" y="2"/>
                  </a:lnTo>
                  <a:lnTo>
                    <a:pt x="9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21" y="4"/>
                  </a:lnTo>
                  <a:lnTo>
                    <a:pt x="129" y="9"/>
                  </a:lnTo>
                  <a:lnTo>
                    <a:pt x="138" y="17"/>
                  </a:lnTo>
                  <a:lnTo>
                    <a:pt x="143" y="25"/>
                  </a:lnTo>
                  <a:lnTo>
                    <a:pt x="143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380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" name="Freeform 381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382"/>
            <p:cNvSpPr>
              <a:spLocks noEditPoints="1"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  <a:gd name="T18" fmla="*/ 200 w 535"/>
                <a:gd name="T19" fmla="*/ 322 h 541"/>
                <a:gd name="T20" fmla="*/ 299 w 535"/>
                <a:gd name="T21" fmla="*/ 322 h 541"/>
                <a:gd name="T22" fmla="*/ 252 w 535"/>
                <a:gd name="T23" fmla="*/ 137 h 541"/>
                <a:gd name="T24" fmla="*/ 200 w 535"/>
                <a:gd name="T25" fmla="*/ 32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  <a:close/>
                  <a:moveTo>
                    <a:pt x="200" y="322"/>
                  </a:moveTo>
                  <a:lnTo>
                    <a:pt x="299" y="322"/>
                  </a:lnTo>
                  <a:lnTo>
                    <a:pt x="252" y="137"/>
                  </a:lnTo>
                  <a:lnTo>
                    <a:pt x="200" y="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383"/>
            <p:cNvSpPr>
              <a:spLocks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384"/>
            <p:cNvSpPr>
              <a:spLocks/>
            </p:cNvSpPr>
            <p:nvPr/>
          </p:nvSpPr>
          <p:spPr bwMode="auto">
            <a:xfrm>
              <a:off x="6986" y="1551"/>
              <a:ext cx="99" cy="185"/>
            </a:xfrm>
            <a:custGeom>
              <a:avLst/>
              <a:gdLst>
                <a:gd name="T0" fmla="*/ 0 w 99"/>
                <a:gd name="T1" fmla="*/ 185 h 185"/>
                <a:gd name="T2" fmla="*/ 99 w 99"/>
                <a:gd name="T3" fmla="*/ 185 h 185"/>
                <a:gd name="T4" fmla="*/ 52 w 99"/>
                <a:gd name="T5" fmla="*/ 0 h 185"/>
                <a:gd name="T6" fmla="*/ 0 w 99"/>
                <a:gd name="T7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85">
                  <a:moveTo>
                    <a:pt x="0" y="185"/>
                  </a:moveTo>
                  <a:lnTo>
                    <a:pt x="99" y="185"/>
                  </a:lnTo>
                  <a:lnTo>
                    <a:pt x="52" y="0"/>
                  </a:lnTo>
                  <a:lnTo>
                    <a:pt x="0" y="18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385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" name="Freeform 386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" name="Freeform 387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  <a:gd name="T52" fmla="*/ 166 w 166"/>
                <a:gd name="T53" fmla="*/ 5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  <a:lnTo>
                    <a:pt x="166" y="54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6" name="Freeform 388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9" name="Title 1"/>
          <p:cNvSpPr txBox="1">
            <a:spLocks/>
          </p:cNvSpPr>
          <p:nvPr userDrawn="1"/>
        </p:nvSpPr>
        <p:spPr>
          <a:xfrm>
            <a:off x="838200" y="-105569"/>
            <a:ext cx="10515600" cy="12358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Click to edit Master title style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498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26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2192000" cy="10668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541"/>
            <a:ext cx="10515600" cy="1057275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3" y="1196208"/>
            <a:ext cx="10698724" cy="497912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303" y="6330832"/>
            <a:ext cx="571500" cy="365125"/>
          </a:xfrm>
        </p:spPr>
        <p:txBody>
          <a:bodyPr/>
          <a:lstStyle/>
          <a:p>
            <a:fld id="{AEE12407-35E7-4E87-8757-FD495B64908C}" type="slidenum">
              <a:rPr lang="en-US" smtClean="0"/>
              <a:t>‹#›</a:t>
            </a:fld>
            <a:endParaRPr lang="en-US"/>
          </a:p>
        </p:txBody>
      </p:sp>
      <p:grpSp>
        <p:nvGrpSpPr>
          <p:cNvPr id="10" name="Group 363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>
            <a:off x="11500627" y="6215063"/>
            <a:ext cx="585788" cy="538162"/>
            <a:chOff x="5907" y="1132"/>
            <a:chExt cx="2151" cy="1976"/>
          </a:xfrm>
        </p:grpSpPr>
        <p:sp>
          <p:nvSpPr>
            <p:cNvPr id="11" name="Freeform 364"/>
            <p:cNvSpPr>
              <a:spLocks/>
            </p:cNvSpPr>
            <p:nvPr/>
          </p:nvSpPr>
          <p:spPr bwMode="auto">
            <a:xfrm>
              <a:off x="5966" y="2117"/>
              <a:ext cx="2028" cy="0"/>
            </a:xfrm>
            <a:custGeom>
              <a:avLst/>
              <a:gdLst>
                <a:gd name="T0" fmla="*/ 0 w 2028"/>
                <a:gd name="T1" fmla="*/ 2028 w 2028"/>
                <a:gd name="T2" fmla="*/ 0 w 202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28">
                  <a:moveTo>
                    <a:pt x="0" y="0"/>
                  </a:moveTo>
                  <a:lnTo>
                    <a:pt x="202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Line 365"/>
            <p:cNvSpPr>
              <a:spLocks noChangeShapeType="1"/>
            </p:cNvSpPr>
            <p:nvPr/>
          </p:nvSpPr>
          <p:spPr bwMode="auto">
            <a:xfrm>
              <a:off x="5966" y="2117"/>
              <a:ext cx="202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Rectangle 366"/>
            <p:cNvSpPr>
              <a:spLocks noChangeArrowheads="1"/>
            </p:cNvSpPr>
            <p:nvPr/>
          </p:nvSpPr>
          <p:spPr bwMode="auto">
            <a:xfrm>
              <a:off x="5968" y="1194"/>
              <a:ext cx="2030" cy="1853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367"/>
            <p:cNvSpPr>
              <a:spLocks noEditPoints="1"/>
            </p:cNvSpPr>
            <p:nvPr/>
          </p:nvSpPr>
          <p:spPr bwMode="auto">
            <a:xfrm>
              <a:off x="5907" y="1132"/>
              <a:ext cx="2151" cy="1976"/>
            </a:xfrm>
            <a:custGeom>
              <a:avLst/>
              <a:gdLst>
                <a:gd name="T0" fmla="*/ 0 w 2151"/>
                <a:gd name="T1" fmla="*/ 1976 h 1976"/>
                <a:gd name="T2" fmla="*/ 2151 w 2151"/>
                <a:gd name="T3" fmla="*/ 1976 h 1976"/>
                <a:gd name="T4" fmla="*/ 2151 w 2151"/>
                <a:gd name="T5" fmla="*/ 0 h 1976"/>
                <a:gd name="T6" fmla="*/ 0 w 2151"/>
                <a:gd name="T7" fmla="*/ 0 h 1976"/>
                <a:gd name="T8" fmla="*/ 0 w 2151"/>
                <a:gd name="T9" fmla="*/ 1976 h 1976"/>
                <a:gd name="T10" fmla="*/ 123 w 2151"/>
                <a:gd name="T11" fmla="*/ 1854 h 1976"/>
                <a:gd name="T12" fmla="*/ 123 w 2151"/>
                <a:gd name="T13" fmla="*/ 1854 h 1976"/>
                <a:gd name="T14" fmla="*/ 123 w 2151"/>
                <a:gd name="T15" fmla="*/ 1046 h 1976"/>
                <a:gd name="T16" fmla="*/ 2030 w 2151"/>
                <a:gd name="T17" fmla="*/ 1046 h 1976"/>
                <a:gd name="T18" fmla="*/ 2030 w 2151"/>
                <a:gd name="T19" fmla="*/ 1046 h 1976"/>
                <a:gd name="T20" fmla="*/ 2030 w 2151"/>
                <a:gd name="T21" fmla="*/ 1854 h 1976"/>
                <a:gd name="T22" fmla="*/ 2030 w 2151"/>
                <a:gd name="T23" fmla="*/ 1854 h 1976"/>
                <a:gd name="T24" fmla="*/ 123 w 2151"/>
                <a:gd name="T25" fmla="*/ 1854 h 1976"/>
                <a:gd name="T26" fmla="*/ 123 w 2151"/>
                <a:gd name="T27" fmla="*/ 1854 h 1976"/>
                <a:gd name="T28" fmla="*/ 2030 w 2151"/>
                <a:gd name="T29" fmla="*/ 123 h 1976"/>
                <a:gd name="T30" fmla="*/ 2030 w 2151"/>
                <a:gd name="T31" fmla="*/ 123 h 1976"/>
                <a:gd name="T32" fmla="*/ 2030 w 2151"/>
                <a:gd name="T33" fmla="*/ 924 h 1976"/>
                <a:gd name="T34" fmla="*/ 123 w 2151"/>
                <a:gd name="T35" fmla="*/ 924 h 1976"/>
                <a:gd name="T36" fmla="*/ 123 w 2151"/>
                <a:gd name="T37" fmla="*/ 924 h 1976"/>
                <a:gd name="T38" fmla="*/ 123 w 2151"/>
                <a:gd name="T39" fmla="*/ 123 h 1976"/>
                <a:gd name="T40" fmla="*/ 123 w 2151"/>
                <a:gd name="T41" fmla="*/ 123 h 1976"/>
                <a:gd name="T42" fmla="*/ 2030 w 2151"/>
                <a:gd name="T43" fmla="*/ 123 h 1976"/>
                <a:gd name="T44" fmla="*/ 2030 w 2151"/>
                <a:gd name="T45" fmla="*/ 123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51" h="1976">
                  <a:moveTo>
                    <a:pt x="0" y="1976"/>
                  </a:moveTo>
                  <a:lnTo>
                    <a:pt x="2151" y="1976"/>
                  </a:lnTo>
                  <a:lnTo>
                    <a:pt x="2151" y="0"/>
                  </a:lnTo>
                  <a:lnTo>
                    <a:pt x="0" y="0"/>
                  </a:lnTo>
                  <a:lnTo>
                    <a:pt x="0" y="1976"/>
                  </a:lnTo>
                  <a:close/>
                  <a:moveTo>
                    <a:pt x="123" y="1854"/>
                  </a:moveTo>
                  <a:lnTo>
                    <a:pt x="123" y="1854"/>
                  </a:lnTo>
                  <a:lnTo>
                    <a:pt x="123" y="1046"/>
                  </a:lnTo>
                  <a:lnTo>
                    <a:pt x="2030" y="1046"/>
                  </a:lnTo>
                  <a:lnTo>
                    <a:pt x="2030" y="1046"/>
                  </a:lnTo>
                  <a:lnTo>
                    <a:pt x="2030" y="1854"/>
                  </a:lnTo>
                  <a:lnTo>
                    <a:pt x="2030" y="1854"/>
                  </a:lnTo>
                  <a:lnTo>
                    <a:pt x="123" y="1854"/>
                  </a:lnTo>
                  <a:lnTo>
                    <a:pt x="123" y="1854"/>
                  </a:lnTo>
                  <a:close/>
                  <a:moveTo>
                    <a:pt x="2030" y="123"/>
                  </a:moveTo>
                  <a:lnTo>
                    <a:pt x="2030" y="123"/>
                  </a:lnTo>
                  <a:lnTo>
                    <a:pt x="2030" y="924"/>
                  </a:lnTo>
                  <a:lnTo>
                    <a:pt x="123" y="924"/>
                  </a:lnTo>
                  <a:lnTo>
                    <a:pt x="123" y="924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2030" y="123"/>
                  </a:lnTo>
                  <a:lnTo>
                    <a:pt x="2030" y="123"/>
                  </a:lnTo>
                  <a:close/>
                </a:path>
              </a:pathLst>
            </a:custGeom>
            <a:solidFill>
              <a:srgbClr val="EF3E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368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64 h 587"/>
                <a:gd name="T34" fmla="*/ 953 w 1552"/>
                <a:gd name="T35" fmla="*/ 227 h 587"/>
                <a:gd name="T36" fmla="*/ 960 w 1552"/>
                <a:gd name="T37" fmla="*/ 419 h 587"/>
                <a:gd name="T38" fmla="*/ 968 w 1552"/>
                <a:gd name="T39" fmla="*/ 519 h 587"/>
                <a:gd name="T40" fmla="*/ 1034 w 1552"/>
                <a:gd name="T41" fmla="*/ 540 h 587"/>
                <a:gd name="T42" fmla="*/ 1039 w 1552"/>
                <a:gd name="T43" fmla="*/ 458 h 587"/>
                <a:gd name="T44" fmla="*/ 1039 w 1552"/>
                <a:gd name="T45" fmla="*/ 261 h 587"/>
                <a:gd name="T46" fmla="*/ 994 w 1552"/>
                <a:gd name="T47" fmla="*/ 69 h 587"/>
                <a:gd name="T48" fmla="*/ 936 w 1552"/>
                <a:gd name="T49" fmla="*/ 39 h 587"/>
                <a:gd name="T50" fmla="*/ 830 w 1552"/>
                <a:gd name="T51" fmla="*/ 196 h 587"/>
                <a:gd name="T52" fmla="*/ 786 w 1552"/>
                <a:gd name="T53" fmla="*/ 190 h 587"/>
                <a:gd name="T54" fmla="*/ 145 w 1552"/>
                <a:gd name="T55" fmla="*/ 250 h 587"/>
                <a:gd name="T56" fmla="*/ 15 w 1552"/>
                <a:gd name="T57" fmla="*/ 327 h 587"/>
                <a:gd name="T58" fmla="*/ 2 w 1552"/>
                <a:gd name="T59" fmla="*/ 471 h 587"/>
                <a:gd name="T60" fmla="*/ 32 w 1552"/>
                <a:gd name="T61" fmla="*/ 570 h 587"/>
                <a:gd name="T62" fmla="*/ 197 w 1552"/>
                <a:gd name="T63" fmla="*/ 579 h 587"/>
                <a:gd name="T64" fmla="*/ 244 w 1552"/>
                <a:gd name="T65" fmla="*/ 530 h 587"/>
                <a:gd name="T66" fmla="*/ 128 w 1552"/>
                <a:gd name="T67" fmla="*/ 542 h 587"/>
                <a:gd name="T68" fmla="*/ 76 w 1552"/>
                <a:gd name="T69" fmla="*/ 485 h 587"/>
                <a:gd name="T70" fmla="*/ 83 w 1552"/>
                <a:gd name="T71" fmla="*/ 333 h 587"/>
                <a:gd name="T72" fmla="*/ 156 w 1552"/>
                <a:gd name="T73" fmla="*/ 291 h 587"/>
                <a:gd name="T74" fmla="*/ 211 w 1552"/>
                <a:gd name="T75" fmla="*/ 276 h 587"/>
                <a:gd name="T76" fmla="*/ 773 w 1552"/>
                <a:gd name="T77" fmla="*/ 304 h 587"/>
                <a:gd name="T78" fmla="*/ 725 w 1552"/>
                <a:gd name="T79" fmla="*/ 509 h 587"/>
                <a:gd name="T80" fmla="*/ 776 w 1552"/>
                <a:gd name="T81" fmla="*/ 579 h 587"/>
                <a:gd name="T82" fmla="*/ 809 w 1552"/>
                <a:gd name="T83" fmla="*/ 542 h 587"/>
                <a:gd name="T84" fmla="*/ 806 w 1552"/>
                <a:gd name="T85" fmla="*/ 472 h 587"/>
                <a:gd name="T86" fmla="*/ 827 w 1552"/>
                <a:gd name="T87" fmla="*/ 297 h 587"/>
                <a:gd name="T88" fmla="*/ 1480 w 1552"/>
                <a:gd name="T89" fmla="*/ 37 h 587"/>
                <a:gd name="T90" fmla="*/ 1483 w 1552"/>
                <a:gd name="T91" fmla="*/ 320 h 587"/>
                <a:gd name="T92" fmla="*/ 1416 w 1552"/>
                <a:gd name="T93" fmla="*/ 310 h 587"/>
                <a:gd name="T94" fmla="*/ 1361 w 1552"/>
                <a:gd name="T95" fmla="*/ 287 h 587"/>
                <a:gd name="T96" fmla="*/ 1216 w 1552"/>
                <a:gd name="T97" fmla="*/ 334 h 587"/>
                <a:gd name="T98" fmla="*/ 1183 w 1552"/>
                <a:gd name="T99" fmla="*/ 473 h 587"/>
                <a:gd name="T100" fmla="*/ 1227 w 1552"/>
                <a:gd name="T101" fmla="*/ 540 h 587"/>
                <a:gd name="T102" fmla="*/ 1392 w 1552"/>
                <a:gd name="T103" fmla="*/ 579 h 587"/>
                <a:gd name="T104" fmla="*/ 1455 w 1552"/>
                <a:gd name="T105" fmla="*/ 540 h 587"/>
                <a:gd name="T106" fmla="*/ 1525 w 1552"/>
                <a:gd name="T107" fmla="*/ 577 h 587"/>
                <a:gd name="T108" fmla="*/ 1536 w 1552"/>
                <a:gd name="T109" fmla="*/ 506 h 587"/>
                <a:gd name="T110" fmla="*/ 1540 w 1552"/>
                <a:gd name="T111" fmla="*/ 236 h 587"/>
                <a:gd name="T112" fmla="*/ 1510 w 1552"/>
                <a:gd name="T113" fmla="*/ 39 h 587"/>
                <a:gd name="T114" fmla="*/ 1412 w 1552"/>
                <a:gd name="T115" fmla="*/ 402 h 587"/>
                <a:gd name="T116" fmla="*/ 1382 w 1552"/>
                <a:gd name="T117" fmla="*/ 530 h 587"/>
                <a:gd name="T118" fmla="*/ 1274 w 1552"/>
                <a:gd name="T119" fmla="*/ 490 h 587"/>
                <a:gd name="T120" fmla="*/ 1268 w 1552"/>
                <a:gd name="T121" fmla="*/ 377 h 587"/>
                <a:gd name="T122" fmla="*/ 1377 w 1552"/>
                <a:gd name="T123" fmla="*/ 337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noFill/>
            <a:ln w="0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369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370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371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  <a:gd name="T42" fmla="*/ 0 w 57"/>
                <a:gd name="T43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372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79 h 587"/>
                <a:gd name="T34" fmla="*/ 954 w 1552"/>
                <a:gd name="T35" fmla="*/ 298 h 587"/>
                <a:gd name="T36" fmla="*/ 958 w 1552"/>
                <a:gd name="T37" fmla="*/ 429 h 587"/>
                <a:gd name="T38" fmla="*/ 968 w 1552"/>
                <a:gd name="T39" fmla="*/ 519 h 587"/>
                <a:gd name="T40" fmla="*/ 1039 w 1552"/>
                <a:gd name="T41" fmla="*/ 537 h 587"/>
                <a:gd name="T42" fmla="*/ 1038 w 1552"/>
                <a:gd name="T43" fmla="*/ 445 h 587"/>
                <a:gd name="T44" fmla="*/ 1037 w 1552"/>
                <a:gd name="T45" fmla="*/ 249 h 587"/>
                <a:gd name="T46" fmla="*/ 994 w 1552"/>
                <a:gd name="T47" fmla="*/ 48 h 587"/>
                <a:gd name="T48" fmla="*/ 936 w 1552"/>
                <a:gd name="T49" fmla="*/ 39 h 587"/>
                <a:gd name="T50" fmla="*/ 833 w 1552"/>
                <a:gd name="T51" fmla="*/ 192 h 587"/>
                <a:gd name="T52" fmla="*/ 782 w 1552"/>
                <a:gd name="T53" fmla="*/ 196 h 587"/>
                <a:gd name="T54" fmla="*/ 133 w 1552"/>
                <a:gd name="T55" fmla="*/ 253 h 587"/>
                <a:gd name="T56" fmla="*/ 9 w 1552"/>
                <a:gd name="T57" fmla="*/ 335 h 587"/>
                <a:gd name="T58" fmla="*/ 5 w 1552"/>
                <a:gd name="T59" fmla="*/ 482 h 587"/>
                <a:gd name="T60" fmla="*/ 42 w 1552"/>
                <a:gd name="T61" fmla="*/ 574 h 587"/>
                <a:gd name="T62" fmla="*/ 211 w 1552"/>
                <a:gd name="T63" fmla="*/ 574 h 587"/>
                <a:gd name="T64" fmla="*/ 244 w 1552"/>
                <a:gd name="T65" fmla="*/ 530 h 587"/>
                <a:gd name="T66" fmla="*/ 118 w 1552"/>
                <a:gd name="T67" fmla="*/ 539 h 587"/>
                <a:gd name="T68" fmla="*/ 76 w 1552"/>
                <a:gd name="T69" fmla="*/ 485 h 587"/>
                <a:gd name="T70" fmla="*/ 89 w 1552"/>
                <a:gd name="T71" fmla="*/ 324 h 587"/>
                <a:gd name="T72" fmla="*/ 166 w 1552"/>
                <a:gd name="T73" fmla="*/ 286 h 587"/>
                <a:gd name="T74" fmla="*/ 213 w 1552"/>
                <a:gd name="T75" fmla="*/ 274 h 587"/>
                <a:gd name="T76" fmla="*/ 768 w 1552"/>
                <a:gd name="T77" fmla="*/ 314 h 587"/>
                <a:gd name="T78" fmla="*/ 728 w 1552"/>
                <a:gd name="T79" fmla="*/ 529 h 587"/>
                <a:gd name="T80" fmla="*/ 783 w 1552"/>
                <a:gd name="T81" fmla="*/ 577 h 587"/>
                <a:gd name="T82" fmla="*/ 806 w 1552"/>
                <a:gd name="T83" fmla="*/ 533 h 587"/>
                <a:gd name="T84" fmla="*/ 815 w 1552"/>
                <a:gd name="T85" fmla="*/ 451 h 587"/>
                <a:gd name="T86" fmla="*/ 825 w 1552"/>
                <a:gd name="T87" fmla="*/ 293 h 587"/>
                <a:gd name="T88" fmla="*/ 1476 w 1552"/>
                <a:gd name="T89" fmla="*/ 42 h 587"/>
                <a:gd name="T90" fmla="*/ 1482 w 1552"/>
                <a:gd name="T91" fmla="*/ 355 h 587"/>
                <a:gd name="T92" fmla="*/ 1416 w 1552"/>
                <a:gd name="T93" fmla="*/ 305 h 587"/>
                <a:gd name="T94" fmla="*/ 1352 w 1552"/>
                <a:gd name="T95" fmla="*/ 293 h 587"/>
                <a:gd name="T96" fmla="*/ 1204 w 1552"/>
                <a:gd name="T97" fmla="*/ 341 h 587"/>
                <a:gd name="T98" fmla="*/ 1187 w 1552"/>
                <a:gd name="T99" fmla="*/ 483 h 587"/>
                <a:gd name="T100" fmla="*/ 1237 w 1552"/>
                <a:gd name="T101" fmla="*/ 540 h 587"/>
                <a:gd name="T102" fmla="*/ 1399 w 1552"/>
                <a:gd name="T103" fmla="*/ 576 h 587"/>
                <a:gd name="T104" fmla="*/ 1461 w 1552"/>
                <a:gd name="T105" fmla="*/ 542 h 587"/>
                <a:gd name="T106" fmla="*/ 1536 w 1552"/>
                <a:gd name="T107" fmla="*/ 573 h 587"/>
                <a:gd name="T108" fmla="*/ 1533 w 1552"/>
                <a:gd name="T109" fmla="*/ 496 h 587"/>
                <a:gd name="T110" fmla="*/ 1537 w 1552"/>
                <a:gd name="T111" fmla="*/ 196 h 587"/>
                <a:gd name="T112" fmla="*/ 1503 w 1552"/>
                <a:gd name="T113" fmla="*/ 37 h 587"/>
                <a:gd name="T114" fmla="*/ 1416 w 1552"/>
                <a:gd name="T115" fmla="*/ 408 h 587"/>
                <a:gd name="T116" fmla="*/ 1369 w 1552"/>
                <a:gd name="T117" fmla="*/ 535 h 587"/>
                <a:gd name="T118" fmla="*/ 1274 w 1552"/>
                <a:gd name="T119" fmla="*/ 490 h 587"/>
                <a:gd name="T120" fmla="*/ 1276 w 1552"/>
                <a:gd name="T121" fmla="*/ 365 h 587"/>
                <a:gd name="T122" fmla="*/ 1385 w 1552"/>
                <a:gd name="T123" fmla="*/ 34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373"/>
            <p:cNvSpPr>
              <a:spLocks/>
            </p:cNvSpPr>
            <p:nvPr/>
          </p:nvSpPr>
          <p:spPr bwMode="auto">
            <a:xfrm>
              <a:off x="6526" y="2285"/>
              <a:ext cx="299" cy="549"/>
            </a:xfrm>
            <a:custGeom>
              <a:avLst/>
              <a:gdLst>
                <a:gd name="T0" fmla="*/ 97 w 299"/>
                <a:gd name="T1" fmla="*/ 84 h 549"/>
                <a:gd name="T2" fmla="*/ 114 w 299"/>
                <a:gd name="T3" fmla="*/ 197 h 549"/>
                <a:gd name="T4" fmla="*/ 125 w 299"/>
                <a:gd name="T5" fmla="*/ 241 h 549"/>
                <a:gd name="T6" fmla="*/ 118 w 299"/>
                <a:gd name="T7" fmla="*/ 280 h 549"/>
                <a:gd name="T8" fmla="*/ 122 w 299"/>
                <a:gd name="T9" fmla="*/ 304 h 549"/>
                <a:gd name="T10" fmla="*/ 196 w 299"/>
                <a:gd name="T11" fmla="*/ 301 h 549"/>
                <a:gd name="T12" fmla="*/ 243 w 299"/>
                <a:gd name="T13" fmla="*/ 310 h 549"/>
                <a:gd name="T14" fmla="*/ 272 w 299"/>
                <a:gd name="T15" fmla="*/ 325 h 549"/>
                <a:gd name="T16" fmla="*/ 292 w 299"/>
                <a:gd name="T17" fmla="*/ 355 h 549"/>
                <a:gd name="T18" fmla="*/ 297 w 299"/>
                <a:gd name="T19" fmla="*/ 421 h 549"/>
                <a:gd name="T20" fmla="*/ 296 w 299"/>
                <a:gd name="T21" fmla="*/ 489 h 549"/>
                <a:gd name="T22" fmla="*/ 286 w 299"/>
                <a:gd name="T23" fmla="*/ 519 h 549"/>
                <a:gd name="T24" fmla="*/ 276 w 299"/>
                <a:gd name="T25" fmla="*/ 535 h 549"/>
                <a:gd name="T26" fmla="*/ 258 w 299"/>
                <a:gd name="T27" fmla="*/ 546 h 549"/>
                <a:gd name="T28" fmla="*/ 236 w 299"/>
                <a:gd name="T29" fmla="*/ 547 h 549"/>
                <a:gd name="T30" fmla="*/ 223 w 299"/>
                <a:gd name="T31" fmla="*/ 540 h 549"/>
                <a:gd name="T32" fmla="*/ 218 w 299"/>
                <a:gd name="T33" fmla="*/ 523 h 549"/>
                <a:gd name="T34" fmla="*/ 225 w 299"/>
                <a:gd name="T35" fmla="*/ 493 h 549"/>
                <a:gd name="T36" fmla="*/ 232 w 299"/>
                <a:gd name="T37" fmla="*/ 446 h 549"/>
                <a:gd name="T38" fmla="*/ 229 w 299"/>
                <a:gd name="T39" fmla="*/ 398 h 549"/>
                <a:gd name="T40" fmla="*/ 216 w 299"/>
                <a:gd name="T41" fmla="*/ 372 h 549"/>
                <a:gd name="T42" fmla="*/ 198 w 299"/>
                <a:gd name="T43" fmla="*/ 352 h 549"/>
                <a:gd name="T44" fmla="*/ 159 w 299"/>
                <a:gd name="T45" fmla="*/ 340 h 549"/>
                <a:gd name="T46" fmla="*/ 118 w 299"/>
                <a:gd name="T47" fmla="*/ 341 h 549"/>
                <a:gd name="T48" fmla="*/ 108 w 299"/>
                <a:gd name="T49" fmla="*/ 355 h 549"/>
                <a:gd name="T50" fmla="*/ 97 w 299"/>
                <a:gd name="T51" fmla="*/ 388 h 549"/>
                <a:gd name="T52" fmla="*/ 94 w 299"/>
                <a:gd name="T53" fmla="*/ 445 h 549"/>
                <a:gd name="T54" fmla="*/ 94 w 299"/>
                <a:gd name="T55" fmla="*/ 492 h 549"/>
                <a:gd name="T56" fmla="*/ 90 w 299"/>
                <a:gd name="T57" fmla="*/ 519 h 549"/>
                <a:gd name="T58" fmla="*/ 77 w 299"/>
                <a:gd name="T59" fmla="*/ 542 h 549"/>
                <a:gd name="T60" fmla="*/ 61 w 299"/>
                <a:gd name="T61" fmla="*/ 549 h 549"/>
                <a:gd name="T62" fmla="*/ 38 w 299"/>
                <a:gd name="T63" fmla="*/ 544 h 549"/>
                <a:gd name="T64" fmla="*/ 23 w 299"/>
                <a:gd name="T65" fmla="*/ 532 h 549"/>
                <a:gd name="T66" fmla="*/ 19 w 299"/>
                <a:gd name="T67" fmla="*/ 503 h 549"/>
                <a:gd name="T68" fmla="*/ 26 w 299"/>
                <a:gd name="T69" fmla="*/ 436 h 549"/>
                <a:gd name="T70" fmla="*/ 21 w 299"/>
                <a:gd name="T71" fmla="*/ 395 h 549"/>
                <a:gd name="T72" fmla="*/ 7 w 299"/>
                <a:gd name="T73" fmla="*/ 370 h 549"/>
                <a:gd name="T74" fmla="*/ 0 w 299"/>
                <a:gd name="T75" fmla="*/ 358 h 549"/>
                <a:gd name="T76" fmla="*/ 16 w 299"/>
                <a:gd name="T77" fmla="*/ 344 h 549"/>
                <a:gd name="T78" fmla="*/ 37 w 299"/>
                <a:gd name="T79" fmla="*/ 331 h 549"/>
                <a:gd name="T80" fmla="*/ 43 w 299"/>
                <a:gd name="T81" fmla="*/ 320 h 549"/>
                <a:gd name="T82" fmla="*/ 51 w 299"/>
                <a:gd name="T83" fmla="*/ 305 h 549"/>
                <a:gd name="T84" fmla="*/ 67 w 299"/>
                <a:gd name="T85" fmla="*/ 276 h 549"/>
                <a:gd name="T86" fmla="*/ 71 w 299"/>
                <a:gd name="T87" fmla="*/ 241 h 549"/>
                <a:gd name="T88" fmla="*/ 65 w 299"/>
                <a:gd name="T89" fmla="*/ 224 h 549"/>
                <a:gd name="T90" fmla="*/ 57 w 299"/>
                <a:gd name="T91" fmla="*/ 190 h 549"/>
                <a:gd name="T92" fmla="*/ 57 w 299"/>
                <a:gd name="T93" fmla="*/ 146 h 549"/>
                <a:gd name="T94" fmla="*/ 50 w 299"/>
                <a:gd name="T95" fmla="*/ 121 h 549"/>
                <a:gd name="T96" fmla="*/ 37 w 299"/>
                <a:gd name="T97" fmla="*/ 74 h 549"/>
                <a:gd name="T98" fmla="*/ 33 w 299"/>
                <a:gd name="T99" fmla="*/ 32 h 549"/>
                <a:gd name="T100" fmla="*/ 41 w 299"/>
                <a:gd name="T101" fmla="*/ 11 h 549"/>
                <a:gd name="T102" fmla="*/ 54 w 299"/>
                <a:gd name="T103" fmla="*/ 0 h 549"/>
                <a:gd name="T104" fmla="*/ 77 w 299"/>
                <a:gd name="T105" fmla="*/ 15 h 549"/>
                <a:gd name="T106" fmla="*/ 87 w 299"/>
                <a:gd name="T107" fmla="*/ 44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9" h="549">
                  <a:moveTo>
                    <a:pt x="91" y="62"/>
                  </a:moveTo>
                  <a:lnTo>
                    <a:pt x="91" y="62"/>
                  </a:lnTo>
                  <a:lnTo>
                    <a:pt x="97" y="84"/>
                  </a:lnTo>
                  <a:lnTo>
                    <a:pt x="102" y="105"/>
                  </a:lnTo>
                  <a:lnTo>
                    <a:pt x="108" y="152"/>
                  </a:lnTo>
                  <a:lnTo>
                    <a:pt x="114" y="197"/>
                  </a:lnTo>
                  <a:lnTo>
                    <a:pt x="118" y="219"/>
                  </a:lnTo>
                  <a:lnTo>
                    <a:pt x="125" y="241"/>
                  </a:lnTo>
                  <a:lnTo>
                    <a:pt x="125" y="241"/>
                  </a:lnTo>
                  <a:lnTo>
                    <a:pt x="121" y="256"/>
                  </a:lnTo>
                  <a:lnTo>
                    <a:pt x="118" y="273"/>
                  </a:lnTo>
                  <a:lnTo>
                    <a:pt x="118" y="280"/>
                  </a:lnTo>
                  <a:lnTo>
                    <a:pt x="118" y="288"/>
                  </a:lnTo>
                  <a:lnTo>
                    <a:pt x="120" y="296"/>
                  </a:lnTo>
                  <a:lnTo>
                    <a:pt x="122" y="304"/>
                  </a:lnTo>
                  <a:lnTo>
                    <a:pt x="122" y="304"/>
                  </a:lnTo>
                  <a:lnTo>
                    <a:pt x="171" y="301"/>
                  </a:lnTo>
                  <a:lnTo>
                    <a:pt x="196" y="301"/>
                  </a:lnTo>
                  <a:lnTo>
                    <a:pt x="221" y="304"/>
                  </a:lnTo>
                  <a:lnTo>
                    <a:pt x="232" y="305"/>
                  </a:lnTo>
                  <a:lnTo>
                    <a:pt x="243" y="310"/>
                  </a:lnTo>
                  <a:lnTo>
                    <a:pt x="253" y="314"/>
                  </a:lnTo>
                  <a:lnTo>
                    <a:pt x="263" y="318"/>
                  </a:lnTo>
                  <a:lnTo>
                    <a:pt x="272" y="325"/>
                  </a:lnTo>
                  <a:lnTo>
                    <a:pt x="279" y="334"/>
                  </a:lnTo>
                  <a:lnTo>
                    <a:pt x="286" y="344"/>
                  </a:lnTo>
                  <a:lnTo>
                    <a:pt x="292" y="355"/>
                  </a:lnTo>
                  <a:lnTo>
                    <a:pt x="292" y="355"/>
                  </a:lnTo>
                  <a:lnTo>
                    <a:pt x="296" y="398"/>
                  </a:lnTo>
                  <a:lnTo>
                    <a:pt x="297" y="421"/>
                  </a:lnTo>
                  <a:lnTo>
                    <a:pt x="299" y="445"/>
                  </a:lnTo>
                  <a:lnTo>
                    <a:pt x="299" y="468"/>
                  </a:lnTo>
                  <a:lnTo>
                    <a:pt x="296" y="489"/>
                  </a:lnTo>
                  <a:lnTo>
                    <a:pt x="293" y="499"/>
                  </a:lnTo>
                  <a:lnTo>
                    <a:pt x="290" y="510"/>
                  </a:lnTo>
                  <a:lnTo>
                    <a:pt x="286" y="519"/>
                  </a:lnTo>
                  <a:lnTo>
                    <a:pt x="280" y="529"/>
                  </a:lnTo>
                  <a:lnTo>
                    <a:pt x="280" y="529"/>
                  </a:lnTo>
                  <a:lnTo>
                    <a:pt x="276" y="535"/>
                  </a:lnTo>
                  <a:lnTo>
                    <a:pt x="270" y="539"/>
                  </a:lnTo>
                  <a:lnTo>
                    <a:pt x="263" y="543"/>
                  </a:lnTo>
                  <a:lnTo>
                    <a:pt x="258" y="546"/>
                  </a:lnTo>
                  <a:lnTo>
                    <a:pt x="250" y="547"/>
                  </a:lnTo>
                  <a:lnTo>
                    <a:pt x="243" y="547"/>
                  </a:lnTo>
                  <a:lnTo>
                    <a:pt x="236" y="547"/>
                  </a:lnTo>
                  <a:lnTo>
                    <a:pt x="229" y="546"/>
                  </a:lnTo>
                  <a:lnTo>
                    <a:pt x="229" y="546"/>
                  </a:lnTo>
                  <a:lnTo>
                    <a:pt x="223" y="540"/>
                  </a:lnTo>
                  <a:lnTo>
                    <a:pt x="221" y="536"/>
                  </a:lnTo>
                  <a:lnTo>
                    <a:pt x="219" y="530"/>
                  </a:lnTo>
                  <a:lnTo>
                    <a:pt x="218" y="523"/>
                  </a:lnTo>
                  <a:lnTo>
                    <a:pt x="219" y="512"/>
                  </a:lnTo>
                  <a:lnTo>
                    <a:pt x="221" y="499"/>
                  </a:lnTo>
                  <a:lnTo>
                    <a:pt x="225" y="493"/>
                  </a:lnTo>
                  <a:lnTo>
                    <a:pt x="225" y="493"/>
                  </a:lnTo>
                  <a:lnTo>
                    <a:pt x="229" y="463"/>
                  </a:lnTo>
                  <a:lnTo>
                    <a:pt x="232" y="446"/>
                  </a:lnTo>
                  <a:lnTo>
                    <a:pt x="232" y="431"/>
                  </a:lnTo>
                  <a:lnTo>
                    <a:pt x="232" y="414"/>
                  </a:lnTo>
                  <a:lnTo>
                    <a:pt x="229" y="398"/>
                  </a:lnTo>
                  <a:lnTo>
                    <a:pt x="223" y="385"/>
                  </a:lnTo>
                  <a:lnTo>
                    <a:pt x="221" y="378"/>
                  </a:lnTo>
                  <a:lnTo>
                    <a:pt x="216" y="372"/>
                  </a:lnTo>
                  <a:lnTo>
                    <a:pt x="216" y="372"/>
                  </a:lnTo>
                  <a:lnTo>
                    <a:pt x="208" y="361"/>
                  </a:lnTo>
                  <a:lnTo>
                    <a:pt x="198" y="352"/>
                  </a:lnTo>
                  <a:lnTo>
                    <a:pt x="186" y="347"/>
                  </a:lnTo>
                  <a:lnTo>
                    <a:pt x="174" y="342"/>
                  </a:lnTo>
                  <a:lnTo>
                    <a:pt x="159" y="340"/>
                  </a:lnTo>
                  <a:lnTo>
                    <a:pt x="147" y="338"/>
                  </a:lnTo>
                  <a:lnTo>
                    <a:pt x="132" y="340"/>
                  </a:lnTo>
                  <a:lnTo>
                    <a:pt x="118" y="341"/>
                  </a:lnTo>
                  <a:lnTo>
                    <a:pt x="118" y="341"/>
                  </a:lnTo>
                  <a:lnTo>
                    <a:pt x="112" y="348"/>
                  </a:lnTo>
                  <a:lnTo>
                    <a:pt x="108" y="355"/>
                  </a:lnTo>
                  <a:lnTo>
                    <a:pt x="104" y="362"/>
                  </a:lnTo>
                  <a:lnTo>
                    <a:pt x="101" y="371"/>
                  </a:lnTo>
                  <a:lnTo>
                    <a:pt x="97" y="388"/>
                  </a:lnTo>
                  <a:lnTo>
                    <a:pt x="94" y="405"/>
                  </a:lnTo>
                  <a:lnTo>
                    <a:pt x="94" y="425"/>
                  </a:lnTo>
                  <a:lnTo>
                    <a:pt x="94" y="445"/>
                  </a:lnTo>
                  <a:lnTo>
                    <a:pt x="94" y="483"/>
                  </a:lnTo>
                  <a:lnTo>
                    <a:pt x="94" y="483"/>
                  </a:lnTo>
                  <a:lnTo>
                    <a:pt x="94" y="492"/>
                  </a:lnTo>
                  <a:lnTo>
                    <a:pt x="94" y="500"/>
                  </a:lnTo>
                  <a:lnTo>
                    <a:pt x="93" y="510"/>
                  </a:lnTo>
                  <a:lnTo>
                    <a:pt x="90" y="519"/>
                  </a:lnTo>
                  <a:lnTo>
                    <a:pt x="87" y="527"/>
                  </a:lnTo>
                  <a:lnTo>
                    <a:pt x="83" y="535"/>
                  </a:lnTo>
                  <a:lnTo>
                    <a:pt x="77" y="542"/>
                  </a:lnTo>
                  <a:lnTo>
                    <a:pt x="70" y="547"/>
                  </a:lnTo>
                  <a:lnTo>
                    <a:pt x="70" y="547"/>
                  </a:lnTo>
                  <a:lnTo>
                    <a:pt x="61" y="549"/>
                  </a:lnTo>
                  <a:lnTo>
                    <a:pt x="53" y="547"/>
                  </a:lnTo>
                  <a:lnTo>
                    <a:pt x="46" y="547"/>
                  </a:lnTo>
                  <a:lnTo>
                    <a:pt x="38" y="544"/>
                  </a:lnTo>
                  <a:lnTo>
                    <a:pt x="33" y="542"/>
                  </a:lnTo>
                  <a:lnTo>
                    <a:pt x="27" y="537"/>
                  </a:lnTo>
                  <a:lnTo>
                    <a:pt x="23" y="532"/>
                  </a:lnTo>
                  <a:lnTo>
                    <a:pt x="19" y="525"/>
                  </a:lnTo>
                  <a:lnTo>
                    <a:pt x="19" y="525"/>
                  </a:lnTo>
                  <a:lnTo>
                    <a:pt x="19" y="503"/>
                  </a:lnTo>
                  <a:lnTo>
                    <a:pt x="20" y="482"/>
                  </a:lnTo>
                  <a:lnTo>
                    <a:pt x="23" y="459"/>
                  </a:lnTo>
                  <a:lnTo>
                    <a:pt x="26" y="436"/>
                  </a:lnTo>
                  <a:lnTo>
                    <a:pt x="26" y="415"/>
                  </a:lnTo>
                  <a:lnTo>
                    <a:pt x="24" y="405"/>
                  </a:lnTo>
                  <a:lnTo>
                    <a:pt x="21" y="395"/>
                  </a:lnTo>
                  <a:lnTo>
                    <a:pt x="19" y="387"/>
                  </a:lnTo>
                  <a:lnTo>
                    <a:pt x="14" y="377"/>
                  </a:lnTo>
                  <a:lnTo>
                    <a:pt x="7" y="370"/>
                  </a:lnTo>
                  <a:lnTo>
                    <a:pt x="0" y="362"/>
                  </a:lnTo>
                  <a:lnTo>
                    <a:pt x="0" y="362"/>
                  </a:lnTo>
                  <a:lnTo>
                    <a:pt x="0" y="358"/>
                  </a:lnTo>
                  <a:lnTo>
                    <a:pt x="3" y="354"/>
                  </a:lnTo>
                  <a:lnTo>
                    <a:pt x="7" y="348"/>
                  </a:lnTo>
                  <a:lnTo>
                    <a:pt x="16" y="344"/>
                  </a:lnTo>
                  <a:lnTo>
                    <a:pt x="23" y="340"/>
                  </a:lnTo>
                  <a:lnTo>
                    <a:pt x="31" y="337"/>
                  </a:lnTo>
                  <a:lnTo>
                    <a:pt x="37" y="331"/>
                  </a:lnTo>
                  <a:lnTo>
                    <a:pt x="40" y="328"/>
                  </a:lnTo>
                  <a:lnTo>
                    <a:pt x="41" y="324"/>
                  </a:lnTo>
                  <a:lnTo>
                    <a:pt x="43" y="320"/>
                  </a:lnTo>
                  <a:lnTo>
                    <a:pt x="43" y="314"/>
                  </a:lnTo>
                  <a:lnTo>
                    <a:pt x="43" y="314"/>
                  </a:lnTo>
                  <a:lnTo>
                    <a:pt x="51" y="305"/>
                  </a:lnTo>
                  <a:lnTo>
                    <a:pt x="58" y="296"/>
                  </a:lnTo>
                  <a:lnTo>
                    <a:pt x="64" y="286"/>
                  </a:lnTo>
                  <a:lnTo>
                    <a:pt x="67" y="276"/>
                  </a:lnTo>
                  <a:lnTo>
                    <a:pt x="70" y="264"/>
                  </a:lnTo>
                  <a:lnTo>
                    <a:pt x="71" y="253"/>
                  </a:lnTo>
                  <a:lnTo>
                    <a:pt x="71" y="241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5" y="224"/>
                  </a:lnTo>
                  <a:lnTo>
                    <a:pt x="63" y="219"/>
                  </a:lnTo>
                  <a:lnTo>
                    <a:pt x="58" y="205"/>
                  </a:lnTo>
                  <a:lnTo>
                    <a:pt x="57" y="190"/>
                  </a:lnTo>
                  <a:lnTo>
                    <a:pt x="57" y="176"/>
                  </a:lnTo>
                  <a:lnTo>
                    <a:pt x="58" y="160"/>
                  </a:lnTo>
                  <a:lnTo>
                    <a:pt x="57" y="146"/>
                  </a:lnTo>
                  <a:lnTo>
                    <a:pt x="56" y="133"/>
                  </a:lnTo>
                  <a:lnTo>
                    <a:pt x="53" y="126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41" y="91"/>
                  </a:lnTo>
                  <a:lnTo>
                    <a:pt x="37" y="74"/>
                  </a:lnTo>
                  <a:lnTo>
                    <a:pt x="33" y="57"/>
                  </a:lnTo>
                  <a:lnTo>
                    <a:pt x="33" y="41"/>
                  </a:lnTo>
                  <a:lnTo>
                    <a:pt x="33" y="32"/>
                  </a:lnTo>
                  <a:lnTo>
                    <a:pt x="36" y="25"/>
                  </a:lnTo>
                  <a:lnTo>
                    <a:pt x="37" y="18"/>
                  </a:lnTo>
                  <a:lnTo>
                    <a:pt x="41" y="11"/>
                  </a:lnTo>
                  <a:lnTo>
                    <a:pt x="47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3"/>
                  </a:lnTo>
                  <a:lnTo>
                    <a:pt x="71" y="8"/>
                  </a:lnTo>
                  <a:lnTo>
                    <a:pt x="77" y="15"/>
                  </a:lnTo>
                  <a:lnTo>
                    <a:pt x="81" y="24"/>
                  </a:lnTo>
                  <a:lnTo>
                    <a:pt x="84" y="34"/>
                  </a:lnTo>
                  <a:lnTo>
                    <a:pt x="87" y="44"/>
                  </a:lnTo>
                  <a:lnTo>
                    <a:pt x="91" y="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374"/>
            <p:cNvSpPr>
              <a:spLocks/>
            </p:cNvSpPr>
            <p:nvPr/>
          </p:nvSpPr>
          <p:spPr bwMode="auto">
            <a:xfrm>
              <a:off x="7126" y="2317"/>
              <a:ext cx="131" cy="511"/>
            </a:xfrm>
            <a:custGeom>
              <a:avLst/>
              <a:gdLst>
                <a:gd name="T0" fmla="*/ 15 w 131"/>
                <a:gd name="T1" fmla="*/ 7 h 511"/>
                <a:gd name="T2" fmla="*/ 3 w 131"/>
                <a:gd name="T3" fmla="*/ 17 h 511"/>
                <a:gd name="T4" fmla="*/ 0 w 131"/>
                <a:gd name="T5" fmla="*/ 32 h 511"/>
                <a:gd name="T6" fmla="*/ 2 w 131"/>
                <a:gd name="T7" fmla="*/ 63 h 511"/>
                <a:gd name="T8" fmla="*/ 10 w 131"/>
                <a:gd name="T9" fmla="*/ 77 h 511"/>
                <a:gd name="T10" fmla="*/ 22 w 131"/>
                <a:gd name="T11" fmla="*/ 110 h 511"/>
                <a:gd name="T12" fmla="*/ 27 w 131"/>
                <a:gd name="T13" fmla="*/ 143 h 511"/>
                <a:gd name="T14" fmla="*/ 32 w 131"/>
                <a:gd name="T15" fmla="*/ 195 h 511"/>
                <a:gd name="T16" fmla="*/ 36 w 131"/>
                <a:gd name="T17" fmla="*/ 301 h 511"/>
                <a:gd name="T18" fmla="*/ 39 w 131"/>
                <a:gd name="T19" fmla="*/ 335 h 511"/>
                <a:gd name="T20" fmla="*/ 46 w 131"/>
                <a:gd name="T21" fmla="*/ 352 h 511"/>
                <a:gd name="T22" fmla="*/ 43 w 131"/>
                <a:gd name="T23" fmla="*/ 369 h 511"/>
                <a:gd name="T24" fmla="*/ 39 w 131"/>
                <a:gd name="T25" fmla="*/ 387 h 511"/>
                <a:gd name="T26" fmla="*/ 39 w 131"/>
                <a:gd name="T27" fmla="*/ 407 h 511"/>
                <a:gd name="T28" fmla="*/ 43 w 131"/>
                <a:gd name="T29" fmla="*/ 416 h 511"/>
                <a:gd name="T30" fmla="*/ 46 w 131"/>
                <a:gd name="T31" fmla="*/ 436 h 511"/>
                <a:gd name="T32" fmla="*/ 46 w 131"/>
                <a:gd name="T33" fmla="*/ 467 h 511"/>
                <a:gd name="T34" fmla="*/ 47 w 131"/>
                <a:gd name="T35" fmla="*/ 487 h 511"/>
                <a:gd name="T36" fmla="*/ 53 w 131"/>
                <a:gd name="T37" fmla="*/ 494 h 511"/>
                <a:gd name="T38" fmla="*/ 66 w 131"/>
                <a:gd name="T39" fmla="*/ 505 h 511"/>
                <a:gd name="T40" fmla="*/ 83 w 131"/>
                <a:gd name="T41" fmla="*/ 511 h 511"/>
                <a:gd name="T42" fmla="*/ 103 w 131"/>
                <a:gd name="T43" fmla="*/ 511 h 511"/>
                <a:gd name="T44" fmla="*/ 113 w 131"/>
                <a:gd name="T45" fmla="*/ 508 h 511"/>
                <a:gd name="T46" fmla="*/ 124 w 131"/>
                <a:gd name="T47" fmla="*/ 501 h 511"/>
                <a:gd name="T48" fmla="*/ 130 w 131"/>
                <a:gd name="T49" fmla="*/ 491 h 511"/>
                <a:gd name="T50" fmla="*/ 131 w 131"/>
                <a:gd name="T51" fmla="*/ 480 h 511"/>
                <a:gd name="T52" fmla="*/ 126 w 131"/>
                <a:gd name="T53" fmla="*/ 453 h 511"/>
                <a:gd name="T54" fmla="*/ 118 w 131"/>
                <a:gd name="T55" fmla="*/ 426 h 511"/>
                <a:gd name="T56" fmla="*/ 117 w 131"/>
                <a:gd name="T57" fmla="*/ 413 h 511"/>
                <a:gd name="T58" fmla="*/ 116 w 131"/>
                <a:gd name="T59" fmla="*/ 384 h 511"/>
                <a:gd name="T60" fmla="*/ 121 w 131"/>
                <a:gd name="T61" fmla="*/ 299 h 511"/>
                <a:gd name="T62" fmla="*/ 123 w 131"/>
                <a:gd name="T63" fmla="*/ 256 h 511"/>
                <a:gd name="T64" fmla="*/ 118 w 131"/>
                <a:gd name="T65" fmla="*/ 229 h 511"/>
                <a:gd name="T66" fmla="*/ 110 w 131"/>
                <a:gd name="T67" fmla="*/ 204 h 511"/>
                <a:gd name="T68" fmla="*/ 104 w 131"/>
                <a:gd name="T69" fmla="*/ 191 h 511"/>
                <a:gd name="T70" fmla="*/ 97 w 131"/>
                <a:gd name="T71" fmla="*/ 145 h 511"/>
                <a:gd name="T72" fmla="*/ 80 w 131"/>
                <a:gd name="T73" fmla="*/ 81 h 511"/>
                <a:gd name="T74" fmla="*/ 73 w 131"/>
                <a:gd name="T75" fmla="*/ 37 h 511"/>
                <a:gd name="T76" fmla="*/ 73 w 131"/>
                <a:gd name="T77" fmla="*/ 16 h 511"/>
                <a:gd name="T78" fmla="*/ 62 w 131"/>
                <a:gd name="T79" fmla="*/ 3 h 511"/>
                <a:gd name="T80" fmla="*/ 47 w 131"/>
                <a:gd name="T81" fmla="*/ 0 h 511"/>
                <a:gd name="T82" fmla="*/ 30 w 131"/>
                <a:gd name="T83" fmla="*/ 2 h 511"/>
                <a:gd name="T84" fmla="*/ 15 w 131"/>
                <a:gd name="T85" fmla="*/ 7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" h="511">
                  <a:moveTo>
                    <a:pt x="15" y="7"/>
                  </a:moveTo>
                  <a:lnTo>
                    <a:pt x="15" y="7"/>
                  </a:lnTo>
                  <a:lnTo>
                    <a:pt x="9" y="12"/>
                  </a:lnTo>
                  <a:lnTo>
                    <a:pt x="3" y="17"/>
                  </a:lnTo>
                  <a:lnTo>
                    <a:pt x="2" y="23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10" y="77"/>
                  </a:lnTo>
                  <a:lnTo>
                    <a:pt x="16" y="93"/>
                  </a:lnTo>
                  <a:lnTo>
                    <a:pt x="22" y="110"/>
                  </a:lnTo>
                  <a:lnTo>
                    <a:pt x="25" y="126"/>
                  </a:lnTo>
                  <a:lnTo>
                    <a:pt x="27" y="143"/>
                  </a:lnTo>
                  <a:lnTo>
                    <a:pt x="30" y="160"/>
                  </a:lnTo>
                  <a:lnTo>
                    <a:pt x="32" y="195"/>
                  </a:lnTo>
                  <a:lnTo>
                    <a:pt x="33" y="266"/>
                  </a:lnTo>
                  <a:lnTo>
                    <a:pt x="36" y="301"/>
                  </a:lnTo>
                  <a:lnTo>
                    <a:pt x="39" y="335"/>
                  </a:lnTo>
                  <a:lnTo>
                    <a:pt x="39" y="335"/>
                  </a:lnTo>
                  <a:lnTo>
                    <a:pt x="44" y="343"/>
                  </a:lnTo>
                  <a:lnTo>
                    <a:pt x="46" y="352"/>
                  </a:lnTo>
                  <a:lnTo>
                    <a:pt x="46" y="360"/>
                  </a:lnTo>
                  <a:lnTo>
                    <a:pt x="43" y="369"/>
                  </a:lnTo>
                  <a:lnTo>
                    <a:pt x="40" y="377"/>
                  </a:lnTo>
                  <a:lnTo>
                    <a:pt x="39" y="387"/>
                  </a:lnTo>
                  <a:lnTo>
                    <a:pt x="37" y="39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43" y="416"/>
                  </a:lnTo>
                  <a:lnTo>
                    <a:pt x="44" y="426"/>
                  </a:lnTo>
                  <a:lnTo>
                    <a:pt x="46" y="436"/>
                  </a:lnTo>
                  <a:lnTo>
                    <a:pt x="46" y="446"/>
                  </a:lnTo>
                  <a:lnTo>
                    <a:pt x="46" y="467"/>
                  </a:lnTo>
                  <a:lnTo>
                    <a:pt x="46" y="477"/>
                  </a:lnTo>
                  <a:lnTo>
                    <a:pt x="47" y="487"/>
                  </a:lnTo>
                  <a:lnTo>
                    <a:pt x="47" y="487"/>
                  </a:lnTo>
                  <a:lnTo>
                    <a:pt x="53" y="494"/>
                  </a:lnTo>
                  <a:lnTo>
                    <a:pt x="59" y="501"/>
                  </a:lnTo>
                  <a:lnTo>
                    <a:pt x="66" y="505"/>
                  </a:lnTo>
                  <a:lnTo>
                    <a:pt x="74" y="510"/>
                  </a:lnTo>
                  <a:lnTo>
                    <a:pt x="83" y="511"/>
                  </a:lnTo>
                  <a:lnTo>
                    <a:pt x="93" y="511"/>
                  </a:lnTo>
                  <a:lnTo>
                    <a:pt x="103" y="511"/>
                  </a:lnTo>
                  <a:lnTo>
                    <a:pt x="113" y="508"/>
                  </a:lnTo>
                  <a:lnTo>
                    <a:pt x="113" y="508"/>
                  </a:lnTo>
                  <a:lnTo>
                    <a:pt x="118" y="505"/>
                  </a:lnTo>
                  <a:lnTo>
                    <a:pt x="124" y="501"/>
                  </a:lnTo>
                  <a:lnTo>
                    <a:pt x="127" y="497"/>
                  </a:lnTo>
                  <a:lnTo>
                    <a:pt x="130" y="491"/>
                  </a:lnTo>
                  <a:lnTo>
                    <a:pt x="131" y="485"/>
                  </a:lnTo>
                  <a:lnTo>
                    <a:pt x="131" y="480"/>
                  </a:lnTo>
                  <a:lnTo>
                    <a:pt x="130" y="467"/>
                  </a:lnTo>
                  <a:lnTo>
                    <a:pt x="126" y="453"/>
                  </a:lnTo>
                  <a:lnTo>
                    <a:pt x="123" y="439"/>
                  </a:lnTo>
                  <a:lnTo>
                    <a:pt x="118" y="426"/>
                  </a:lnTo>
                  <a:lnTo>
                    <a:pt x="117" y="413"/>
                  </a:lnTo>
                  <a:lnTo>
                    <a:pt x="117" y="413"/>
                  </a:lnTo>
                  <a:lnTo>
                    <a:pt x="116" y="399"/>
                  </a:lnTo>
                  <a:lnTo>
                    <a:pt x="116" y="384"/>
                  </a:lnTo>
                  <a:lnTo>
                    <a:pt x="117" y="356"/>
                  </a:lnTo>
                  <a:lnTo>
                    <a:pt x="121" y="299"/>
                  </a:lnTo>
                  <a:lnTo>
                    <a:pt x="123" y="271"/>
                  </a:lnTo>
                  <a:lnTo>
                    <a:pt x="123" y="256"/>
                  </a:lnTo>
                  <a:lnTo>
                    <a:pt x="121" y="244"/>
                  </a:lnTo>
                  <a:lnTo>
                    <a:pt x="118" y="229"/>
                  </a:lnTo>
                  <a:lnTo>
                    <a:pt x="116" y="217"/>
                  </a:lnTo>
                  <a:lnTo>
                    <a:pt x="110" y="204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1" y="168"/>
                  </a:lnTo>
                  <a:lnTo>
                    <a:pt x="97" y="145"/>
                  </a:lnTo>
                  <a:lnTo>
                    <a:pt x="86" y="103"/>
                  </a:lnTo>
                  <a:lnTo>
                    <a:pt x="80" y="81"/>
                  </a:lnTo>
                  <a:lnTo>
                    <a:pt x="76" y="60"/>
                  </a:lnTo>
                  <a:lnTo>
                    <a:pt x="73" y="37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67" y="9"/>
                  </a:lnTo>
                  <a:lnTo>
                    <a:pt x="62" y="3"/>
                  </a:lnTo>
                  <a:lnTo>
                    <a:pt x="54" y="2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0" y="2"/>
                  </a:lnTo>
                  <a:lnTo>
                    <a:pt x="22" y="5"/>
                  </a:lnTo>
                  <a:lnTo>
                    <a:pt x="15" y="7"/>
                  </a:lnTo>
                  <a:lnTo>
                    <a:pt x="15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375"/>
            <p:cNvSpPr>
              <a:spLocks/>
            </p:cNvSpPr>
            <p:nvPr/>
          </p:nvSpPr>
          <p:spPr bwMode="auto">
            <a:xfrm>
              <a:off x="6983" y="2462"/>
              <a:ext cx="57" cy="35"/>
            </a:xfrm>
            <a:custGeom>
              <a:avLst/>
              <a:gdLst>
                <a:gd name="T0" fmla="*/ 0 w 57"/>
                <a:gd name="T1" fmla="*/ 28 h 35"/>
                <a:gd name="T2" fmla="*/ 0 w 57"/>
                <a:gd name="T3" fmla="*/ 28 h 35"/>
                <a:gd name="T4" fmla="*/ 10 w 57"/>
                <a:gd name="T5" fmla="*/ 30 h 35"/>
                <a:gd name="T6" fmla="*/ 18 w 57"/>
                <a:gd name="T7" fmla="*/ 33 h 35"/>
                <a:gd name="T8" fmla="*/ 28 w 57"/>
                <a:gd name="T9" fmla="*/ 35 h 35"/>
                <a:gd name="T10" fmla="*/ 38 w 57"/>
                <a:gd name="T11" fmla="*/ 32 h 35"/>
                <a:gd name="T12" fmla="*/ 38 w 57"/>
                <a:gd name="T13" fmla="*/ 32 h 35"/>
                <a:gd name="T14" fmla="*/ 45 w 57"/>
                <a:gd name="T15" fmla="*/ 28 h 35"/>
                <a:gd name="T16" fmla="*/ 52 w 57"/>
                <a:gd name="T17" fmla="*/ 19 h 35"/>
                <a:gd name="T18" fmla="*/ 55 w 57"/>
                <a:gd name="T19" fmla="*/ 15 h 35"/>
                <a:gd name="T20" fmla="*/ 57 w 57"/>
                <a:gd name="T21" fmla="*/ 10 h 35"/>
                <a:gd name="T22" fmla="*/ 55 w 57"/>
                <a:gd name="T23" fmla="*/ 5 h 35"/>
                <a:gd name="T24" fmla="*/ 54 w 57"/>
                <a:gd name="T25" fmla="*/ 0 h 35"/>
                <a:gd name="T26" fmla="*/ 54 w 57"/>
                <a:gd name="T27" fmla="*/ 0 h 35"/>
                <a:gd name="T28" fmla="*/ 37 w 57"/>
                <a:gd name="T29" fmla="*/ 2 h 35"/>
                <a:gd name="T30" fmla="*/ 30 w 57"/>
                <a:gd name="T31" fmla="*/ 3 h 35"/>
                <a:gd name="T32" fmla="*/ 21 w 57"/>
                <a:gd name="T33" fmla="*/ 6 h 35"/>
                <a:gd name="T34" fmla="*/ 14 w 57"/>
                <a:gd name="T35" fmla="*/ 9 h 35"/>
                <a:gd name="T36" fmla="*/ 8 w 57"/>
                <a:gd name="T37" fmla="*/ 13 h 35"/>
                <a:gd name="T38" fmla="*/ 4 w 57"/>
                <a:gd name="T39" fmla="*/ 19 h 35"/>
                <a:gd name="T40" fmla="*/ 0 w 57"/>
                <a:gd name="T41" fmla="*/ 28 h 35"/>
                <a:gd name="T42" fmla="*/ 0 w 57"/>
                <a:gd name="T43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5">
                  <a:moveTo>
                    <a:pt x="0" y="28"/>
                  </a:moveTo>
                  <a:lnTo>
                    <a:pt x="0" y="28"/>
                  </a:lnTo>
                  <a:lnTo>
                    <a:pt x="10" y="30"/>
                  </a:lnTo>
                  <a:lnTo>
                    <a:pt x="18" y="33"/>
                  </a:lnTo>
                  <a:lnTo>
                    <a:pt x="28" y="35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5" y="28"/>
                  </a:lnTo>
                  <a:lnTo>
                    <a:pt x="52" y="19"/>
                  </a:lnTo>
                  <a:lnTo>
                    <a:pt x="55" y="15"/>
                  </a:lnTo>
                  <a:lnTo>
                    <a:pt x="57" y="10"/>
                  </a:lnTo>
                  <a:lnTo>
                    <a:pt x="55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8" y="13"/>
                  </a:lnTo>
                  <a:lnTo>
                    <a:pt x="4" y="19"/>
                  </a:lnTo>
                  <a:lnTo>
                    <a:pt x="0" y="28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376"/>
            <p:cNvSpPr>
              <a:spLocks/>
            </p:cNvSpPr>
            <p:nvPr/>
          </p:nvSpPr>
          <p:spPr bwMode="auto">
            <a:xfrm>
              <a:off x="6205" y="2532"/>
              <a:ext cx="251" cy="340"/>
            </a:xfrm>
            <a:custGeom>
              <a:avLst/>
              <a:gdLst>
                <a:gd name="T0" fmla="*/ 207 w 251"/>
                <a:gd name="T1" fmla="*/ 6 h 340"/>
                <a:gd name="T2" fmla="*/ 180 w 251"/>
                <a:gd name="T3" fmla="*/ 2 h 340"/>
                <a:gd name="T4" fmla="*/ 156 w 251"/>
                <a:gd name="T5" fmla="*/ 2 h 340"/>
                <a:gd name="T6" fmla="*/ 133 w 251"/>
                <a:gd name="T7" fmla="*/ 6 h 340"/>
                <a:gd name="T8" fmla="*/ 110 w 251"/>
                <a:gd name="T9" fmla="*/ 16 h 340"/>
                <a:gd name="T10" fmla="*/ 69 w 251"/>
                <a:gd name="T11" fmla="*/ 39 h 340"/>
                <a:gd name="T12" fmla="*/ 28 w 251"/>
                <a:gd name="T13" fmla="*/ 64 h 340"/>
                <a:gd name="T14" fmla="*/ 21 w 251"/>
                <a:gd name="T15" fmla="*/ 73 h 340"/>
                <a:gd name="T16" fmla="*/ 9 w 251"/>
                <a:gd name="T17" fmla="*/ 88 h 340"/>
                <a:gd name="T18" fmla="*/ 4 w 251"/>
                <a:gd name="T19" fmla="*/ 107 h 340"/>
                <a:gd name="T20" fmla="*/ 0 w 251"/>
                <a:gd name="T21" fmla="*/ 137 h 340"/>
                <a:gd name="T22" fmla="*/ 1 w 251"/>
                <a:gd name="T23" fmla="*/ 181 h 340"/>
                <a:gd name="T24" fmla="*/ 2 w 251"/>
                <a:gd name="T25" fmla="*/ 224 h 340"/>
                <a:gd name="T26" fmla="*/ 5 w 251"/>
                <a:gd name="T27" fmla="*/ 235 h 340"/>
                <a:gd name="T28" fmla="*/ 7 w 251"/>
                <a:gd name="T29" fmla="*/ 273 h 340"/>
                <a:gd name="T30" fmla="*/ 11 w 251"/>
                <a:gd name="T31" fmla="*/ 296 h 340"/>
                <a:gd name="T32" fmla="*/ 19 w 251"/>
                <a:gd name="T33" fmla="*/ 312 h 340"/>
                <a:gd name="T34" fmla="*/ 24 w 251"/>
                <a:gd name="T35" fmla="*/ 317 h 340"/>
                <a:gd name="T36" fmla="*/ 42 w 251"/>
                <a:gd name="T37" fmla="*/ 327 h 340"/>
                <a:gd name="T38" fmla="*/ 62 w 251"/>
                <a:gd name="T39" fmla="*/ 334 h 340"/>
                <a:gd name="T40" fmla="*/ 106 w 251"/>
                <a:gd name="T41" fmla="*/ 340 h 340"/>
                <a:gd name="T42" fmla="*/ 153 w 251"/>
                <a:gd name="T43" fmla="*/ 339 h 340"/>
                <a:gd name="T44" fmla="*/ 197 w 251"/>
                <a:gd name="T45" fmla="*/ 332 h 340"/>
                <a:gd name="T46" fmla="*/ 211 w 251"/>
                <a:gd name="T47" fmla="*/ 327 h 340"/>
                <a:gd name="T48" fmla="*/ 237 w 251"/>
                <a:gd name="T49" fmla="*/ 313 h 340"/>
                <a:gd name="T50" fmla="*/ 248 w 251"/>
                <a:gd name="T51" fmla="*/ 305 h 340"/>
                <a:gd name="T52" fmla="*/ 251 w 251"/>
                <a:gd name="T53" fmla="*/ 293 h 340"/>
                <a:gd name="T54" fmla="*/ 247 w 251"/>
                <a:gd name="T55" fmla="*/ 285 h 340"/>
                <a:gd name="T56" fmla="*/ 244 w 251"/>
                <a:gd name="T57" fmla="*/ 283 h 340"/>
                <a:gd name="T58" fmla="*/ 207 w 251"/>
                <a:gd name="T59" fmla="*/ 285 h 340"/>
                <a:gd name="T60" fmla="*/ 173 w 251"/>
                <a:gd name="T61" fmla="*/ 293 h 340"/>
                <a:gd name="T62" fmla="*/ 162 w 251"/>
                <a:gd name="T63" fmla="*/ 296 h 340"/>
                <a:gd name="T64" fmla="*/ 139 w 251"/>
                <a:gd name="T65" fmla="*/ 296 h 340"/>
                <a:gd name="T66" fmla="*/ 118 w 251"/>
                <a:gd name="T67" fmla="*/ 292 h 340"/>
                <a:gd name="T68" fmla="*/ 98 w 251"/>
                <a:gd name="T69" fmla="*/ 283 h 340"/>
                <a:gd name="T70" fmla="*/ 88 w 251"/>
                <a:gd name="T71" fmla="*/ 278 h 340"/>
                <a:gd name="T72" fmla="*/ 78 w 251"/>
                <a:gd name="T73" fmla="*/ 259 h 340"/>
                <a:gd name="T74" fmla="*/ 75 w 251"/>
                <a:gd name="T75" fmla="*/ 243 h 340"/>
                <a:gd name="T76" fmla="*/ 76 w 251"/>
                <a:gd name="T77" fmla="*/ 238 h 340"/>
                <a:gd name="T78" fmla="*/ 75 w 251"/>
                <a:gd name="T79" fmla="*/ 194 h 340"/>
                <a:gd name="T80" fmla="*/ 72 w 251"/>
                <a:gd name="T81" fmla="*/ 148 h 340"/>
                <a:gd name="T82" fmla="*/ 74 w 251"/>
                <a:gd name="T83" fmla="*/ 115 h 340"/>
                <a:gd name="T84" fmla="*/ 79 w 251"/>
                <a:gd name="T85" fmla="*/ 95 h 340"/>
                <a:gd name="T86" fmla="*/ 89 w 251"/>
                <a:gd name="T87" fmla="*/ 77 h 340"/>
                <a:gd name="T88" fmla="*/ 96 w 251"/>
                <a:gd name="T89" fmla="*/ 68 h 340"/>
                <a:gd name="T90" fmla="*/ 103 w 251"/>
                <a:gd name="T91" fmla="*/ 60 h 340"/>
                <a:gd name="T92" fmla="*/ 123 w 251"/>
                <a:gd name="T93" fmla="*/ 51 h 340"/>
                <a:gd name="T94" fmla="*/ 145 w 251"/>
                <a:gd name="T95" fmla="*/ 47 h 340"/>
                <a:gd name="T96" fmla="*/ 166 w 251"/>
                <a:gd name="T97" fmla="*/ 39 h 340"/>
                <a:gd name="T98" fmla="*/ 173 w 251"/>
                <a:gd name="T99" fmla="*/ 31 h 340"/>
                <a:gd name="T100" fmla="*/ 179 w 251"/>
                <a:gd name="T101" fmla="*/ 29 h 340"/>
                <a:gd name="T102" fmla="*/ 199 w 251"/>
                <a:gd name="T103" fmla="*/ 31 h 340"/>
                <a:gd name="T104" fmla="*/ 209 w 251"/>
                <a:gd name="T105" fmla="*/ 30 h 340"/>
                <a:gd name="T106" fmla="*/ 213 w 251"/>
                <a:gd name="T107" fmla="*/ 27 h 340"/>
                <a:gd name="T108" fmla="*/ 207 w 251"/>
                <a:gd name="T109" fmla="*/ 6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1" h="340">
                  <a:moveTo>
                    <a:pt x="207" y="6"/>
                  </a:moveTo>
                  <a:lnTo>
                    <a:pt x="207" y="6"/>
                  </a:lnTo>
                  <a:lnTo>
                    <a:pt x="193" y="3"/>
                  </a:lnTo>
                  <a:lnTo>
                    <a:pt x="180" y="2"/>
                  </a:lnTo>
                  <a:lnTo>
                    <a:pt x="167" y="0"/>
                  </a:lnTo>
                  <a:lnTo>
                    <a:pt x="156" y="2"/>
                  </a:lnTo>
                  <a:lnTo>
                    <a:pt x="145" y="3"/>
                  </a:lnTo>
                  <a:lnTo>
                    <a:pt x="133" y="6"/>
                  </a:lnTo>
                  <a:lnTo>
                    <a:pt x="122" y="10"/>
                  </a:lnTo>
                  <a:lnTo>
                    <a:pt x="110" y="16"/>
                  </a:lnTo>
                  <a:lnTo>
                    <a:pt x="89" y="26"/>
                  </a:lnTo>
                  <a:lnTo>
                    <a:pt x="69" y="39"/>
                  </a:lnTo>
                  <a:lnTo>
                    <a:pt x="49" y="5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1" y="73"/>
                  </a:lnTo>
                  <a:lnTo>
                    <a:pt x="15" y="80"/>
                  </a:lnTo>
                  <a:lnTo>
                    <a:pt x="9" y="88"/>
                  </a:lnTo>
                  <a:lnTo>
                    <a:pt x="7" y="98"/>
                  </a:lnTo>
                  <a:lnTo>
                    <a:pt x="4" y="107"/>
                  </a:lnTo>
                  <a:lnTo>
                    <a:pt x="1" y="117"/>
                  </a:lnTo>
                  <a:lnTo>
                    <a:pt x="0" y="137"/>
                  </a:lnTo>
                  <a:lnTo>
                    <a:pt x="1" y="158"/>
                  </a:lnTo>
                  <a:lnTo>
                    <a:pt x="1" y="181"/>
                  </a:lnTo>
                  <a:lnTo>
                    <a:pt x="2" y="202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5" y="235"/>
                  </a:lnTo>
                  <a:lnTo>
                    <a:pt x="7" y="248"/>
                  </a:lnTo>
                  <a:lnTo>
                    <a:pt x="7" y="273"/>
                  </a:lnTo>
                  <a:lnTo>
                    <a:pt x="8" y="285"/>
                  </a:lnTo>
                  <a:lnTo>
                    <a:pt x="11" y="296"/>
                  </a:lnTo>
                  <a:lnTo>
                    <a:pt x="15" y="307"/>
                  </a:lnTo>
                  <a:lnTo>
                    <a:pt x="19" y="312"/>
                  </a:lnTo>
                  <a:lnTo>
                    <a:pt x="24" y="317"/>
                  </a:lnTo>
                  <a:lnTo>
                    <a:pt x="24" y="317"/>
                  </a:lnTo>
                  <a:lnTo>
                    <a:pt x="32" y="323"/>
                  </a:lnTo>
                  <a:lnTo>
                    <a:pt x="42" y="327"/>
                  </a:lnTo>
                  <a:lnTo>
                    <a:pt x="51" y="332"/>
                  </a:lnTo>
                  <a:lnTo>
                    <a:pt x="62" y="334"/>
                  </a:lnTo>
                  <a:lnTo>
                    <a:pt x="83" y="339"/>
                  </a:lnTo>
                  <a:lnTo>
                    <a:pt x="106" y="340"/>
                  </a:lnTo>
                  <a:lnTo>
                    <a:pt x="130" y="340"/>
                  </a:lnTo>
                  <a:lnTo>
                    <a:pt x="153" y="339"/>
                  </a:lnTo>
                  <a:lnTo>
                    <a:pt x="176" y="336"/>
                  </a:lnTo>
                  <a:lnTo>
                    <a:pt x="197" y="332"/>
                  </a:lnTo>
                  <a:lnTo>
                    <a:pt x="197" y="332"/>
                  </a:lnTo>
                  <a:lnTo>
                    <a:pt x="211" y="327"/>
                  </a:lnTo>
                  <a:lnTo>
                    <a:pt x="224" y="320"/>
                  </a:lnTo>
                  <a:lnTo>
                    <a:pt x="237" y="313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51" y="299"/>
                  </a:lnTo>
                  <a:lnTo>
                    <a:pt x="251" y="293"/>
                  </a:lnTo>
                  <a:lnTo>
                    <a:pt x="250" y="288"/>
                  </a:lnTo>
                  <a:lnTo>
                    <a:pt x="247" y="285"/>
                  </a:lnTo>
                  <a:lnTo>
                    <a:pt x="244" y="283"/>
                  </a:lnTo>
                  <a:lnTo>
                    <a:pt x="244" y="283"/>
                  </a:lnTo>
                  <a:lnTo>
                    <a:pt x="226" y="283"/>
                  </a:lnTo>
                  <a:lnTo>
                    <a:pt x="207" y="285"/>
                  </a:lnTo>
                  <a:lnTo>
                    <a:pt x="190" y="288"/>
                  </a:lnTo>
                  <a:lnTo>
                    <a:pt x="173" y="293"/>
                  </a:lnTo>
                  <a:lnTo>
                    <a:pt x="173" y="293"/>
                  </a:lnTo>
                  <a:lnTo>
                    <a:pt x="162" y="296"/>
                  </a:lnTo>
                  <a:lnTo>
                    <a:pt x="150" y="296"/>
                  </a:lnTo>
                  <a:lnTo>
                    <a:pt x="139" y="296"/>
                  </a:lnTo>
                  <a:lnTo>
                    <a:pt x="128" y="295"/>
                  </a:lnTo>
                  <a:lnTo>
                    <a:pt x="118" y="292"/>
                  </a:lnTo>
                  <a:lnTo>
                    <a:pt x="108" y="288"/>
                  </a:lnTo>
                  <a:lnTo>
                    <a:pt x="98" y="283"/>
                  </a:lnTo>
                  <a:lnTo>
                    <a:pt x="88" y="278"/>
                  </a:lnTo>
                  <a:lnTo>
                    <a:pt x="88" y="278"/>
                  </a:lnTo>
                  <a:lnTo>
                    <a:pt x="82" y="269"/>
                  </a:lnTo>
                  <a:lnTo>
                    <a:pt x="78" y="259"/>
                  </a:lnTo>
                  <a:lnTo>
                    <a:pt x="75" y="249"/>
                  </a:lnTo>
                  <a:lnTo>
                    <a:pt x="75" y="243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6" y="216"/>
                  </a:lnTo>
                  <a:lnTo>
                    <a:pt x="75" y="194"/>
                  </a:lnTo>
                  <a:lnTo>
                    <a:pt x="74" y="171"/>
                  </a:lnTo>
                  <a:lnTo>
                    <a:pt x="72" y="148"/>
                  </a:lnTo>
                  <a:lnTo>
                    <a:pt x="74" y="125"/>
                  </a:lnTo>
                  <a:lnTo>
                    <a:pt x="74" y="115"/>
                  </a:lnTo>
                  <a:lnTo>
                    <a:pt x="76" y="105"/>
                  </a:lnTo>
                  <a:lnTo>
                    <a:pt x="79" y="95"/>
                  </a:lnTo>
                  <a:lnTo>
                    <a:pt x="83" y="86"/>
                  </a:lnTo>
                  <a:lnTo>
                    <a:pt x="89" y="77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101" y="64"/>
                  </a:lnTo>
                  <a:lnTo>
                    <a:pt x="103" y="60"/>
                  </a:lnTo>
                  <a:lnTo>
                    <a:pt x="113" y="54"/>
                  </a:lnTo>
                  <a:lnTo>
                    <a:pt x="123" y="51"/>
                  </a:lnTo>
                  <a:lnTo>
                    <a:pt x="135" y="49"/>
                  </a:lnTo>
                  <a:lnTo>
                    <a:pt x="145" y="47"/>
                  </a:lnTo>
                  <a:lnTo>
                    <a:pt x="156" y="44"/>
                  </a:lnTo>
                  <a:lnTo>
                    <a:pt x="166" y="39"/>
                  </a:lnTo>
                  <a:lnTo>
                    <a:pt x="170" y="36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9" y="29"/>
                  </a:lnTo>
                  <a:lnTo>
                    <a:pt x="186" y="29"/>
                  </a:lnTo>
                  <a:lnTo>
                    <a:pt x="199" y="31"/>
                  </a:lnTo>
                  <a:lnTo>
                    <a:pt x="204" y="31"/>
                  </a:lnTo>
                  <a:lnTo>
                    <a:pt x="209" y="30"/>
                  </a:lnTo>
                  <a:lnTo>
                    <a:pt x="211" y="29"/>
                  </a:lnTo>
                  <a:lnTo>
                    <a:pt x="213" y="27"/>
                  </a:lnTo>
                  <a:lnTo>
                    <a:pt x="213" y="19"/>
                  </a:lnTo>
                  <a:lnTo>
                    <a:pt x="207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377"/>
            <p:cNvSpPr>
              <a:spLocks/>
            </p:cNvSpPr>
            <p:nvPr/>
          </p:nvSpPr>
          <p:spPr bwMode="auto">
            <a:xfrm>
              <a:off x="6930" y="2569"/>
              <a:ext cx="110" cy="295"/>
            </a:xfrm>
            <a:custGeom>
              <a:avLst/>
              <a:gdLst>
                <a:gd name="T0" fmla="*/ 73 w 110"/>
                <a:gd name="T1" fmla="*/ 0 h 295"/>
                <a:gd name="T2" fmla="*/ 73 w 110"/>
                <a:gd name="T3" fmla="*/ 0 h 295"/>
                <a:gd name="T4" fmla="*/ 67 w 110"/>
                <a:gd name="T5" fmla="*/ 2 h 295"/>
                <a:gd name="T6" fmla="*/ 61 w 110"/>
                <a:gd name="T7" fmla="*/ 4 h 295"/>
                <a:gd name="T8" fmla="*/ 57 w 110"/>
                <a:gd name="T9" fmla="*/ 7 h 295"/>
                <a:gd name="T10" fmla="*/ 54 w 110"/>
                <a:gd name="T11" fmla="*/ 12 h 295"/>
                <a:gd name="T12" fmla="*/ 48 w 110"/>
                <a:gd name="T13" fmla="*/ 20 h 295"/>
                <a:gd name="T14" fmla="*/ 43 w 110"/>
                <a:gd name="T15" fmla="*/ 30 h 295"/>
                <a:gd name="T16" fmla="*/ 43 w 110"/>
                <a:gd name="T17" fmla="*/ 30 h 295"/>
                <a:gd name="T18" fmla="*/ 44 w 110"/>
                <a:gd name="T19" fmla="*/ 57 h 295"/>
                <a:gd name="T20" fmla="*/ 41 w 110"/>
                <a:gd name="T21" fmla="*/ 83 h 295"/>
                <a:gd name="T22" fmla="*/ 37 w 110"/>
                <a:gd name="T23" fmla="*/ 108 h 295"/>
                <a:gd name="T24" fmla="*/ 33 w 110"/>
                <a:gd name="T25" fmla="*/ 132 h 295"/>
                <a:gd name="T26" fmla="*/ 26 w 110"/>
                <a:gd name="T27" fmla="*/ 157 h 295"/>
                <a:gd name="T28" fmla="*/ 17 w 110"/>
                <a:gd name="T29" fmla="*/ 181 h 295"/>
                <a:gd name="T30" fmla="*/ 0 w 110"/>
                <a:gd name="T31" fmla="*/ 225 h 295"/>
                <a:gd name="T32" fmla="*/ 0 w 110"/>
                <a:gd name="T33" fmla="*/ 225 h 295"/>
                <a:gd name="T34" fmla="*/ 3 w 110"/>
                <a:gd name="T35" fmla="*/ 245 h 295"/>
                <a:gd name="T36" fmla="*/ 7 w 110"/>
                <a:gd name="T37" fmla="*/ 265 h 295"/>
                <a:gd name="T38" fmla="*/ 11 w 110"/>
                <a:gd name="T39" fmla="*/ 273 h 295"/>
                <a:gd name="T40" fmla="*/ 16 w 110"/>
                <a:gd name="T41" fmla="*/ 280 h 295"/>
                <a:gd name="T42" fmla="*/ 21 w 110"/>
                <a:gd name="T43" fmla="*/ 288 h 295"/>
                <a:gd name="T44" fmla="*/ 28 w 110"/>
                <a:gd name="T45" fmla="*/ 292 h 295"/>
                <a:gd name="T46" fmla="*/ 28 w 110"/>
                <a:gd name="T47" fmla="*/ 292 h 295"/>
                <a:gd name="T48" fmla="*/ 36 w 110"/>
                <a:gd name="T49" fmla="*/ 295 h 295"/>
                <a:gd name="T50" fmla="*/ 44 w 110"/>
                <a:gd name="T51" fmla="*/ 295 h 295"/>
                <a:gd name="T52" fmla="*/ 51 w 110"/>
                <a:gd name="T53" fmla="*/ 295 h 295"/>
                <a:gd name="T54" fmla="*/ 58 w 110"/>
                <a:gd name="T55" fmla="*/ 293 h 295"/>
                <a:gd name="T56" fmla="*/ 65 w 110"/>
                <a:gd name="T57" fmla="*/ 290 h 295"/>
                <a:gd name="T58" fmla="*/ 71 w 110"/>
                <a:gd name="T59" fmla="*/ 286 h 295"/>
                <a:gd name="T60" fmla="*/ 77 w 110"/>
                <a:gd name="T61" fmla="*/ 282 h 295"/>
                <a:gd name="T62" fmla="*/ 81 w 110"/>
                <a:gd name="T63" fmla="*/ 276 h 295"/>
                <a:gd name="T64" fmla="*/ 81 w 110"/>
                <a:gd name="T65" fmla="*/ 276 h 295"/>
                <a:gd name="T66" fmla="*/ 83 w 110"/>
                <a:gd name="T67" fmla="*/ 270 h 295"/>
                <a:gd name="T68" fmla="*/ 84 w 110"/>
                <a:gd name="T69" fmla="*/ 266 h 295"/>
                <a:gd name="T70" fmla="*/ 84 w 110"/>
                <a:gd name="T71" fmla="*/ 262 h 295"/>
                <a:gd name="T72" fmla="*/ 84 w 110"/>
                <a:gd name="T73" fmla="*/ 258 h 295"/>
                <a:gd name="T74" fmla="*/ 81 w 110"/>
                <a:gd name="T75" fmla="*/ 249 h 295"/>
                <a:gd name="T76" fmla="*/ 77 w 110"/>
                <a:gd name="T77" fmla="*/ 242 h 295"/>
                <a:gd name="T78" fmla="*/ 71 w 110"/>
                <a:gd name="T79" fmla="*/ 235 h 295"/>
                <a:gd name="T80" fmla="*/ 68 w 110"/>
                <a:gd name="T81" fmla="*/ 226 h 295"/>
                <a:gd name="T82" fmla="*/ 67 w 110"/>
                <a:gd name="T83" fmla="*/ 222 h 295"/>
                <a:gd name="T84" fmla="*/ 67 w 110"/>
                <a:gd name="T85" fmla="*/ 218 h 295"/>
                <a:gd name="T86" fmla="*/ 68 w 110"/>
                <a:gd name="T87" fmla="*/ 214 h 295"/>
                <a:gd name="T88" fmla="*/ 70 w 110"/>
                <a:gd name="T89" fmla="*/ 209 h 295"/>
                <a:gd name="T90" fmla="*/ 70 w 110"/>
                <a:gd name="T91" fmla="*/ 209 h 295"/>
                <a:gd name="T92" fmla="*/ 81 w 110"/>
                <a:gd name="T93" fmla="*/ 188 h 295"/>
                <a:gd name="T94" fmla="*/ 90 w 110"/>
                <a:gd name="T95" fmla="*/ 167 h 295"/>
                <a:gd name="T96" fmla="*/ 98 w 110"/>
                <a:gd name="T97" fmla="*/ 145 h 295"/>
                <a:gd name="T98" fmla="*/ 102 w 110"/>
                <a:gd name="T99" fmla="*/ 122 h 295"/>
                <a:gd name="T100" fmla="*/ 107 w 110"/>
                <a:gd name="T101" fmla="*/ 98 h 295"/>
                <a:gd name="T102" fmla="*/ 110 w 110"/>
                <a:gd name="T103" fmla="*/ 74 h 295"/>
                <a:gd name="T104" fmla="*/ 110 w 110"/>
                <a:gd name="T105" fmla="*/ 50 h 295"/>
                <a:gd name="T106" fmla="*/ 108 w 110"/>
                <a:gd name="T107" fmla="*/ 24 h 295"/>
                <a:gd name="T108" fmla="*/ 108 w 110"/>
                <a:gd name="T109" fmla="*/ 24 h 295"/>
                <a:gd name="T110" fmla="*/ 105 w 110"/>
                <a:gd name="T111" fmla="*/ 17 h 295"/>
                <a:gd name="T112" fmla="*/ 102 w 110"/>
                <a:gd name="T113" fmla="*/ 13 h 295"/>
                <a:gd name="T114" fmla="*/ 100 w 110"/>
                <a:gd name="T115" fmla="*/ 9 h 295"/>
                <a:gd name="T116" fmla="*/ 95 w 110"/>
                <a:gd name="T117" fmla="*/ 6 h 295"/>
                <a:gd name="T118" fmla="*/ 90 w 110"/>
                <a:gd name="T119" fmla="*/ 3 h 295"/>
                <a:gd name="T120" fmla="*/ 84 w 110"/>
                <a:gd name="T121" fmla="*/ 2 h 295"/>
                <a:gd name="T122" fmla="*/ 73 w 110"/>
                <a:gd name="T123" fmla="*/ 0 h 295"/>
                <a:gd name="T124" fmla="*/ 73 w 110"/>
                <a:gd name="T125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0" h="295">
                  <a:moveTo>
                    <a:pt x="73" y="0"/>
                  </a:moveTo>
                  <a:lnTo>
                    <a:pt x="73" y="0"/>
                  </a:lnTo>
                  <a:lnTo>
                    <a:pt x="67" y="2"/>
                  </a:lnTo>
                  <a:lnTo>
                    <a:pt x="61" y="4"/>
                  </a:lnTo>
                  <a:lnTo>
                    <a:pt x="57" y="7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4" y="57"/>
                  </a:lnTo>
                  <a:lnTo>
                    <a:pt x="41" y="83"/>
                  </a:lnTo>
                  <a:lnTo>
                    <a:pt x="37" y="108"/>
                  </a:lnTo>
                  <a:lnTo>
                    <a:pt x="33" y="132"/>
                  </a:lnTo>
                  <a:lnTo>
                    <a:pt x="26" y="157"/>
                  </a:lnTo>
                  <a:lnTo>
                    <a:pt x="17" y="181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3" y="245"/>
                  </a:lnTo>
                  <a:lnTo>
                    <a:pt x="7" y="265"/>
                  </a:lnTo>
                  <a:lnTo>
                    <a:pt x="11" y="273"/>
                  </a:lnTo>
                  <a:lnTo>
                    <a:pt x="16" y="280"/>
                  </a:lnTo>
                  <a:lnTo>
                    <a:pt x="21" y="288"/>
                  </a:lnTo>
                  <a:lnTo>
                    <a:pt x="28" y="292"/>
                  </a:lnTo>
                  <a:lnTo>
                    <a:pt x="28" y="292"/>
                  </a:lnTo>
                  <a:lnTo>
                    <a:pt x="36" y="295"/>
                  </a:lnTo>
                  <a:lnTo>
                    <a:pt x="44" y="295"/>
                  </a:lnTo>
                  <a:lnTo>
                    <a:pt x="51" y="295"/>
                  </a:lnTo>
                  <a:lnTo>
                    <a:pt x="58" y="293"/>
                  </a:lnTo>
                  <a:lnTo>
                    <a:pt x="65" y="290"/>
                  </a:lnTo>
                  <a:lnTo>
                    <a:pt x="71" y="286"/>
                  </a:lnTo>
                  <a:lnTo>
                    <a:pt x="77" y="282"/>
                  </a:lnTo>
                  <a:lnTo>
                    <a:pt x="81" y="276"/>
                  </a:lnTo>
                  <a:lnTo>
                    <a:pt x="81" y="276"/>
                  </a:lnTo>
                  <a:lnTo>
                    <a:pt x="83" y="270"/>
                  </a:lnTo>
                  <a:lnTo>
                    <a:pt x="84" y="266"/>
                  </a:lnTo>
                  <a:lnTo>
                    <a:pt x="84" y="262"/>
                  </a:lnTo>
                  <a:lnTo>
                    <a:pt x="84" y="258"/>
                  </a:lnTo>
                  <a:lnTo>
                    <a:pt x="81" y="249"/>
                  </a:lnTo>
                  <a:lnTo>
                    <a:pt x="77" y="242"/>
                  </a:lnTo>
                  <a:lnTo>
                    <a:pt x="71" y="235"/>
                  </a:lnTo>
                  <a:lnTo>
                    <a:pt x="68" y="226"/>
                  </a:lnTo>
                  <a:lnTo>
                    <a:pt x="67" y="222"/>
                  </a:lnTo>
                  <a:lnTo>
                    <a:pt x="67" y="218"/>
                  </a:lnTo>
                  <a:lnTo>
                    <a:pt x="68" y="214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81" y="188"/>
                  </a:lnTo>
                  <a:lnTo>
                    <a:pt x="90" y="167"/>
                  </a:lnTo>
                  <a:lnTo>
                    <a:pt x="98" y="145"/>
                  </a:lnTo>
                  <a:lnTo>
                    <a:pt x="102" y="122"/>
                  </a:lnTo>
                  <a:lnTo>
                    <a:pt x="107" y="98"/>
                  </a:lnTo>
                  <a:lnTo>
                    <a:pt x="110" y="74"/>
                  </a:lnTo>
                  <a:lnTo>
                    <a:pt x="110" y="50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5" y="17"/>
                  </a:lnTo>
                  <a:lnTo>
                    <a:pt x="102" y="13"/>
                  </a:lnTo>
                  <a:lnTo>
                    <a:pt x="100" y="9"/>
                  </a:lnTo>
                  <a:lnTo>
                    <a:pt x="95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3" y="0"/>
                  </a:lnTo>
                  <a:lnTo>
                    <a:pt x="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378"/>
            <p:cNvSpPr>
              <a:spLocks/>
            </p:cNvSpPr>
            <p:nvPr/>
          </p:nvSpPr>
          <p:spPr bwMode="auto">
            <a:xfrm>
              <a:off x="7382" y="2317"/>
              <a:ext cx="375" cy="548"/>
            </a:xfrm>
            <a:custGeom>
              <a:avLst/>
              <a:gdLst>
                <a:gd name="T0" fmla="*/ 306 w 375"/>
                <a:gd name="T1" fmla="*/ 3 h 548"/>
                <a:gd name="T2" fmla="*/ 296 w 375"/>
                <a:gd name="T3" fmla="*/ 17 h 548"/>
                <a:gd name="T4" fmla="*/ 292 w 375"/>
                <a:gd name="T5" fmla="*/ 63 h 548"/>
                <a:gd name="T6" fmla="*/ 303 w 375"/>
                <a:gd name="T7" fmla="*/ 214 h 548"/>
                <a:gd name="T8" fmla="*/ 305 w 375"/>
                <a:gd name="T9" fmla="*/ 323 h 548"/>
                <a:gd name="T10" fmla="*/ 295 w 375"/>
                <a:gd name="T11" fmla="*/ 329 h 548"/>
                <a:gd name="T12" fmla="*/ 284 w 375"/>
                <a:gd name="T13" fmla="*/ 325 h 548"/>
                <a:gd name="T14" fmla="*/ 239 w 375"/>
                <a:gd name="T15" fmla="*/ 278 h 548"/>
                <a:gd name="T16" fmla="*/ 235 w 375"/>
                <a:gd name="T17" fmla="*/ 268 h 548"/>
                <a:gd name="T18" fmla="*/ 215 w 375"/>
                <a:gd name="T19" fmla="*/ 258 h 548"/>
                <a:gd name="T20" fmla="*/ 184 w 375"/>
                <a:gd name="T21" fmla="*/ 255 h 548"/>
                <a:gd name="T22" fmla="*/ 167 w 375"/>
                <a:gd name="T23" fmla="*/ 264 h 548"/>
                <a:gd name="T24" fmla="*/ 130 w 375"/>
                <a:gd name="T25" fmla="*/ 268 h 548"/>
                <a:gd name="T26" fmla="*/ 87 w 375"/>
                <a:gd name="T27" fmla="*/ 279 h 548"/>
                <a:gd name="T28" fmla="*/ 27 w 375"/>
                <a:gd name="T29" fmla="*/ 309 h 548"/>
                <a:gd name="T30" fmla="*/ 8 w 375"/>
                <a:gd name="T31" fmla="*/ 363 h 548"/>
                <a:gd name="T32" fmla="*/ 0 w 375"/>
                <a:gd name="T33" fmla="*/ 409 h 548"/>
                <a:gd name="T34" fmla="*/ 6 w 375"/>
                <a:gd name="T35" fmla="*/ 441 h 548"/>
                <a:gd name="T36" fmla="*/ 25 w 375"/>
                <a:gd name="T37" fmla="*/ 480 h 548"/>
                <a:gd name="T38" fmla="*/ 29 w 375"/>
                <a:gd name="T39" fmla="*/ 495 h 548"/>
                <a:gd name="T40" fmla="*/ 40 w 375"/>
                <a:gd name="T41" fmla="*/ 505 h 548"/>
                <a:gd name="T42" fmla="*/ 60 w 375"/>
                <a:gd name="T43" fmla="*/ 508 h 548"/>
                <a:gd name="T44" fmla="*/ 133 w 375"/>
                <a:gd name="T45" fmla="*/ 541 h 548"/>
                <a:gd name="T46" fmla="*/ 192 w 375"/>
                <a:gd name="T47" fmla="*/ 548 h 548"/>
                <a:gd name="T48" fmla="*/ 222 w 375"/>
                <a:gd name="T49" fmla="*/ 544 h 548"/>
                <a:gd name="T50" fmla="*/ 241 w 375"/>
                <a:gd name="T51" fmla="*/ 532 h 548"/>
                <a:gd name="T52" fmla="*/ 261 w 375"/>
                <a:gd name="T53" fmla="*/ 508 h 548"/>
                <a:gd name="T54" fmla="*/ 278 w 375"/>
                <a:gd name="T55" fmla="*/ 508 h 548"/>
                <a:gd name="T56" fmla="*/ 301 w 375"/>
                <a:gd name="T57" fmla="*/ 522 h 548"/>
                <a:gd name="T58" fmla="*/ 325 w 375"/>
                <a:gd name="T59" fmla="*/ 544 h 548"/>
                <a:gd name="T60" fmla="*/ 336 w 375"/>
                <a:gd name="T61" fmla="*/ 547 h 548"/>
                <a:gd name="T62" fmla="*/ 363 w 375"/>
                <a:gd name="T63" fmla="*/ 538 h 548"/>
                <a:gd name="T64" fmla="*/ 375 w 375"/>
                <a:gd name="T65" fmla="*/ 525 h 548"/>
                <a:gd name="T66" fmla="*/ 370 w 375"/>
                <a:gd name="T67" fmla="*/ 504 h 548"/>
                <a:gd name="T68" fmla="*/ 356 w 375"/>
                <a:gd name="T69" fmla="*/ 464 h 548"/>
                <a:gd name="T70" fmla="*/ 355 w 375"/>
                <a:gd name="T71" fmla="*/ 443 h 548"/>
                <a:gd name="T72" fmla="*/ 365 w 375"/>
                <a:gd name="T73" fmla="*/ 325 h 548"/>
                <a:gd name="T74" fmla="*/ 363 w 375"/>
                <a:gd name="T75" fmla="*/ 204 h 548"/>
                <a:gd name="T76" fmla="*/ 356 w 375"/>
                <a:gd name="T77" fmla="*/ 126 h 548"/>
                <a:gd name="T78" fmla="*/ 345 w 375"/>
                <a:gd name="T79" fmla="*/ 42 h 548"/>
                <a:gd name="T80" fmla="*/ 336 w 375"/>
                <a:gd name="T81" fmla="*/ 10 h 548"/>
                <a:gd name="T82" fmla="*/ 318 w 375"/>
                <a:gd name="T83" fmla="*/ 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548">
                  <a:moveTo>
                    <a:pt x="311" y="0"/>
                  </a:moveTo>
                  <a:lnTo>
                    <a:pt x="311" y="0"/>
                  </a:lnTo>
                  <a:lnTo>
                    <a:pt x="306" y="3"/>
                  </a:lnTo>
                  <a:lnTo>
                    <a:pt x="303" y="5"/>
                  </a:lnTo>
                  <a:lnTo>
                    <a:pt x="299" y="10"/>
                  </a:lnTo>
                  <a:lnTo>
                    <a:pt x="296" y="17"/>
                  </a:lnTo>
                  <a:lnTo>
                    <a:pt x="292" y="23"/>
                  </a:lnTo>
                  <a:lnTo>
                    <a:pt x="292" y="23"/>
                  </a:lnTo>
                  <a:lnTo>
                    <a:pt x="292" y="63"/>
                  </a:lnTo>
                  <a:lnTo>
                    <a:pt x="293" y="101"/>
                  </a:lnTo>
                  <a:lnTo>
                    <a:pt x="301" y="177"/>
                  </a:lnTo>
                  <a:lnTo>
                    <a:pt x="303" y="214"/>
                  </a:lnTo>
                  <a:lnTo>
                    <a:pt x="306" y="251"/>
                  </a:lnTo>
                  <a:lnTo>
                    <a:pt x="306" y="288"/>
                  </a:lnTo>
                  <a:lnTo>
                    <a:pt x="305" y="323"/>
                  </a:lnTo>
                  <a:lnTo>
                    <a:pt x="305" y="323"/>
                  </a:lnTo>
                  <a:lnTo>
                    <a:pt x="299" y="329"/>
                  </a:lnTo>
                  <a:lnTo>
                    <a:pt x="295" y="329"/>
                  </a:lnTo>
                  <a:lnTo>
                    <a:pt x="292" y="330"/>
                  </a:lnTo>
                  <a:lnTo>
                    <a:pt x="292" y="330"/>
                  </a:lnTo>
                  <a:lnTo>
                    <a:pt x="284" y="325"/>
                  </a:lnTo>
                  <a:lnTo>
                    <a:pt x="276" y="320"/>
                  </a:lnTo>
                  <a:lnTo>
                    <a:pt x="264" y="308"/>
                  </a:lnTo>
                  <a:lnTo>
                    <a:pt x="239" y="278"/>
                  </a:lnTo>
                  <a:lnTo>
                    <a:pt x="239" y="273"/>
                  </a:lnTo>
                  <a:lnTo>
                    <a:pt x="239" y="273"/>
                  </a:lnTo>
                  <a:lnTo>
                    <a:pt x="235" y="268"/>
                  </a:lnTo>
                  <a:lnTo>
                    <a:pt x="228" y="264"/>
                  </a:lnTo>
                  <a:lnTo>
                    <a:pt x="222" y="261"/>
                  </a:lnTo>
                  <a:lnTo>
                    <a:pt x="215" y="258"/>
                  </a:lnTo>
                  <a:lnTo>
                    <a:pt x="208" y="255"/>
                  </a:lnTo>
                  <a:lnTo>
                    <a:pt x="200" y="255"/>
                  </a:lnTo>
                  <a:lnTo>
                    <a:pt x="184" y="255"/>
                  </a:lnTo>
                  <a:lnTo>
                    <a:pt x="184" y="255"/>
                  </a:lnTo>
                  <a:lnTo>
                    <a:pt x="175" y="261"/>
                  </a:lnTo>
                  <a:lnTo>
                    <a:pt x="167" y="264"/>
                  </a:lnTo>
                  <a:lnTo>
                    <a:pt x="158" y="266"/>
                  </a:lnTo>
                  <a:lnTo>
                    <a:pt x="150" y="266"/>
                  </a:lnTo>
                  <a:lnTo>
                    <a:pt x="13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87" y="279"/>
                  </a:lnTo>
                  <a:lnTo>
                    <a:pt x="63" y="291"/>
                  </a:lnTo>
                  <a:lnTo>
                    <a:pt x="39" y="302"/>
                  </a:lnTo>
                  <a:lnTo>
                    <a:pt x="27" y="309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8" y="363"/>
                  </a:lnTo>
                  <a:lnTo>
                    <a:pt x="3" y="386"/>
                  </a:lnTo>
                  <a:lnTo>
                    <a:pt x="0" y="409"/>
                  </a:lnTo>
                  <a:lnTo>
                    <a:pt x="0" y="409"/>
                  </a:lnTo>
                  <a:lnTo>
                    <a:pt x="0" y="421"/>
                  </a:lnTo>
                  <a:lnTo>
                    <a:pt x="2" y="431"/>
                  </a:lnTo>
                  <a:lnTo>
                    <a:pt x="6" y="441"/>
                  </a:lnTo>
                  <a:lnTo>
                    <a:pt x="10" y="451"/>
                  </a:lnTo>
                  <a:lnTo>
                    <a:pt x="20" y="470"/>
                  </a:lnTo>
                  <a:lnTo>
                    <a:pt x="25" y="480"/>
                  </a:lnTo>
                  <a:lnTo>
                    <a:pt x="27" y="490"/>
                  </a:lnTo>
                  <a:lnTo>
                    <a:pt x="27" y="490"/>
                  </a:lnTo>
                  <a:lnTo>
                    <a:pt x="29" y="495"/>
                  </a:lnTo>
                  <a:lnTo>
                    <a:pt x="32" y="500"/>
                  </a:lnTo>
                  <a:lnTo>
                    <a:pt x="36" y="503"/>
                  </a:lnTo>
                  <a:lnTo>
                    <a:pt x="40" y="505"/>
                  </a:lnTo>
                  <a:lnTo>
                    <a:pt x="50" y="508"/>
                  </a:lnTo>
                  <a:lnTo>
                    <a:pt x="60" y="508"/>
                  </a:lnTo>
                  <a:lnTo>
                    <a:pt x="60" y="508"/>
                  </a:lnTo>
                  <a:lnTo>
                    <a:pt x="96" y="527"/>
                  </a:lnTo>
                  <a:lnTo>
                    <a:pt x="114" y="534"/>
                  </a:lnTo>
                  <a:lnTo>
                    <a:pt x="133" y="541"/>
                  </a:lnTo>
                  <a:lnTo>
                    <a:pt x="151" y="545"/>
                  </a:lnTo>
                  <a:lnTo>
                    <a:pt x="171" y="548"/>
                  </a:lnTo>
                  <a:lnTo>
                    <a:pt x="192" y="548"/>
                  </a:lnTo>
                  <a:lnTo>
                    <a:pt x="215" y="547"/>
                  </a:lnTo>
                  <a:lnTo>
                    <a:pt x="215" y="547"/>
                  </a:lnTo>
                  <a:lnTo>
                    <a:pt x="222" y="544"/>
                  </a:lnTo>
                  <a:lnTo>
                    <a:pt x="229" y="541"/>
                  </a:lnTo>
                  <a:lnTo>
                    <a:pt x="235" y="537"/>
                  </a:lnTo>
                  <a:lnTo>
                    <a:pt x="241" y="532"/>
                  </a:lnTo>
                  <a:lnTo>
                    <a:pt x="249" y="521"/>
                  </a:lnTo>
                  <a:lnTo>
                    <a:pt x="261" y="508"/>
                  </a:lnTo>
                  <a:lnTo>
                    <a:pt x="261" y="508"/>
                  </a:lnTo>
                  <a:lnTo>
                    <a:pt x="266" y="507"/>
                  </a:lnTo>
                  <a:lnTo>
                    <a:pt x="274" y="507"/>
                  </a:lnTo>
                  <a:lnTo>
                    <a:pt x="278" y="508"/>
                  </a:lnTo>
                  <a:lnTo>
                    <a:pt x="284" y="510"/>
                  </a:lnTo>
                  <a:lnTo>
                    <a:pt x="292" y="515"/>
                  </a:lnTo>
                  <a:lnTo>
                    <a:pt x="301" y="522"/>
                  </a:lnTo>
                  <a:lnTo>
                    <a:pt x="308" y="531"/>
                  </a:lnTo>
                  <a:lnTo>
                    <a:pt x="316" y="538"/>
                  </a:lnTo>
                  <a:lnTo>
                    <a:pt x="325" y="544"/>
                  </a:lnTo>
                  <a:lnTo>
                    <a:pt x="330" y="545"/>
                  </a:lnTo>
                  <a:lnTo>
                    <a:pt x="336" y="547"/>
                  </a:lnTo>
                  <a:lnTo>
                    <a:pt x="336" y="547"/>
                  </a:lnTo>
                  <a:lnTo>
                    <a:pt x="348" y="545"/>
                  </a:lnTo>
                  <a:lnTo>
                    <a:pt x="359" y="541"/>
                  </a:lnTo>
                  <a:lnTo>
                    <a:pt x="363" y="538"/>
                  </a:lnTo>
                  <a:lnTo>
                    <a:pt x="369" y="535"/>
                  </a:lnTo>
                  <a:lnTo>
                    <a:pt x="372" y="531"/>
                  </a:lnTo>
                  <a:lnTo>
                    <a:pt x="375" y="525"/>
                  </a:lnTo>
                  <a:lnTo>
                    <a:pt x="375" y="525"/>
                  </a:lnTo>
                  <a:lnTo>
                    <a:pt x="373" y="515"/>
                  </a:lnTo>
                  <a:lnTo>
                    <a:pt x="370" y="504"/>
                  </a:lnTo>
                  <a:lnTo>
                    <a:pt x="363" y="484"/>
                  </a:lnTo>
                  <a:lnTo>
                    <a:pt x="359" y="474"/>
                  </a:lnTo>
                  <a:lnTo>
                    <a:pt x="356" y="464"/>
                  </a:lnTo>
                  <a:lnTo>
                    <a:pt x="355" y="454"/>
                  </a:lnTo>
                  <a:lnTo>
                    <a:pt x="355" y="443"/>
                  </a:lnTo>
                  <a:lnTo>
                    <a:pt x="355" y="443"/>
                  </a:lnTo>
                  <a:lnTo>
                    <a:pt x="359" y="404"/>
                  </a:lnTo>
                  <a:lnTo>
                    <a:pt x="363" y="366"/>
                  </a:lnTo>
                  <a:lnTo>
                    <a:pt x="365" y="325"/>
                  </a:lnTo>
                  <a:lnTo>
                    <a:pt x="366" y="285"/>
                  </a:lnTo>
                  <a:lnTo>
                    <a:pt x="365" y="244"/>
                  </a:lnTo>
                  <a:lnTo>
                    <a:pt x="363" y="204"/>
                  </a:lnTo>
                  <a:lnTo>
                    <a:pt x="360" y="164"/>
                  </a:lnTo>
                  <a:lnTo>
                    <a:pt x="356" y="126"/>
                  </a:lnTo>
                  <a:lnTo>
                    <a:pt x="356" y="126"/>
                  </a:lnTo>
                  <a:lnTo>
                    <a:pt x="352" y="97"/>
                  </a:lnTo>
                  <a:lnTo>
                    <a:pt x="348" y="70"/>
                  </a:lnTo>
                  <a:lnTo>
                    <a:pt x="345" y="42"/>
                  </a:lnTo>
                  <a:lnTo>
                    <a:pt x="339" y="13"/>
                  </a:lnTo>
                  <a:lnTo>
                    <a:pt x="339" y="13"/>
                  </a:lnTo>
                  <a:lnTo>
                    <a:pt x="336" y="10"/>
                  </a:lnTo>
                  <a:lnTo>
                    <a:pt x="333" y="7"/>
                  </a:lnTo>
                  <a:lnTo>
                    <a:pt x="326" y="5"/>
                  </a:lnTo>
                  <a:lnTo>
                    <a:pt x="318" y="3"/>
                  </a:lnTo>
                  <a:lnTo>
                    <a:pt x="311" y="0"/>
                  </a:lnTo>
                  <a:lnTo>
                    <a:pt x="3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379"/>
            <p:cNvSpPr>
              <a:spLocks/>
            </p:cNvSpPr>
            <p:nvPr/>
          </p:nvSpPr>
          <p:spPr bwMode="auto">
            <a:xfrm>
              <a:off x="7461" y="2618"/>
              <a:ext cx="166" cy="203"/>
            </a:xfrm>
            <a:custGeom>
              <a:avLst/>
              <a:gdLst>
                <a:gd name="T0" fmla="*/ 143 w 166"/>
                <a:gd name="T1" fmla="*/ 25 h 203"/>
                <a:gd name="T2" fmla="*/ 143 w 166"/>
                <a:gd name="T3" fmla="*/ 25 h 203"/>
                <a:gd name="T4" fmla="*/ 146 w 166"/>
                <a:gd name="T5" fmla="*/ 41 h 203"/>
                <a:gd name="T6" fmla="*/ 150 w 166"/>
                <a:gd name="T7" fmla="*/ 55 h 203"/>
                <a:gd name="T8" fmla="*/ 153 w 166"/>
                <a:gd name="T9" fmla="*/ 62 h 203"/>
                <a:gd name="T10" fmla="*/ 156 w 166"/>
                <a:gd name="T11" fmla="*/ 69 h 203"/>
                <a:gd name="T12" fmla="*/ 160 w 166"/>
                <a:gd name="T13" fmla="*/ 75 h 203"/>
                <a:gd name="T14" fmla="*/ 166 w 166"/>
                <a:gd name="T15" fmla="*/ 81 h 203"/>
                <a:gd name="T16" fmla="*/ 166 w 166"/>
                <a:gd name="T17" fmla="*/ 81 h 203"/>
                <a:gd name="T18" fmla="*/ 165 w 166"/>
                <a:gd name="T19" fmla="*/ 102 h 203"/>
                <a:gd name="T20" fmla="*/ 162 w 166"/>
                <a:gd name="T21" fmla="*/ 125 h 203"/>
                <a:gd name="T22" fmla="*/ 153 w 166"/>
                <a:gd name="T23" fmla="*/ 169 h 203"/>
                <a:gd name="T24" fmla="*/ 153 w 166"/>
                <a:gd name="T25" fmla="*/ 169 h 203"/>
                <a:gd name="T26" fmla="*/ 146 w 166"/>
                <a:gd name="T27" fmla="*/ 180 h 203"/>
                <a:gd name="T28" fmla="*/ 136 w 166"/>
                <a:gd name="T29" fmla="*/ 189 h 203"/>
                <a:gd name="T30" fmla="*/ 126 w 166"/>
                <a:gd name="T31" fmla="*/ 197 h 203"/>
                <a:gd name="T32" fmla="*/ 113 w 166"/>
                <a:gd name="T33" fmla="*/ 202 h 203"/>
                <a:gd name="T34" fmla="*/ 113 w 166"/>
                <a:gd name="T35" fmla="*/ 202 h 203"/>
                <a:gd name="T36" fmla="*/ 99 w 166"/>
                <a:gd name="T37" fmla="*/ 203 h 203"/>
                <a:gd name="T38" fmla="*/ 85 w 166"/>
                <a:gd name="T39" fmla="*/ 202 h 203"/>
                <a:gd name="T40" fmla="*/ 71 w 166"/>
                <a:gd name="T41" fmla="*/ 199 h 203"/>
                <a:gd name="T42" fmla="*/ 58 w 166"/>
                <a:gd name="T43" fmla="*/ 193 h 203"/>
                <a:gd name="T44" fmla="*/ 47 w 166"/>
                <a:gd name="T45" fmla="*/ 187 h 203"/>
                <a:gd name="T46" fmla="*/ 35 w 166"/>
                <a:gd name="T47" fmla="*/ 179 h 203"/>
                <a:gd name="T48" fmla="*/ 25 w 166"/>
                <a:gd name="T49" fmla="*/ 169 h 203"/>
                <a:gd name="T50" fmla="*/ 18 w 166"/>
                <a:gd name="T51" fmla="*/ 157 h 203"/>
                <a:gd name="T52" fmla="*/ 18 w 166"/>
                <a:gd name="T53" fmla="*/ 157 h 203"/>
                <a:gd name="T54" fmla="*/ 11 w 166"/>
                <a:gd name="T55" fmla="*/ 146 h 203"/>
                <a:gd name="T56" fmla="*/ 5 w 166"/>
                <a:gd name="T57" fmla="*/ 132 h 203"/>
                <a:gd name="T58" fmla="*/ 1 w 166"/>
                <a:gd name="T59" fmla="*/ 116 h 203"/>
                <a:gd name="T60" fmla="*/ 0 w 166"/>
                <a:gd name="T61" fmla="*/ 102 h 203"/>
                <a:gd name="T62" fmla="*/ 0 w 166"/>
                <a:gd name="T63" fmla="*/ 86 h 203"/>
                <a:gd name="T64" fmla="*/ 1 w 166"/>
                <a:gd name="T65" fmla="*/ 71 h 203"/>
                <a:gd name="T66" fmla="*/ 5 w 166"/>
                <a:gd name="T67" fmla="*/ 56 h 203"/>
                <a:gd name="T68" fmla="*/ 12 w 166"/>
                <a:gd name="T69" fmla="*/ 44 h 203"/>
                <a:gd name="T70" fmla="*/ 12 w 166"/>
                <a:gd name="T71" fmla="*/ 44 h 203"/>
                <a:gd name="T72" fmla="*/ 20 w 166"/>
                <a:gd name="T73" fmla="*/ 32 h 203"/>
                <a:gd name="T74" fmla="*/ 30 w 166"/>
                <a:gd name="T75" fmla="*/ 24 h 203"/>
                <a:gd name="T76" fmla="*/ 41 w 166"/>
                <a:gd name="T77" fmla="*/ 17 h 203"/>
                <a:gd name="T78" fmla="*/ 54 w 166"/>
                <a:gd name="T79" fmla="*/ 9 h 203"/>
                <a:gd name="T80" fmla="*/ 68 w 166"/>
                <a:gd name="T81" fmla="*/ 5 h 203"/>
                <a:gd name="T82" fmla="*/ 82 w 166"/>
                <a:gd name="T83" fmla="*/ 2 h 203"/>
                <a:gd name="T84" fmla="*/ 96 w 166"/>
                <a:gd name="T85" fmla="*/ 0 h 203"/>
                <a:gd name="T86" fmla="*/ 109 w 166"/>
                <a:gd name="T87" fmla="*/ 0 h 203"/>
                <a:gd name="T88" fmla="*/ 109 w 166"/>
                <a:gd name="T89" fmla="*/ 0 h 203"/>
                <a:gd name="T90" fmla="*/ 121 w 166"/>
                <a:gd name="T91" fmla="*/ 4 h 203"/>
                <a:gd name="T92" fmla="*/ 129 w 166"/>
                <a:gd name="T93" fmla="*/ 9 h 203"/>
                <a:gd name="T94" fmla="*/ 138 w 166"/>
                <a:gd name="T95" fmla="*/ 17 h 203"/>
                <a:gd name="T96" fmla="*/ 143 w 166"/>
                <a:gd name="T97" fmla="*/ 25 h 203"/>
                <a:gd name="T98" fmla="*/ 143 w 166"/>
                <a:gd name="T99" fmla="*/ 2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6" h="203">
                  <a:moveTo>
                    <a:pt x="143" y="25"/>
                  </a:moveTo>
                  <a:lnTo>
                    <a:pt x="143" y="25"/>
                  </a:lnTo>
                  <a:lnTo>
                    <a:pt x="146" y="41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6" y="69"/>
                  </a:lnTo>
                  <a:lnTo>
                    <a:pt x="160" y="75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5" y="102"/>
                  </a:lnTo>
                  <a:lnTo>
                    <a:pt x="162" y="125"/>
                  </a:lnTo>
                  <a:lnTo>
                    <a:pt x="153" y="169"/>
                  </a:lnTo>
                  <a:lnTo>
                    <a:pt x="153" y="169"/>
                  </a:lnTo>
                  <a:lnTo>
                    <a:pt x="146" y="180"/>
                  </a:lnTo>
                  <a:lnTo>
                    <a:pt x="136" y="189"/>
                  </a:lnTo>
                  <a:lnTo>
                    <a:pt x="126" y="197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99" y="203"/>
                  </a:lnTo>
                  <a:lnTo>
                    <a:pt x="85" y="202"/>
                  </a:lnTo>
                  <a:lnTo>
                    <a:pt x="71" y="199"/>
                  </a:lnTo>
                  <a:lnTo>
                    <a:pt x="58" y="193"/>
                  </a:lnTo>
                  <a:lnTo>
                    <a:pt x="47" y="187"/>
                  </a:lnTo>
                  <a:lnTo>
                    <a:pt x="35" y="179"/>
                  </a:lnTo>
                  <a:lnTo>
                    <a:pt x="25" y="169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1" y="146"/>
                  </a:lnTo>
                  <a:lnTo>
                    <a:pt x="5" y="132"/>
                  </a:lnTo>
                  <a:lnTo>
                    <a:pt x="1" y="116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1" y="71"/>
                  </a:lnTo>
                  <a:lnTo>
                    <a:pt x="5" y="5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20" y="32"/>
                  </a:lnTo>
                  <a:lnTo>
                    <a:pt x="30" y="24"/>
                  </a:lnTo>
                  <a:lnTo>
                    <a:pt x="41" y="17"/>
                  </a:lnTo>
                  <a:lnTo>
                    <a:pt x="54" y="9"/>
                  </a:lnTo>
                  <a:lnTo>
                    <a:pt x="68" y="5"/>
                  </a:lnTo>
                  <a:lnTo>
                    <a:pt x="82" y="2"/>
                  </a:lnTo>
                  <a:lnTo>
                    <a:pt x="9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21" y="4"/>
                  </a:lnTo>
                  <a:lnTo>
                    <a:pt x="129" y="9"/>
                  </a:lnTo>
                  <a:lnTo>
                    <a:pt x="138" y="17"/>
                  </a:lnTo>
                  <a:lnTo>
                    <a:pt x="143" y="25"/>
                  </a:lnTo>
                  <a:lnTo>
                    <a:pt x="143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380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381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382"/>
            <p:cNvSpPr>
              <a:spLocks noEditPoints="1"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  <a:gd name="T18" fmla="*/ 200 w 535"/>
                <a:gd name="T19" fmla="*/ 322 h 541"/>
                <a:gd name="T20" fmla="*/ 299 w 535"/>
                <a:gd name="T21" fmla="*/ 322 h 541"/>
                <a:gd name="T22" fmla="*/ 252 w 535"/>
                <a:gd name="T23" fmla="*/ 137 h 541"/>
                <a:gd name="T24" fmla="*/ 200 w 535"/>
                <a:gd name="T25" fmla="*/ 32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  <a:close/>
                  <a:moveTo>
                    <a:pt x="200" y="322"/>
                  </a:moveTo>
                  <a:lnTo>
                    <a:pt x="299" y="322"/>
                  </a:lnTo>
                  <a:lnTo>
                    <a:pt x="252" y="137"/>
                  </a:lnTo>
                  <a:lnTo>
                    <a:pt x="200" y="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383"/>
            <p:cNvSpPr>
              <a:spLocks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384"/>
            <p:cNvSpPr>
              <a:spLocks/>
            </p:cNvSpPr>
            <p:nvPr/>
          </p:nvSpPr>
          <p:spPr bwMode="auto">
            <a:xfrm>
              <a:off x="6986" y="1551"/>
              <a:ext cx="99" cy="185"/>
            </a:xfrm>
            <a:custGeom>
              <a:avLst/>
              <a:gdLst>
                <a:gd name="T0" fmla="*/ 0 w 99"/>
                <a:gd name="T1" fmla="*/ 185 h 185"/>
                <a:gd name="T2" fmla="*/ 99 w 99"/>
                <a:gd name="T3" fmla="*/ 185 h 185"/>
                <a:gd name="T4" fmla="*/ 52 w 99"/>
                <a:gd name="T5" fmla="*/ 0 h 185"/>
                <a:gd name="T6" fmla="*/ 0 w 99"/>
                <a:gd name="T7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85">
                  <a:moveTo>
                    <a:pt x="0" y="185"/>
                  </a:moveTo>
                  <a:lnTo>
                    <a:pt x="99" y="185"/>
                  </a:lnTo>
                  <a:lnTo>
                    <a:pt x="52" y="0"/>
                  </a:lnTo>
                  <a:lnTo>
                    <a:pt x="0" y="18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385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386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387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  <a:gd name="T52" fmla="*/ 166 w 166"/>
                <a:gd name="T53" fmla="*/ 5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  <a:lnTo>
                    <a:pt x="166" y="54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388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7" name="Picture 6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69492"/>
            <a:ext cx="12192000" cy="1205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96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26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2192000" cy="11811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838200" y="-105569"/>
            <a:ext cx="10515600" cy="12358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lick to edit Master title style</a:t>
            </a: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692"/>
            <a:ext cx="12192000" cy="1205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681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866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25B3E-1B3B-4E74-92B5-30BAAE6A6E35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3/02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56AF64-AAC8-4C3B-B032-28AFF7854699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1997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1E7F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32232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649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911" y="4407383"/>
            <a:ext cx="10363924" cy="1362097"/>
          </a:xfrm>
        </p:spPr>
        <p:txBody>
          <a:bodyPr anchor="t"/>
          <a:lstStyle>
            <a:lvl1pPr algn="l">
              <a:defRPr sz="3500" b="1" cap="all"/>
            </a:lvl1pPr>
          </a:lstStyle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911" y="2907056"/>
            <a:ext cx="10363924" cy="1500322"/>
          </a:xfrm>
        </p:spPr>
        <p:txBody>
          <a:bodyPr anchor="b"/>
          <a:lstStyle>
            <a:lvl1pPr marL="0" indent="0">
              <a:buNone/>
              <a:defRPr sz="1800"/>
            </a:lvl1pPr>
            <a:lvl2pPr marL="400736" indent="0">
              <a:buNone/>
              <a:defRPr sz="1600"/>
            </a:lvl2pPr>
            <a:lvl3pPr marL="801472" indent="0">
              <a:buNone/>
              <a:defRPr sz="1400"/>
            </a:lvl3pPr>
            <a:lvl4pPr marL="1202207" indent="0">
              <a:buNone/>
              <a:defRPr sz="1200"/>
            </a:lvl4pPr>
            <a:lvl5pPr marL="1602943" indent="0">
              <a:buNone/>
              <a:defRPr sz="1200"/>
            </a:lvl5pPr>
            <a:lvl6pPr marL="2003679" indent="0">
              <a:buNone/>
              <a:defRPr sz="1200"/>
            </a:lvl6pPr>
            <a:lvl7pPr marL="2404415" indent="0">
              <a:buNone/>
              <a:defRPr sz="1200"/>
            </a:lvl7pPr>
            <a:lvl8pPr marL="2805151" indent="0">
              <a:buNone/>
              <a:defRPr sz="1200"/>
            </a:lvl8pPr>
            <a:lvl9pPr marL="3205886" indent="0">
              <a:buNone/>
              <a:defRPr sz="12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19066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055" y="1380819"/>
            <a:ext cx="5440788" cy="4611835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4602" y="1380819"/>
            <a:ext cx="5440788" cy="4611835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0909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63" y="275012"/>
            <a:ext cx="10972076" cy="114324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66" y="1534880"/>
            <a:ext cx="5386489" cy="639293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0736" indent="0">
              <a:buNone/>
              <a:defRPr sz="1800" b="1"/>
            </a:lvl2pPr>
            <a:lvl3pPr marL="801472" indent="0">
              <a:buNone/>
              <a:defRPr sz="1600" b="1"/>
            </a:lvl3pPr>
            <a:lvl4pPr marL="1202207" indent="0">
              <a:buNone/>
              <a:defRPr sz="1400" b="1"/>
            </a:lvl4pPr>
            <a:lvl5pPr marL="1602943" indent="0">
              <a:buNone/>
              <a:defRPr sz="1400" b="1"/>
            </a:lvl5pPr>
            <a:lvl6pPr marL="2003679" indent="0">
              <a:buNone/>
              <a:defRPr sz="1400" b="1"/>
            </a:lvl6pPr>
            <a:lvl7pPr marL="2404415" indent="0">
              <a:buNone/>
              <a:defRPr sz="1400" b="1"/>
            </a:lvl7pPr>
            <a:lvl8pPr marL="2805151" indent="0">
              <a:buNone/>
              <a:defRPr sz="1400" b="1"/>
            </a:lvl8pPr>
            <a:lvl9pPr marL="3205886" indent="0">
              <a:buNone/>
              <a:defRPr sz="14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966" y="2174177"/>
            <a:ext cx="5386489" cy="395238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739" y="1534880"/>
            <a:ext cx="5388300" cy="639293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0736" indent="0">
              <a:buNone/>
              <a:defRPr sz="1800" b="1"/>
            </a:lvl2pPr>
            <a:lvl3pPr marL="801472" indent="0">
              <a:buNone/>
              <a:defRPr sz="1600" b="1"/>
            </a:lvl3pPr>
            <a:lvl4pPr marL="1202207" indent="0">
              <a:buNone/>
              <a:defRPr sz="1400" b="1"/>
            </a:lvl4pPr>
            <a:lvl5pPr marL="1602943" indent="0">
              <a:buNone/>
              <a:defRPr sz="1400" b="1"/>
            </a:lvl5pPr>
            <a:lvl6pPr marL="2003679" indent="0">
              <a:buNone/>
              <a:defRPr sz="1400" b="1"/>
            </a:lvl6pPr>
            <a:lvl7pPr marL="2404415" indent="0">
              <a:buNone/>
              <a:defRPr sz="1400" b="1"/>
            </a:lvl7pPr>
            <a:lvl8pPr marL="2805151" indent="0">
              <a:buNone/>
              <a:defRPr sz="1400" b="1"/>
            </a:lvl8pPr>
            <a:lvl9pPr marL="3205886" indent="0">
              <a:buNone/>
              <a:defRPr sz="14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739" y="2174177"/>
            <a:ext cx="5388300" cy="395238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82155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15900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6559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26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2192000" cy="11811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181101"/>
            <a:ext cx="5181600" cy="499586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181101"/>
            <a:ext cx="5181600" cy="499586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38200" y="9541"/>
            <a:ext cx="10515600" cy="1057275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692"/>
            <a:ext cx="12192000" cy="1205784"/>
          </a:xfrm>
          <a:prstGeom prst="rect">
            <a:avLst/>
          </a:prstGeom>
        </p:spPr>
      </p:pic>
      <p:grpSp>
        <p:nvGrpSpPr>
          <p:cNvPr id="15" name="Group 363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11500627" y="6227763"/>
            <a:ext cx="585788" cy="538162"/>
            <a:chOff x="5907" y="1132"/>
            <a:chExt cx="2151" cy="1976"/>
          </a:xfrm>
        </p:grpSpPr>
        <p:sp>
          <p:nvSpPr>
            <p:cNvPr id="16" name="Freeform 364"/>
            <p:cNvSpPr>
              <a:spLocks/>
            </p:cNvSpPr>
            <p:nvPr/>
          </p:nvSpPr>
          <p:spPr bwMode="auto">
            <a:xfrm>
              <a:off x="5966" y="2117"/>
              <a:ext cx="2028" cy="0"/>
            </a:xfrm>
            <a:custGeom>
              <a:avLst/>
              <a:gdLst>
                <a:gd name="T0" fmla="*/ 0 w 2028"/>
                <a:gd name="T1" fmla="*/ 2028 w 2028"/>
                <a:gd name="T2" fmla="*/ 0 w 202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28">
                  <a:moveTo>
                    <a:pt x="0" y="0"/>
                  </a:moveTo>
                  <a:lnTo>
                    <a:pt x="202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Line 365"/>
            <p:cNvSpPr>
              <a:spLocks noChangeShapeType="1"/>
            </p:cNvSpPr>
            <p:nvPr/>
          </p:nvSpPr>
          <p:spPr bwMode="auto">
            <a:xfrm>
              <a:off x="5966" y="2117"/>
              <a:ext cx="202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Rectangle 366"/>
            <p:cNvSpPr>
              <a:spLocks noChangeArrowheads="1"/>
            </p:cNvSpPr>
            <p:nvPr/>
          </p:nvSpPr>
          <p:spPr bwMode="auto">
            <a:xfrm>
              <a:off x="5968" y="1194"/>
              <a:ext cx="2030" cy="1853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367"/>
            <p:cNvSpPr>
              <a:spLocks noEditPoints="1"/>
            </p:cNvSpPr>
            <p:nvPr/>
          </p:nvSpPr>
          <p:spPr bwMode="auto">
            <a:xfrm>
              <a:off x="5907" y="1132"/>
              <a:ext cx="2151" cy="1976"/>
            </a:xfrm>
            <a:custGeom>
              <a:avLst/>
              <a:gdLst>
                <a:gd name="T0" fmla="*/ 0 w 2151"/>
                <a:gd name="T1" fmla="*/ 1976 h 1976"/>
                <a:gd name="T2" fmla="*/ 2151 w 2151"/>
                <a:gd name="T3" fmla="*/ 1976 h 1976"/>
                <a:gd name="T4" fmla="*/ 2151 w 2151"/>
                <a:gd name="T5" fmla="*/ 0 h 1976"/>
                <a:gd name="T6" fmla="*/ 0 w 2151"/>
                <a:gd name="T7" fmla="*/ 0 h 1976"/>
                <a:gd name="T8" fmla="*/ 0 w 2151"/>
                <a:gd name="T9" fmla="*/ 1976 h 1976"/>
                <a:gd name="T10" fmla="*/ 123 w 2151"/>
                <a:gd name="T11" fmla="*/ 1854 h 1976"/>
                <a:gd name="T12" fmla="*/ 123 w 2151"/>
                <a:gd name="T13" fmla="*/ 1854 h 1976"/>
                <a:gd name="T14" fmla="*/ 123 w 2151"/>
                <a:gd name="T15" fmla="*/ 1046 h 1976"/>
                <a:gd name="T16" fmla="*/ 2030 w 2151"/>
                <a:gd name="T17" fmla="*/ 1046 h 1976"/>
                <a:gd name="T18" fmla="*/ 2030 w 2151"/>
                <a:gd name="T19" fmla="*/ 1046 h 1976"/>
                <a:gd name="T20" fmla="*/ 2030 w 2151"/>
                <a:gd name="T21" fmla="*/ 1854 h 1976"/>
                <a:gd name="T22" fmla="*/ 2030 w 2151"/>
                <a:gd name="T23" fmla="*/ 1854 h 1976"/>
                <a:gd name="T24" fmla="*/ 123 w 2151"/>
                <a:gd name="T25" fmla="*/ 1854 h 1976"/>
                <a:gd name="T26" fmla="*/ 123 w 2151"/>
                <a:gd name="T27" fmla="*/ 1854 h 1976"/>
                <a:gd name="T28" fmla="*/ 2030 w 2151"/>
                <a:gd name="T29" fmla="*/ 123 h 1976"/>
                <a:gd name="T30" fmla="*/ 2030 w 2151"/>
                <a:gd name="T31" fmla="*/ 123 h 1976"/>
                <a:gd name="T32" fmla="*/ 2030 w 2151"/>
                <a:gd name="T33" fmla="*/ 924 h 1976"/>
                <a:gd name="T34" fmla="*/ 123 w 2151"/>
                <a:gd name="T35" fmla="*/ 924 h 1976"/>
                <a:gd name="T36" fmla="*/ 123 w 2151"/>
                <a:gd name="T37" fmla="*/ 924 h 1976"/>
                <a:gd name="T38" fmla="*/ 123 w 2151"/>
                <a:gd name="T39" fmla="*/ 123 h 1976"/>
                <a:gd name="T40" fmla="*/ 123 w 2151"/>
                <a:gd name="T41" fmla="*/ 123 h 1976"/>
                <a:gd name="T42" fmla="*/ 2030 w 2151"/>
                <a:gd name="T43" fmla="*/ 123 h 1976"/>
                <a:gd name="T44" fmla="*/ 2030 w 2151"/>
                <a:gd name="T45" fmla="*/ 123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51" h="1976">
                  <a:moveTo>
                    <a:pt x="0" y="1976"/>
                  </a:moveTo>
                  <a:lnTo>
                    <a:pt x="2151" y="1976"/>
                  </a:lnTo>
                  <a:lnTo>
                    <a:pt x="2151" y="0"/>
                  </a:lnTo>
                  <a:lnTo>
                    <a:pt x="0" y="0"/>
                  </a:lnTo>
                  <a:lnTo>
                    <a:pt x="0" y="1976"/>
                  </a:lnTo>
                  <a:close/>
                  <a:moveTo>
                    <a:pt x="123" y="1854"/>
                  </a:moveTo>
                  <a:lnTo>
                    <a:pt x="123" y="1854"/>
                  </a:lnTo>
                  <a:lnTo>
                    <a:pt x="123" y="1046"/>
                  </a:lnTo>
                  <a:lnTo>
                    <a:pt x="2030" y="1046"/>
                  </a:lnTo>
                  <a:lnTo>
                    <a:pt x="2030" y="1046"/>
                  </a:lnTo>
                  <a:lnTo>
                    <a:pt x="2030" y="1854"/>
                  </a:lnTo>
                  <a:lnTo>
                    <a:pt x="2030" y="1854"/>
                  </a:lnTo>
                  <a:lnTo>
                    <a:pt x="123" y="1854"/>
                  </a:lnTo>
                  <a:lnTo>
                    <a:pt x="123" y="1854"/>
                  </a:lnTo>
                  <a:close/>
                  <a:moveTo>
                    <a:pt x="2030" y="123"/>
                  </a:moveTo>
                  <a:lnTo>
                    <a:pt x="2030" y="123"/>
                  </a:lnTo>
                  <a:lnTo>
                    <a:pt x="2030" y="924"/>
                  </a:lnTo>
                  <a:lnTo>
                    <a:pt x="123" y="924"/>
                  </a:lnTo>
                  <a:lnTo>
                    <a:pt x="123" y="924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2030" y="123"/>
                  </a:lnTo>
                  <a:lnTo>
                    <a:pt x="2030" y="123"/>
                  </a:lnTo>
                  <a:close/>
                </a:path>
              </a:pathLst>
            </a:custGeom>
            <a:solidFill>
              <a:srgbClr val="EF3E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368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64 h 587"/>
                <a:gd name="T34" fmla="*/ 953 w 1552"/>
                <a:gd name="T35" fmla="*/ 227 h 587"/>
                <a:gd name="T36" fmla="*/ 960 w 1552"/>
                <a:gd name="T37" fmla="*/ 419 h 587"/>
                <a:gd name="T38" fmla="*/ 968 w 1552"/>
                <a:gd name="T39" fmla="*/ 519 h 587"/>
                <a:gd name="T40" fmla="*/ 1034 w 1552"/>
                <a:gd name="T41" fmla="*/ 540 h 587"/>
                <a:gd name="T42" fmla="*/ 1039 w 1552"/>
                <a:gd name="T43" fmla="*/ 458 h 587"/>
                <a:gd name="T44" fmla="*/ 1039 w 1552"/>
                <a:gd name="T45" fmla="*/ 261 h 587"/>
                <a:gd name="T46" fmla="*/ 994 w 1552"/>
                <a:gd name="T47" fmla="*/ 69 h 587"/>
                <a:gd name="T48" fmla="*/ 936 w 1552"/>
                <a:gd name="T49" fmla="*/ 39 h 587"/>
                <a:gd name="T50" fmla="*/ 830 w 1552"/>
                <a:gd name="T51" fmla="*/ 196 h 587"/>
                <a:gd name="T52" fmla="*/ 786 w 1552"/>
                <a:gd name="T53" fmla="*/ 190 h 587"/>
                <a:gd name="T54" fmla="*/ 145 w 1552"/>
                <a:gd name="T55" fmla="*/ 250 h 587"/>
                <a:gd name="T56" fmla="*/ 15 w 1552"/>
                <a:gd name="T57" fmla="*/ 327 h 587"/>
                <a:gd name="T58" fmla="*/ 2 w 1552"/>
                <a:gd name="T59" fmla="*/ 471 h 587"/>
                <a:gd name="T60" fmla="*/ 32 w 1552"/>
                <a:gd name="T61" fmla="*/ 570 h 587"/>
                <a:gd name="T62" fmla="*/ 197 w 1552"/>
                <a:gd name="T63" fmla="*/ 579 h 587"/>
                <a:gd name="T64" fmla="*/ 244 w 1552"/>
                <a:gd name="T65" fmla="*/ 530 h 587"/>
                <a:gd name="T66" fmla="*/ 128 w 1552"/>
                <a:gd name="T67" fmla="*/ 542 h 587"/>
                <a:gd name="T68" fmla="*/ 76 w 1552"/>
                <a:gd name="T69" fmla="*/ 485 h 587"/>
                <a:gd name="T70" fmla="*/ 83 w 1552"/>
                <a:gd name="T71" fmla="*/ 333 h 587"/>
                <a:gd name="T72" fmla="*/ 156 w 1552"/>
                <a:gd name="T73" fmla="*/ 291 h 587"/>
                <a:gd name="T74" fmla="*/ 211 w 1552"/>
                <a:gd name="T75" fmla="*/ 276 h 587"/>
                <a:gd name="T76" fmla="*/ 773 w 1552"/>
                <a:gd name="T77" fmla="*/ 304 h 587"/>
                <a:gd name="T78" fmla="*/ 725 w 1552"/>
                <a:gd name="T79" fmla="*/ 509 h 587"/>
                <a:gd name="T80" fmla="*/ 776 w 1552"/>
                <a:gd name="T81" fmla="*/ 579 h 587"/>
                <a:gd name="T82" fmla="*/ 809 w 1552"/>
                <a:gd name="T83" fmla="*/ 542 h 587"/>
                <a:gd name="T84" fmla="*/ 806 w 1552"/>
                <a:gd name="T85" fmla="*/ 472 h 587"/>
                <a:gd name="T86" fmla="*/ 827 w 1552"/>
                <a:gd name="T87" fmla="*/ 297 h 587"/>
                <a:gd name="T88" fmla="*/ 1480 w 1552"/>
                <a:gd name="T89" fmla="*/ 37 h 587"/>
                <a:gd name="T90" fmla="*/ 1483 w 1552"/>
                <a:gd name="T91" fmla="*/ 320 h 587"/>
                <a:gd name="T92" fmla="*/ 1416 w 1552"/>
                <a:gd name="T93" fmla="*/ 310 h 587"/>
                <a:gd name="T94" fmla="*/ 1361 w 1552"/>
                <a:gd name="T95" fmla="*/ 287 h 587"/>
                <a:gd name="T96" fmla="*/ 1216 w 1552"/>
                <a:gd name="T97" fmla="*/ 334 h 587"/>
                <a:gd name="T98" fmla="*/ 1183 w 1552"/>
                <a:gd name="T99" fmla="*/ 473 h 587"/>
                <a:gd name="T100" fmla="*/ 1227 w 1552"/>
                <a:gd name="T101" fmla="*/ 540 h 587"/>
                <a:gd name="T102" fmla="*/ 1392 w 1552"/>
                <a:gd name="T103" fmla="*/ 579 h 587"/>
                <a:gd name="T104" fmla="*/ 1455 w 1552"/>
                <a:gd name="T105" fmla="*/ 540 h 587"/>
                <a:gd name="T106" fmla="*/ 1525 w 1552"/>
                <a:gd name="T107" fmla="*/ 577 h 587"/>
                <a:gd name="T108" fmla="*/ 1536 w 1552"/>
                <a:gd name="T109" fmla="*/ 506 h 587"/>
                <a:gd name="T110" fmla="*/ 1540 w 1552"/>
                <a:gd name="T111" fmla="*/ 236 h 587"/>
                <a:gd name="T112" fmla="*/ 1510 w 1552"/>
                <a:gd name="T113" fmla="*/ 39 h 587"/>
                <a:gd name="T114" fmla="*/ 1412 w 1552"/>
                <a:gd name="T115" fmla="*/ 402 h 587"/>
                <a:gd name="T116" fmla="*/ 1382 w 1552"/>
                <a:gd name="T117" fmla="*/ 530 h 587"/>
                <a:gd name="T118" fmla="*/ 1274 w 1552"/>
                <a:gd name="T119" fmla="*/ 490 h 587"/>
                <a:gd name="T120" fmla="*/ 1268 w 1552"/>
                <a:gd name="T121" fmla="*/ 377 h 587"/>
                <a:gd name="T122" fmla="*/ 1377 w 1552"/>
                <a:gd name="T123" fmla="*/ 337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noFill/>
            <a:ln w="0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369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370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371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  <a:gd name="T42" fmla="*/ 0 w 57"/>
                <a:gd name="T43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372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79 h 587"/>
                <a:gd name="T34" fmla="*/ 954 w 1552"/>
                <a:gd name="T35" fmla="*/ 298 h 587"/>
                <a:gd name="T36" fmla="*/ 958 w 1552"/>
                <a:gd name="T37" fmla="*/ 429 h 587"/>
                <a:gd name="T38" fmla="*/ 968 w 1552"/>
                <a:gd name="T39" fmla="*/ 519 h 587"/>
                <a:gd name="T40" fmla="*/ 1039 w 1552"/>
                <a:gd name="T41" fmla="*/ 537 h 587"/>
                <a:gd name="T42" fmla="*/ 1038 w 1552"/>
                <a:gd name="T43" fmla="*/ 445 h 587"/>
                <a:gd name="T44" fmla="*/ 1037 w 1552"/>
                <a:gd name="T45" fmla="*/ 249 h 587"/>
                <a:gd name="T46" fmla="*/ 994 w 1552"/>
                <a:gd name="T47" fmla="*/ 48 h 587"/>
                <a:gd name="T48" fmla="*/ 936 w 1552"/>
                <a:gd name="T49" fmla="*/ 39 h 587"/>
                <a:gd name="T50" fmla="*/ 833 w 1552"/>
                <a:gd name="T51" fmla="*/ 192 h 587"/>
                <a:gd name="T52" fmla="*/ 782 w 1552"/>
                <a:gd name="T53" fmla="*/ 196 h 587"/>
                <a:gd name="T54" fmla="*/ 133 w 1552"/>
                <a:gd name="T55" fmla="*/ 253 h 587"/>
                <a:gd name="T56" fmla="*/ 9 w 1552"/>
                <a:gd name="T57" fmla="*/ 335 h 587"/>
                <a:gd name="T58" fmla="*/ 5 w 1552"/>
                <a:gd name="T59" fmla="*/ 482 h 587"/>
                <a:gd name="T60" fmla="*/ 42 w 1552"/>
                <a:gd name="T61" fmla="*/ 574 h 587"/>
                <a:gd name="T62" fmla="*/ 211 w 1552"/>
                <a:gd name="T63" fmla="*/ 574 h 587"/>
                <a:gd name="T64" fmla="*/ 244 w 1552"/>
                <a:gd name="T65" fmla="*/ 530 h 587"/>
                <a:gd name="T66" fmla="*/ 118 w 1552"/>
                <a:gd name="T67" fmla="*/ 539 h 587"/>
                <a:gd name="T68" fmla="*/ 76 w 1552"/>
                <a:gd name="T69" fmla="*/ 485 h 587"/>
                <a:gd name="T70" fmla="*/ 89 w 1552"/>
                <a:gd name="T71" fmla="*/ 324 h 587"/>
                <a:gd name="T72" fmla="*/ 166 w 1552"/>
                <a:gd name="T73" fmla="*/ 286 h 587"/>
                <a:gd name="T74" fmla="*/ 213 w 1552"/>
                <a:gd name="T75" fmla="*/ 274 h 587"/>
                <a:gd name="T76" fmla="*/ 768 w 1552"/>
                <a:gd name="T77" fmla="*/ 314 h 587"/>
                <a:gd name="T78" fmla="*/ 728 w 1552"/>
                <a:gd name="T79" fmla="*/ 529 h 587"/>
                <a:gd name="T80" fmla="*/ 783 w 1552"/>
                <a:gd name="T81" fmla="*/ 577 h 587"/>
                <a:gd name="T82" fmla="*/ 806 w 1552"/>
                <a:gd name="T83" fmla="*/ 533 h 587"/>
                <a:gd name="T84" fmla="*/ 815 w 1552"/>
                <a:gd name="T85" fmla="*/ 451 h 587"/>
                <a:gd name="T86" fmla="*/ 825 w 1552"/>
                <a:gd name="T87" fmla="*/ 293 h 587"/>
                <a:gd name="T88" fmla="*/ 1476 w 1552"/>
                <a:gd name="T89" fmla="*/ 42 h 587"/>
                <a:gd name="T90" fmla="*/ 1482 w 1552"/>
                <a:gd name="T91" fmla="*/ 355 h 587"/>
                <a:gd name="T92" fmla="*/ 1416 w 1552"/>
                <a:gd name="T93" fmla="*/ 305 h 587"/>
                <a:gd name="T94" fmla="*/ 1352 w 1552"/>
                <a:gd name="T95" fmla="*/ 293 h 587"/>
                <a:gd name="T96" fmla="*/ 1204 w 1552"/>
                <a:gd name="T97" fmla="*/ 341 h 587"/>
                <a:gd name="T98" fmla="*/ 1187 w 1552"/>
                <a:gd name="T99" fmla="*/ 483 h 587"/>
                <a:gd name="T100" fmla="*/ 1237 w 1552"/>
                <a:gd name="T101" fmla="*/ 540 h 587"/>
                <a:gd name="T102" fmla="*/ 1399 w 1552"/>
                <a:gd name="T103" fmla="*/ 576 h 587"/>
                <a:gd name="T104" fmla="*/ 1461 w 1552"/>
                <a:gd name="T105" fmla="*/ 542 h 587"/>
                <a:gd name="T106" fmla="*/ 1536 w 1552"/>
                <a:gd name="T107" fmla="*/ 573 h 587"/>
                <a:gd name="T108" fmla="*/ 1533 w 1552"/>
                <a:gd name="T109" fmla="*/ 496 h 587"/>
                <a:gd name="T110" fmla="*/ 1537 w 1552"/>
                <a:gd name="T111" fmla="*/ 196 h 587"/>
                <a:gd name="T112" fmla="*/ 1503 w 1552"/>
                <a:gd name="T113" fmla="*/ 37 h 587"/>
                <a:gd name="T114" fmla="*/ 1416 w 1552"/>
                <a:gd name="T115" fmla="*/ 408 h 587"/>
                <a:gd name="T116" fmla="*/ 1369 w 1552"/>
                <a:gd name="T117" fmla="*/ 535 h 587"/>
                <a:gd name="T118" fmla="*/ 1274 w 1552"/>
                <a:gd name="T119" fmla="*/ 490 h 587"/>
                <a:gd name="T120" fmla="*/ 1276 w 1552"/>
                <a:gd name="T121" fmla="*/ 365 h 587"/>
                <a:gd name="T122" fmla="*/ 1385 w 1552"/>
                <a:gd name="T123" fmla="*/ 34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373"/>
            <p:cNvSpPr>
              <a:spLocks/>
            </p:cNvSpPr>
            <p:nvPr/>
          </p:nvSpPr>
          <p:spPr bwMode="auto">
            <a:xfrm>
              <a:off x="6526" y="2285"/>
              <a:ext cx="299" cy="549"/>
            </a:xfrm>
            <a:custGeom>
              <a:avLst/>
              <a:gdLst>
                <a:gd name="T0" fmla="*/ 97 w 299"/>
                <a:gd name="T1" fmla="*/ 84 h 549"/>
                <a:gd name="T2" fmla="*/ 114 w 299"/>
                <a:gd name="T3" fmla="*/ 197 h 549"/>
                <a:gd name="T4" fmla="*/ 125 w 299"/>
                <a:gd name="T5" fmla="*/ 241 h 549"/>
                <a:gd name="T6" fmla="*/ 118 w 299"/>
                <a:gd name="T7" fmla="*/ 280 h 549"/>
                <a:gd name="T8" fmla="*/ 122 w 299"/>
                <a:gd name="T9" fmla="*/ 304 h 549"/>
                <a:gd name="T10" fmla="*/ 196 w 299"/>
                <a:gd name="T11" fmla="*/ 301 h 549"/>
                <a:gd name="T12" fmla="*/ 243 w 299"/>
                <a:gd name="T13" fmla="*/ 310 h 549"/>
                <a:gd name="T14" fmla="*/ 272 w 299"/>
                <a:gd name="T15" fmla="*/ 325 h 549"/>
                <a:gd name="T16" fmla="*/ 292 w 299"/>
                <a:gd name="T17" fmla="*/ 355 h 549"/>
                <a:gd name="T18" fmla="*/ 297 w 299"/>
                <a:gd name="T19" fmla="*/ 421 h 549"/>
                <a:gd name="T20" fmla="*/ 296 w 299"/>
                <a:gd name="T21" fmla="*/ 489 h 549"/>
                <a:gd name="T22" fmla="*/ 286 w 299"/>
                <a:gd name="T23" fmla="*/ 519 h 549"/>
                <a:gd name="T24" fmla="*/ 276 w 299"/>
                <a:gd name="T25" fmla="*/ 535 h 549"/>
                <a:gd name="T26" fmla="*/ 258 w 299"/>
                <a:gd name="T27" fmla="*/ 546 h 549"/>
                <a:gd name="T28" fmla="*/ 236 w 299"/>
                <a:gd name="T29" fmla="*/ 547 h 549"/>
                <a:gd name="T30" fmla="*/ 223 w 299"/>
                <a:gd name="T31" fmla="*/ 540 h 549"/>
                <a:gd name="T32" fmla="*/ 218 w 299"/>
                <a:gd name="T33" fmla="*/ 523 h 549"/>
                <a:gd name="T34" fmla="*/ 225 w 299"/>
                <a:gd name="T35" fmla="*/ 493 h 549"/>
                <a:gd name="T36" fmla="*/ 232 w 299"/>
                <a:gd name="T37" fmla="*/ 446 h 549"/>
                <a:gd name="T38" fmla="*/ 229 w 299"/>
                <a:gd name="T39" fmla="*/ 398 h 549"/>
                <a:gd name="T40" fmla="*/ 216 w 299"/>
                <a:gd name="T41" fmla="*/ 372 h 549"/>
                <a:gd name="T42" fmla="*/ 198 w 299"/>
                <a:gd name="T43" fmla="*/ 352 h 549"/>
                <a:gd name="T44" fmla="*/ 159 w 299"/>
                <a:gd name="T45" fmla="*/ 340 h 549"/>
                <a:gd name="T46" fmla="*/ 118 w 299"/>
                <a:gd name="T47" fmla="*/ 341 h 549"/>
                <a:gd name="T48" fmla="*/ 108 w 299"/>
                <a:gd name="T49" fmla="*/ 355 h 549"/>
                <a:gd name="T50" fmla="*/ 97 w 299"/>
                <a:gd name="T51" fmla="*/ 388 h 549"/>
                <a:gd name="T52" fmla="*/ 94 w 299"/>
                <a:gd name="T53" fmla="*/ 445 h 549"/>
                <a:gd name="T54" fmla="*/ 94 w 299"/>
                <a:gd name="T55" fmla="*/ 492 h 549"/>
                <a:gd name="T56" fmla="*/ 90 w 299"/>
                <a:gd name="T57" fmla="*/ 519 h 549"/>
                <a:gd name="T58" fmla="*/ 77 w 299"/>
                <a:gd name="T59" fmla="*/ 542 h 549"/>
                <a:gd name="T60" fmla="*/ 61 w 299"/>
                <a:gd name="T61" fmla="*/ 549 h 549"/>
                <a:gd name="T62" fmla="*/ 38 w 299"/>
                <a:gd name="T63" fmla="*/ 544 h 549"/>
                <a:gd name="T64" fmla="*/ 23 w 299"/>
                <a:gd name="T65" fmla="*/ 532 h 549"/>
                <a:gd name="T66" fmla="*/ 19 w 299"/>
                <a:gd name="T67" fmla="*/ 503 h 549"/>
                <a:gd name="T68" fmla="*/ 26 w 299"/>
                <a:gd name="T69" fmla="*/ 436 h 549"/>
                <a:gd name="T70" fmla="*/ 21 w 299"/>
                <a:gd name="T71" fmla="*/ 395 h 549"/>
                <a:gd name="T72" fmla="*/ 7 w 299"/>
                <a:gd name="T73" fmla="*/ 370 h 549"/>
                <a:gd name="T74" fmla="*/ 0 w 299"/>
                <a:gd name="T75" fmla="*/ 358 h 549"/>
                <a:gd name="T76" fmla="*/ 16 w 299"/>
                <a:gd name="T77" fmla="*/ 344 h 549"/>
                <a:gd name="T78" fmla="*/ 37 w 299"/>
                <a:gd name="T79" fmla="*/ 331 h 549"/>
                <a:gd name="T80" fmla="*/ 43 w 299"/>
                <a:gd name="T81" fmla="*/ 320 h 549"/>
                <a:gd name="T82" fmla="*/ 51 w 299"/>
                <a:gd name="T83" fmla="*/ 305 h 549"/>
                <a:gd name="T84" fmla="*/ 67 w 299"/>
                <a:gd name="T85" fmla="*/ 276 h 549"/>
                <a:gd name="T86" fmla="*/ 71 w 299"/>
                <a:gd name="T87" fmla="*/ 241 h 549"/>
                <a:gd name="T88" fmla="*/ 65 w 299"/>
                <a:gd name="T89" fmla="*/ 224 h 549"/>
                <a:gd name="T90" fmla="*/ 57 w 299"/>
                <a:gd name="T91" fmla="*/ 190 h 549"/>
                <a:gd name="T92" fmla="*/ 57 w 299"/>
                <a:gd name="T93" fmla="*/ 146 h 549"/>
                <a:gd name="T94" fmla="*/ 50 w 299"/>
                <a:gd name="T95" fmla="*/ 121 h 549"/>
                <a:gd name="T96" fmla="*/ 37 w 299"/>
                <a:gd name="T97" fmla="*/ 74 h 549"/>
                <a:gd name="T98" fmla="*/ 33 w 299"/>
                <a:gd name="T99" fmla="*/ 32 h 549"/>
                <a:gd name="T100" fmla="*/ 41 w 299"/>
                <a:gd name="T101" fmla="*/ 11 h 549"/>
                <a:gd name="T102" fmla="*/ 54 w 299"/>
                <a:gd name="T103" fmla="*/ 0 h 549"/>
                <a:gd name="T104" fmla="*/ 77 w 299"/>
                <a:gd name="T105" fmla="*/ 15 h 549"/>
                <a:gd name="T106" fmla="*/ 87 w 299"/>
                <a:gd name="T107" fmla="*/ 44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9" h="549">
                  <a:moveTo>
                    <a:pt x="91" y="62"/>
                  </a:moveTo>
                  <a:lnTo>
                    <a:pt x="91" y="62"/>
                  </a:lnTo>
                  <a:lnTo>
                    <a:pt x="97" y="84"/>
                  </a:lnTo>
                  <a:lnTo>
                    <a:pt x="102" y="105"/>
                  </a:lnTo>
                  <a:lnTo>
                    <a:pt x="108" y="152"/>
                  </a:lnTo>
                  <a:lnTo>
                    <a:pt x="114" y="197"/>
                  </a:lnTo>
                  <a:lnTo>
                    <a:pt x="118" y="219"/>
                  </a:lnTo>
                  <a:lnTo>
                    <a:pt x="125" y="241"/>
                  </a:lnTo>
                  <a:lnTo>
                    <a:pt x="125" y="241"/>
                  </a:lnTo>
                  <a:lnTo>
                    <a:pt x="121" y="256"/>
                  </a:lnTo>
                  <a:lnTo>
                    <a:pt x="118" y="273"/>
                  </a:lnTo>
                  <a:lnTo>
                    <a:pt x="118" y="280"/>
                  </a:lnTo>
                  <a:lnTo>
                    <a:pt x="118" y="288"/>
                  </a:lnTo>
                  <a:lnTo>
                    <a:pt x="120" y="296"/>
                  </a:lnTo>
                  <a:lnTo>
                    <a:pt x="122" y="304"/>
                  </a:lnTo>
                  <a:lnTo>
                    <a:pt x="122" y="304"/>
                  </a:lnTo>
                  <a:lnTo>
                    <a:pt x="171" y="301"/>
                  </a:lnTo>
                  <a:lnTo>
                    <a:pt x="196" y="301"/>
                  </a:lnTo>
                  <a:lnTo>
                    <a:pt x="221" y="304"/>
                  </a:lnTo>
                  <a:lnTo>
                    <a:pt x="232" y="305"/>
                  </a:lnTo>
                  <a:lnTo>
                    <a:pt x="243" y="310"/>
                  </a:lnTo>
                  <a:lnTo>
                    <a:pt x="253" y="314"/>
                  </a:lnTo>
                  <a:lnTo>
                    <a:pt x="263" y="318"/>
                  </a:lnTo>
                  <a:lnTo>
                    <a:pt x="272" y="325"/>
                  </a:lnTo>
                  <a:lnTo>
                    <a:pt x="279" y="334"/>
                  </a:lnTo>
                  <a:lnTo>
                    <a:pt x="286" y="344"/>
                  </a:lnTo>
                  <a:lnTo>
                    <a:pt x="292" y="355"/>
                  </a:lnTo>
                  <a:lnTo>
                    <a:pt x="292" y="355"/>
                  </a:lnTo>
                  <a:lnTo>
                    <a:pt x="296" y="398"/>
                  </a:lnTo>
                  <a:lnTo>
                    <a:pt x="297" y="421"/>
                  </a:lnTo>
                  <a:lnTo>
                    <a:pt x="299" y="445"/>
                  </a:lnTo>
                  <a:lnTo>
                    <a:pt x="299" y="468"/>
                  </a:lnTo>
                  <a:lnTo>
                    <a:pt x="296" y="489"/>
                  </a:lnTo>
                  <a:lnTo>
                    <a:pt x="293" y="499"/>
                  </a:lnTo>
                  <a:lnTo>
                    <a:pt x="290" y="510"/>
                  </a:lnTo>
                  <a:lnTo>
                    <a:pt x="286" y="519"/>
                  </a:lnTo>
                  <a:lnTo>
                    <a:pt x="280" y="529"/>
                  </a:lnTo>
                  <a:lnTo>
                    <a:pt x="280" y="529"/>
                  </a:lnTo>
                  <a:lnTo>
                    <a:pt x="276" y="535"/>
                  </a:lnTo>
                  <a:lnTo>
                    <a:pt x="270" y="539"/>
                  </a:lnTo>
                  <a:lnTo>
                    <a:pt x="263" y="543"/>
                  </a:lnTo>
                  <a:lnTo>
                    <a:pt x="258" y="546"/>
                  </a:lnTo>
                  <a:lnTo>
                    <a:pt x="250" y="547"/>
                  </a:lnTo>
                  <a:lnTo>
                    <a:pt x="243" y="547"/>
                  </a:lnTo>
                  <a:lnTo>
                    <a:pt x="236" y="547"/>
                  </a:lnTo>
                  <a:lnTo>
                    <a:pt x="229" y="546"/>
                  </a:lnTo>
                  <a:lnTo>
                    <a:pt x="229" y="546"/>
                  </a:lnTo>
                  <a:lnTo>
                    <a:pt x="223" y="540"/>
                  </a:lnTo>
                  <a:lnTo>
                    <a:pt x="221" y="536"/>
                  </a:lnTo>
                  <a:lnTo>
                    <a:pt x="219" y="530"/>
                  </a:lnTo>
                  <a:lnTo>
                    <a:pt x="218" y="523"/>
                  </a:lnTo>
                  <a:lnTo>
                    <a:pt x="219" y="512"/>
                  </a:lnTo>
                  <a:lnTo>
                    <a:pt x="221" y="499"/>
                  </a:lnTo>
                  <a:lnTo>
                    <a:pt x="225" y="493"/>
                  </a:lnTo>
                  <a:lnTo>
                    <a:pt x="225" y="493"/>
                  </a:lnTo>
                  <a:lnTo>
                    <a:pt x="229" y="463"/>
                  </a:lnTo>
                  <a:lnTo>
                    <a:pt x="232" y="446"/>
                  </a:lnTo>
                  <a:lnTo>
                    <a:pt x="232" y="431"/>
                  </a:lnTo>
                  <a:lnTo>
                    <a:pt x="232" y="414"/>
                  </a:lnTo>
                  <a:lnTo>
                    <a:pt x="229" y="398"/>
                  </a:lnTo>
                  <a:lnTo>
                    <a:pt x="223" y="385"/>
                  </a:lnTo>
                  <a:lnTo>
                    <a:pt x="221" y="378"/>
                  </a:lnTo>
                  <a:lnTo>
                    <a:pt x="216" y="372"/>
                  </a:lnTo>
                  <a:lnTo>
                    <a:pt x="216" y="372"/>
                  </a:lnTo>
                  <a:lnTo>
                    <a:pt x="208" y="361"/>
                  </a:lnTo>
                  <a:lnTo>
                    <a:pt x="198" y="352"/>
                  </a:lnTo>
                  <a:lnTo>
                    <a:pt x="186" y="347"/>
                  </a:lnTo>
                  <a:lnTo>
                    <a:pt x="174" y="342"/>
                  </a:lnTo>
                  <a:lnTo>
                    <a:pt x="159" y="340"/>
                  </a:lnTo>
                  <a:lnTo>
                    <a:pt x="147" y="338"/>
                  </a:lnTo>
                  <a:lnTo>
                    <a:pt x="132" y="340"/>
                  </a:lnTo>
                  <a:lnTo>
                    <a:pt x="118" y="341"/>
                  </a:lnTo>
                  <a:lnTo>
                    <a:pt x="118" y="341"/>
                  </a:lnTo>
                  <a:lnTo>
                    <a:pt x="112" y="348"/>
                  </a:lnTo>
                  <a:lnTo>
                    <a:pt x="108" y="355"/>
                  </a:lnTo>
                  <a:lnTo>
                    <a:pt x="104" y="362"/>
                  </a:lnTo>
                  <a:lnTo>
                    <a:pt x="101" y="371"/>
                  </a:lnTo>
                  <a:lnTo>
                    <a:pt x="97" y="388"/>
                  </a:lnTo>
                  <a:lnTo>
                    <a:pt x="94" y="405"/>
                  </a:lnTo>
                  <a:lnTo>
                    <a:pt x="94" y="425"/>
                  </a:lnTo>
                  <a:lnTo>
                    <a:pt x="94" y="445"/>
                  </a:lnTo>
                  <a:lnTo>
                    <a:pt x="94" y="483"/>
                  </a:lnTo>
                  <a:lnTo>
                    <a:pt x="94" y="483"/>
                  </a:lnTo>
                  <a:lnTo>
                    <a:pt x="94" y="492"/>
                  </a:lnTo>
                  <a:lnTo>
                    <a:pt x="94" y="500"/>
                  </a:lnTo>
                  <a:lnTo>
                    <a:pt x="93" y="510"/>
                  </a:lnTo>
                  <a:lnTo>
                    <a:pt x="90" y="519"/>
                  </a:lnTo>
                  <a:lnTo>
                    <a:pt x="87" y="527"/>
                  </a:lnTo>
                  <a:lnTo>
                    <a:pt x="83" y="535"/>
                  </a:lnTo>
                  <a:lnTo>
                    <a:pt x="77" y="542"/>
                  </a:lnTo>
                  <a:lnTo>
                    <a:pt x="70" y="547"/>
                  </a:lnTo>
                  <a:lnTo>
                    <a:pt x="70" y="547"/>
                  </a:lnTo>
                  <a:lnTo>
                    <a:pt x="61" y="549"/>
                  </a:lnTo>
                  <a:lnTo>
                    <a:pt x="53" y="547"/>
                  </a:lnTo>
                  <a:lnTo>
                    <a:pt x="46" y="547"/>
                  </a:lnTo>
                  <a:lnTo>
                    <a:pt x="38" y="544"/>
                  </a:lnTo>
                  <a:lnTo>
                    <a:pt x="33" y="542"/>
                  </a:lnTo>
                  <a:lnTo>
                    <a:pt x="27" y="537"/>
                  </a:lnTo>
                  <a:lnTo>
                    <a:pt x="23" y="532"/>
                  </a:lnTo>
                  <a:lnTo>
                    <a:pt x="19" y="525"/>
                  </a:lnTo>
                  <a:lnTo>
                    <a:pt x="19" y="525"/>
                  </a:lnTo>
                  <a:lnTo>
                    <a:pt x="19" y="503"/>
                  </a:lnTo>
                  <a:lnTo>
                    <a:pt x="20" y="482"/>
                  </a:lnTo>
                  <a:lnTo>
                    <a:pt x="23" y="459"/>
                  </a:lnTo>
                  <a:lnTo>
                    <a:pt x="26" y="436"/>
                  </a:lnTo>
                  <a:lnTo>
                    <a:pt x="26" y="415"/>
                  </a:lnTo>
                  <a:lnTo>
                    <a:pt x="24" y="405"/>
                  </a:lnTo>
                  <a:lnTo>
                    <a:pt x="21" y="395"/>
                  </a:lnTo>
                  <a:lnTo>
                    <a:pt x="19" y="387"/>
                  </a:lnTo>
                  <a:lnTo>
                    <a:pt x="14" y="377"/>
                  </a:lnTo>
                  <a:lnTo>
                    <a:pt x="7" y="370"/>
                  </a:lnTo>
                  <a:lnTo>
                    <a:pt x="0" y="362"/>
                  </a:lnTo>
                  <a:lnTo>
                    <a:pt x="0" y="362"/>
                  </a:lnTo>
                  <a:lnTo>
                    <a:pt x="0" y="358"/>
                  </a:lnTo>
                  <a:lnTo>
                    <a:pt x="3" y="354"/>
                  </a:lnTo>
                  <a:lnTo>
                    <a:pt x="7" y="348"/>
                  </a:lnTo>
                  <a:lnTo>
                    <a:pt x="16" y="344"/>
                  </a:lnTo>
                  <a:lnTo>
                    <a:pt x="23" y="340"/>
                  </a:lnTo>
                  <a:lnTo>
                    <a:pt x="31" y="337"/>
                  </a:lnTo>
                  <a:lnTo>
                    <a:pt x="37" y="331"/>
                  </a:lnTo>
                  <a:lnTo>
                    <a:pt x="40" y="328"/>
                  </a:lnTo>
                  <a:lnTo>
                    <a:pt x="41" y="324"/>
                  </a:lnTo>
                  <a:lnTo>
                    <a:pt x="43" y="320"/>
                  </a:lnTo>
                  <a:lnTo>
                    <a:pt x="43" y="314"/>
                  </a:lnTo>
                  <a:lnTo>
                    <a:pt x="43" y="314"/>
                  </a:lnTo>
                  <a:lnTo>
                    <a:pt x="51" y="305"/>
                  </a:lnTo>
                  <a:lnTo>
                    <a:pt x="58" y="296"/>
                  </a:lnTo>
                  <a:lnTo>
                    <a:pt x="64" y="286"/>
                  </a:lnTo>
                  <a:lnTo>
                    <a:pt x="67" y="276"/>
                  </a:lnTo>
                  <a:lnTo>
                    <a:pt x="70" y="264"/>
                  </a:lnTo>
                  <a:lnTo>
                    <a:pt x="71" y="253"/>
                  </a:lnTo>
                  <a:lnTo>
                    <a:pt x="71" y="241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5" y="224"/>
                  </a:lnTo>
                  <a:lnTo>
                    <a:pt x="63" y="219"/>
                  </a:lnTo>
                  <a:lnTo>
                    <a:pt x="58" y="205"/>
                  </a:lnTo>
                  <a:lnTo>
                    <a:pt x="57" y="190"/>
                  </a:lnTo>
                  <a:lnTo>
                    <a:pt x="57" y="176"/>
                  </a:lnTo>
                  <a:lnTo>
                    <a:pt x="58" y="160"/>
                  </a:lnTo>
                  <a:lnTo>
                    <a:pt x="57" y="146"/>
                  </a:lnTo>
                  <a:lnTo>
                    <a:pt x="56" y="133"/>
                  </a:lnTo>
                  <a:lnTo>
                    <a:pt x="53" y="126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41" y="91"/>
                  </a:lnTo>
                  <a:lnTo>
                    <a:pt x="37" y="74"/>
                  </a:lnTo>
                  <a:lnTo>
                    <a:pt x="33" y="57"/>
                  </a:lnTo>
                  <a:lnTo>
                    <a:pt x="33" y="41"/>
                  </a:lnTo>
                  <a:lnTo>
                    <a:pt x="33" y="32"/>
                  </a:lnTo>
                  <a:lnTo>
                    <a:pt x="36" y="25"/>
                  </a:lnTo>
                  <a:lnTo>
                    <a:pt x="37" y="18"/>
                  </a:lnTo>
                  <a:lnTo>
                    <a:pt x="41" y="11"/>
                  </a:lnTo>
                  <a:lnTo>
                    <a:pt x="47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3"/>
                  </a:lnTo>
                  <a:lnTo>
                    <a:pt x="71" y="8"/>
                  </a:lnTo>
                  <a:lnTo>
                    <a:pt x="77" y="15"/>
                  </a:lnTo>
                  <a:lnTo>
                    <a:pt x="81" y="24"/>
                  </a:lnTo>
                  <a:lnTo>
                    <a:pt x="84" y="34"/>
                  </a:lnTo>
                  <a:lnTo>
                    <a:pt x="87" y="44"/>
                  </a:lnTo>
                  <a:lnTo>
                    <a:pt x="91" y="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374"/>
            <p:cNvSpPr>
              <a:spLocks/>
            </p:cNvSpPr>
            <p:nvPr/>
          </p:nvSpPr>
          <p:spPr bwMode="auto">
            <a:xfrm>
              <a:off x="7126" y="2317"/>
              <a:ext cx="131" cy="511"/>
            </a:xfrm>
            <a:custGeom>
              <a:avLst/>
              <a:gdLst>
                <a:gd name="T0" fmla="*/ 15 w 131"/>
                <a:gd name="T1" fmla="*/ 7 h 511"/>
                <a:gd name="T2" fmla="*/ 3 w 131"/>
                <a:gd name="T3" fmla="*/ 17 h 511"/>
                <a:gd name="T4" fmla="*/ 0 w 131"/>
                <a:gd name="T5" fmla="*/ 32 h 511"/>
                <a:gd name="T6" fmla="*/ 2 w 131"/>
                <a:gd name="T7" fmla="*/ 63 h 511"/>
                <a:gd name="T8" fmla="*/ 10 w 131"/>
                <a:gd name="T9" fmla="*/ 77 h 511"/>
                <a:gd name="T10" fmla="*/ 22 w 131"/>
                <a:gd name="T11" fmla="*/ 110 h 511"/>
                <a:gd name="T12" fmla="*/ 27 w 131"/>
                <a:gd name="T13" fmla="*/ 143 h 511"/>
                <a:gd name="T14" fmla="*/ 32 w 131"/>
                <a:gd name="T15" fmla="*/ 195 h 511"/>
                <a:gd name="T16" fmla="*/ 36 w 131"/>
                <a:gd name="T17" fmla="*/ 301 h 511"/>
                <a:gd name="T18" fmla="*/ 39 w 131"/>
                <a:gd name="T19" fmla="*/ 335 h 511"/>
                <a:gd name="T20" fmla="*/ 46 w 131"/>
                <a:gd name="T21" fmla="*/ 352 h 511"/>
                <a:gd name="T22" fmla="*/ 43 w 131"/>
                <a:gd name="T23" fmla="*/ 369 h 511"/>
                <a:gd name="T24" fmla="*/ 39 w 131"/>
                <a:gd name="T25" fmla="*/ 387 h 511"/>
                <a:gd name="T26" fmla="*/ 39 w 131"/>
                <a:gd name="T27" fmla="*/ 407 h 511"/>
                <a:gd name="T28" fmla="*/ 43 w 131"/>
                <a:gd name="T29" fmla="*/ 416 h 511"/>
                <a:gd name="T30" fmla="*/ 46 w 131"/>
                <a:gd name="T31" fmla="*/ 436 h 511"/>
                <a:gd name="T32" fmla="*/ 46 w 131"/>
                <a:gd name="T33" fmla="*/ 467 h 511"/>
                <a:gd name="T34" fmla="*/ 47 w 131"/>
                <a:gd name="T35" fmla="*/ 487 h 511"/>
                <a:gd name="T36" fmla="*/ 53 w 131"/>
                <a:gd name="T37" fmla="*/ 494 h 511"/>
                <a:gd name="T38" fmla="*/ 66 w 131"/>
                <a:gd name="T39" fmla="*/ 505 h 511"/>
                <a:gd name="T40" fmla="*/ 83 w 131"/>
                <a:gd name="T41" fmla="*/ 511 h 511"/>
                <a:gd name="T42" fmla="*/ 103 w 131"/>
                <a:gd name="T43" fmla="*/ 511 h 511"/>
                <a:gd name="T44" fmla="*/ 113 w 131"/>
                <a:gd name="T45" fmla="*/ 508 h 511"/>
                <a:gd name="T46" fmla="*/ 124 w 131"/>
                <a:gd name="T47" fmla="*/ 501 h 511"/>
                <a:gd name="T48" fmla="*/ 130 w 131"/>
                <a:gd name="T49" fmla="*/ 491 h 511"/>
                <a:gd name="T50" fmla="*/ 131 w 131"/>
                <a:gd name="T51" fmla="*/ 480 h 511"/>
                <a:gd name="T52" fmla="*/ 126 w 131"/>
                <a:gd name="T53" fmla="*/ 453 h 511"/>
                <a:gd name="T54" fmla="*/ 118 w 131"/>
                <a:gd name="T55" fmla="*/ 426 h 511"/>
                <a:gd name="T56" fmla="*/ 117 w 131"/>
                <a:gd name="T57" fmla="*/ 413 h 511"/>
                <a:gd name="T58" fmla="*/ 116 w 131"/>
                <a:gd name="T59" fmla="*/ 384 h 511"/>
                <a:gd name="T60" fmla="*/ 121 w 131"/>
                <a:gd name="T61" fmla="*/ 299 h 511"/>
                <a:gd name="T62" fmla="*/ 123 w 131"/>
                <a:gd name="T63" fmla="*/ 256 h 511"/>
                <a:gd name="T64" fmla="*/ 118 w 131"/>
                <a:gd name="T65" fmla="*/ 229 h 511"/>
                <a:gd name="T66" fmla="*/ 110 w 131"/>
                <a:gd name="T67" fmla="*/ 204 h 511"/>
                <a:gd name="T68" fmla="*/ 104 w 131"/>
                <a:gd name="T69" fmla="*/ 191 h 511"/>
                <a:gd name="T70" fmla="*/ 97 w 131"/>
                <a:gd name="T71" fmla="*/ 145 h 511"/>
                <a:gd name="T72" fmla="*/ 80 w 131"/>
                <a:gd name="T73" fmla="*/ 81 h 511"/>
                <a:gd name="T74" fmla="*/ 73 w 131"/>
                <a:gd name="T75" fmla="*/ 37 h 511"/>
                <a:gd name="T76" fmla="*/ 73 w 131"/>
                <a:gd name="T77" fmla="*/ 16 h 511"/>
                <a:gd name="T78" fmla="*/ 62 w 131"/>
                <a:gd name="T79" fmla="*/ 3 h 511"/>
                <a:gd name="T80" fmla="*/ 47 w 131"/>
                <a:gd name="T81" fmla="*/ 0 h 511"/>
                <a:gd name="T82" fmla="*/ 30 w 131"/>
                <a:gd name="T83" fmla="*/ 2 h 511"/>
                <a:gd name="T84" fmla="*/ 15 w 131"/>
                <a:gd name="T85" fmla="*/ 7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" h="511">
                  <a:moveTo>
                    <a:pt x="15" y="7"/>
                  </a:moveTo>
                  <a:lnTo>
                    <a:pt x="15" y="7"/>
                  </a:lnTo>
                  <a:lnTo>
                    <a:pt x="9" y="12"/>
                  </a:lnTo>
                  <a:lnTo>
                    <a:pt x="3" y="17"/>
                  </a:lnTo>
                  <a:lnTo>
                    <a:pt x="2" y="23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10" y="77"/>
                  </a:lnTo>
                  <a:lnTo>
                    <a:pt x="16" y="93"/>
                  </a:lnTo>
                  <a:lnTo>
                    <a:pt x="22" y="110"/>
                  </a:lnTo>
                  <a:lnTo>
                    <a:pt x="25" y="126"/>
                  </a:lnTo>
                  <a:lnTo>
                    <a:pt x="27" y="143"/>
                  </a:lnTo>
                  <a:lnTo>
                    <a:pt x="30" y="160"/>
                  </a:lnTo>
                  <a:lnTo>
                    <a:pt x="32" y="195"/>
                  </a:lnTo>
                  <a:lnTo>
                    <a:pt x="33" y="266"/>
                  </a:lnTo>
                  <a:lnTo>
                    <a:pt x="36" y="301"/>
                  </a:lnTo>
                  <a:lnTo>
                    <a:pt x="39" y="335"/>
                  </a:lnTo>
                  <a:lnTo>
                    <a:pt x="39" y="335"/>
                  </a:lnTo>
                  <a:lnTo>
                    <a:pt x="44" y="343"/>
                  </a:lnTo>
                  <a:lnTo>
                    <a:pt x="46" y="352"/>
                  </a:lnTo>
                  <a:lnTo>
                    <a:pt x="46" y="360"/>
                  </a:lnTo>
                  <a:lnTo>
                    <a:pt x="43" y="369"/>
                  </a:lnTo>
                  <a:lnTo>
                    <a:pt x="40" y="377"/>
                  </a:lnTo>
                  <a:lnTo>
                    <a:pt x="39" y="387"/>
                  </a:lnTo>
                  <a:lnTo>
                    <a:pt x="37" y="39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43" y="416"/>
                  </a:lnTo>
                  <a:lnTo>
                    <a:pt x="44" y="426"/>
                  </a:lnTo>
                  <a:lnTo>
                    <a:pt x="46" y="436"/>
                  </a:lnTo>
                  <a:lnTo>
                    <a:pt x="46" y="446"/>
                  </a:lnTo>
                  <a:lnTo>
                    <a:pt x="46" y="467"/>
                  </a:lnTo>
                  <a:lnTo>
                    <a:pt x="46" y="477"/>
                  </a:lnTo>
                  <a:lnTo>
                    <a:pt x="47" y="487"/>
                  </a:lnTo>
                  <a:lnTo>
                    <a:pt x="47" y="487"/>
                  </a:lnTo>
                  <a:lnTo>
                    <a:pt x="53" y="494"/>
                  </a:lnTo>
                  <a:lnTo>
                    <a:pt x="59" y="501"/>
                  </a:lnTo>
                  <a:lnTo>
                    <a:pt x="66" y="505"/>
                  </a:lnTo>
                  <a:lnTo>
                    <a:pt x="74" y="510"/>
                  </a:lnTo>
                  <a:lnTo>
                    <a:pt x="83" y="511"/>
                  </a:lnTo>
                  <a:lnTo>
                    <a:pt x="93" y="511"/>
                  </a:lnTo>
                  <a:lnTo>
                    <a:pt x="103" y="511"/>
                  </a:lnTo>
                  <a:lnTo>
                    <a:pt x="113" y="508"/>
                  </a:lnTo>
                  <a:lnTo>
                    <a:pt x="113" y="508"/>
                  </a:lnTo>
                  <a:lnTo>
                    <a:pt x="118" y="505"/>
                  </a:lnTo>
                  <a:lnTo>
                    <a:pt x="124" y="501"/>
                  </a:lnTo>
                  <a:lnTo>
                    <a:pt x="127" y="497"/>
                  </a:lnTo>
                  <a:lnTo>
                    <a:pt x="130" y="491"/>
                  </a:lnTo>
                  <a:lnTo>
                    <a:pt x="131" y="485"/>
                  </a:lnTo>
                  <a:lnTo>
                    <a:pt x="131" y="480"/>
                  </a:lnTo>
                  <a:lnTo>
                    <a:pt x="130" y="467"/>
                  </a:lnTo>
                  <a:lnTo>
                    <a:pt x="126" y="453"/>
                  </a:lnTo>
                  <a:lnTo>
                    <a:pt x="123" y="439"/>
                  </a:lnTo>
                  <a:lnTo>
                    <a:pt x="118" y="426"/>
                  </a:lnTo>
                  <a:lnTo>
                    <a:pt x="117" y="413"/>
                  </a:lnTo>
                  <a:lnTo>
                    <a:pt x="117" y="413"/>
                  </a:lnTo>
                  <a:lnTo>
                    <a:pt x="116" y="399"/>
                  </a:lnTo>
                  <a:lnTo>
                    <a:pt x="116" y="384"/>
                  </a:lnTo>
                  <a:lnTo>
                    <a:pt x="117" y="356"/>
                  </a:lnTo>
                  <a:lnTo>
                    <a:pt x="121" y="299"/>
                  </a:lnTo>
                  <a:lnTo>
                    <a:pt x="123" y="271"/>
                  </a:lnTo>
                  <a:lnTo>
                    <a:pt x="123" y="256"/>
                  </a:lnTo>
                  <a:lnTo>
                    <a:pt x="121" y="244"/>
                  </a:lnTo>
                  <a:lnTo>
                    <a:pt x="118" y="229"/>
                  </a:lnTo>
                  <a:lnTo>
                    <a:pt x="116" y="217"/>
                  </a:lnTo>
                  <a:lnTo>
                    <a:pt x="110" y="204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1" y="168"/>
                  </a:lnTo>
                  <a:lnTo>
                    <a:pt x="97" y="145"/>
                  </a:lnTo>
                  <a:lnTo>
                    <a:pt x="86" y="103"/>
                  </a:lnTo>
                  <a:lnTo>
                    <a:pt x="80" y="81"/>
                  </a:lnTo>
                  <a:lnTo>
                    <a:pt x="76" y="60"/>
                  </a:lnTo>
                  <a:lnTo>
                    <a:pt x="73" y="37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67" y="9"/>
                  </a:lnTo>
                  <a:lnTo>
                    <a:pt x="62" y="3"/>
                  </a:lnTo>
                  <a:lnTo>
                    <a:pt x="54" y="2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0" y="2"/>
                  </a:lnTo>
                  <a:lnTo>
                    <a:pt x="22" y="5"/>
                  </a:lnTo>
                  <a:lnTo>
                    <a:pt x="15" y="7"/>
                  </a:lnTo>
                  <a:lnTo>
                    <a:pt x="15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375"/>
            <p:cNvSpPr>
              <a:spLocks/>
            </p:cNvSpPr>
            <p:nvPr/>
          </p:nvSpPr>
          <p:spPr bwMode="auto">
            <a:xfrm>
              <a:off x="6983" y="2462"/>
              <a:ext cx="57" cy="35"/>
            </a:xfrm>
            <a:custGeom>
              <a:avLst/>
              <a:gdLst>
                <a:gd name="T0" fmla="*/ 0 w 57"/>
                <a:gd name="T1" fmla="*/ 28 h 35"/>
                <a:gd name="T2" fmla="*/ 0 w 57"/>
                <a:gd name="T3" fmla="*/ 28 h 35"/>
                <a:gd name="T4" fmla="*/ 10 w 57"/>
                <a:gd name="T5" fmla="*/ 30 h 35"/>
                <a:gd name="T6" fmla="*/ 18 w 57"/>
                <a:gd name="T7" fmla="*/ 33 h 35"/>
                <a:gd name="T8" fmla="*/ 28 w 57"/>
                <a:gd name="T9" fmla="*/ 35 h 35"/>
                <a:gd name="T10" fmla="*/ 38 w 57"/>
                <a:gd name="T11" fmla="*/ 32 h 35"/>
                <a:gd name="T12" fmla="*/ 38 w 57"/>
                <a:gd name="T13" fmla="*/ 32 h 35"/>
                <a:gd name="T14" fmla="*/ 45 w 57"/>
                <a:gd name="T15" fmla="*/ 28 h 35"/>
                <a:gd name="T16" fmla="*/ 52 w 57"/>
                <a:gd name="T17" fmla="*/ 19 h 35"/>
                <a:gd name="T18" fmla="*/ 55 w 57"/>
                <a:gd name="T19" fmla="*/ 15 h 35"/>
                <a:gd name="T20" fmla="*/ 57 w 57"/>
                <a:gd name="T21" fmla="*/ 10 h 35"/>
                <a:gd name="T22" fmla="*/ 55 w 57"/>
                <a:gd name="T23" fmla="*/ 5 h 35"/>
                <a:gd name="T24" fmla="*/ 54 w 57"/>
                <a:gd name="T25" fmla="*/ 0 h 35"/>
                <a:gd name="T26" fmla="*/ 54 w 57"/>
                <a:gd name="T27" fmla="*/ 0 h 35"/>
                <a:gd name="T28" fmla="*/ 37 w 57"/>
                <a:gd name="T29" fmla="*/ 2 h 35"/>
                <a:gd name="T30" fmla="*/ 30 w 57"/>
                <a:gd name="T31" fmla="*/ 3 h 35"/>
                <a:gd name="T32" fmla="*/ 21 w 57"/>
                <a:gd name="T33" fmla="*/ 6 h 35"/>
                <a:gd name="T34" fmla="*/ 14 w 57"/>
                <a:gd name="T35" fmla="*/ 9 h 35"/>
                <a:gd name="T36" fmla="*/ 8 w 57"/>
                <a:gd name="T37" fmla="*/ 13 h 35"/>
                <a:gd name="T38" fmla="*/ 4 w 57"/>
                <a:gd name="T39" fmla="*/ 19 h 35"/>
                <a:gd name="T40" fmla="*/ 0 w 57"/>
                <a:gd name="T41" fmla="*/ 28 h 35"/>
                <a:gd name="T42" fmla="*/ 0 w 57"/>
                <a:gd name="T43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5">
                  <a:moveTo>
                    <a:pt x="0" y="28"/>
                  </a:moveTo>
                  <a:lnTo>
                    <a:pt x="0" y="28"/>
                  </a:lnTo>
                  <a:lnTo>
                    <a:pt x="10" y="30"/>
                  </a:lnTo>
                  <a:lnTo>
                    <a:pt x="18" y="33"/>
                  </a:lnTo>
                  <a:lnTo>
                    <a:pt x="28" y="35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5" y="28"/>
                  </a:lnTo>
                  <a:lnTo>
                    <a:pt x="52" y="19"/>
                  </a:lnTo>
                  <a:lnTo>
                    <a:pt x="55" y="15"/>
                  </a:lnTo>
                  <a:lnTo>
                    <a:pt x="57" y="10"/>
                  </a:lnTo>
                  <a:lnTo>
                    <a:pt x="55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8" y="13"/>
                  </a:lnTo>
                  <a:lnTo>
                    <a:pt x="4" y="19"/>
                  </a:lnTo>
                  <a:lnTo>
                    <a:pt x="0" y="28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376"/>
            <p:cNvSpPr>
              <a:spLocks/>
            </p:cNvSpPr>
            <p:nvPr/>
          </p:nvSpPr>
          <p:spPr bwMode="auto">
            <a:xfrm>
              <a:off x="6205" y="2532"/>
              <a:ext cx="251" cy="340"/>
            </a:xfrm>
            <a:custGeom>
              <a:avLst/>
              <a:gdLst>
                <a:gd name="T0" fmla="*/ 207 w 251"/>
                <a:gd name="T1" fmla="*/ 6 h 340"/>
                <a:gd name="T2" fmla="*/ 180 w 251"/>
                <a:gd name="T3" fmla="*/ 2 h 340"/>
                <a:gd name="T4" fmla="*/ 156 w 251"/>
                <a:gd name="T5" fmla="*/ 2 h 340"/>
                <a:gd name="T6" fmla="*/ 133 w 251"/>
                <a:gd name="T7" fmla="*/ 6 h 340"/>
                <a:gd name="T8" fmla="*/ 110 w 251"/>
                <a:gd name="T9" fmla="*/ 16 h 340"/>
                <a:gd name="T10" fmla="*/ 69 w 251"/>
                <a:gd name="T11" fmla="*/ 39 h 340"/>
                <a:gd name="T12" fmla="*/ 28 w 251"/>
                <a:gd name="T13" fmla="*/ 64 h 340"/>
                <a:gd name="T14" fmla="*/ 21 w 251"/>
                <a:gd name="T15" fmla="*/ 73 h 340"/>
                <a:gd name="T16" fmla="*/ 9 w 251"/>
                <a:gd name="T17" fmla="*/ 88 h 340"/>
                <a:gd name="T18" fmla="*/ 4 w 251"/>
                <a:gd name="T19" fmla="*/ 107 h 340"/>
                <a:gd name="T20" fmla="*/ 0 w 251"/>
                <a:gd name="T21" fmla="*/ 137 h 340"/>
                <a:gd name="T22" fmla="*/ 1 w 251"/>
                <a:gd name="T23" fmla="*/ 181 h 340"/>
                <a:gd name="T24" fmla="*/ 2 w 251"/>
                <a:gd name="T25" fmla="*/ 224 h 340"/>
                <a:gd name="T26" fmla="*/ 5 w 251"/>
                <a:gd name="T27" fmla="*/ 235 h 340"/>
                <a:gd name="T28" fmla="*/ 7 w 251"/>
                <a:gd name="T29" fmla="*/ 273 h 340"/>
                <a:gd name="T30" fmla="*/ 11 w 251"/>
                <a:gd name="T31" fmla="*/ 296 h 340"/>
                <a:gd name="T32" fmla="*/ 19 w 251"/>
                <a:gd name="T33" fmla="*/ 312 h 340"/>
                <a:gd name="T34" fmla="*/ 24 w 251"/>
                <a:gd name="T35" fmla="*/ 317 h 340"/>
                <a:gd name="T36" fmla="*/ 42 w 251"/>
                <a:gd name="T37" fmla="*/ 327 h 340"/>
                <a:gd name="T38" fmla="*/ 62 w 251"/>
                <a:gd name="T39" fmla="*/ 334 h 340"/>
                <a:gd name="T40" fmla="*/ 106 w 251"/>
                <a:gd name="T41" fmla="*/ 340 h 340"/>
                <a:gd name="T42" fmla="*/ 153 w 251"/>
                <a:gd name="T43" fmla="*/ 339 h 340"/>
                <a:gd name="T44" fmla="*/ 197 w 251"/>
                <a:gd name="T45" fmla="*/ 332 h 340"/>
                <a:gd name="T46" fmla="*/ 211 w 251"/>
                <a:gd name="T47" fmla="*/ 327 h 340"/>
                <a:gd name="T48" fmla="*/ 237 w 251"/>
                <a:gd name="T49" fmla="*/ 313 h 340"/>
                <a:gd name="T50" fmla="*/ 248 w 251"/>
                <a:gd name="T51" fmla="*/ 305 h 340"/>
                <a:gd name="T52" fmla="*/ 251 w 251"/>
                <a:gd name="T53" fmla="*/ 293 h 340"/>
                <a:gd name="T54" fmla="*/ 247 w 251"/>
                <a:gd name="T55" fmla="*/ 285 h 340"/>
                <a:gd name="T56" fmla="*/ 244 w 251"/>
                <a:gd name="T57" fmla="*/ 283 h 340"/>
                <a:gd name="T58" fmla="*/ 207 w 251"/>
                <a:gd name="T59" fmla="*/ 285 h 340"/>
                <a:gd name="T60" fmla="*/ 173 w 251"/>
                <a:gd name="T61" fmla="*/ 293 h 340"/>
                <a:gd name="T62" fmla="*/ 162 w 251"/>
                <a:gd name="T63" fmla="*/ 296 h 340"/>
                <a:gd name="T64" fmla="*/ 139 w 251"/>
                <a:gd name="T65" fmla="*/ 296 h 340"/>
                <a:gd name="T66" fmla="*/ 118 w 251"/>
                <a:gd name="T67" fmla="*/ 292 h 340"/>
                <a:gd name="T68" fmla="*/ 98 w 251"/>
                <a:gd name="T69" fmla="*/ 283 h 340"/>
                <a:gd name="T70" fmla="*/ 88 w 251"/>
                <a:gd name="T71" fmla="*/ 278 h 340"/>
                <a:gd name="T72" fmla="*/ 78 w 251"/>
                <a:gd name="T73" fmla="*/ 259 h 340"/>
                <a:gd name="T74" fmla="*/ 75 w 251"/>
                <a:gd name="T75" fmla="*/ 243 h 340"/>
                <a:gd name="T76" fmla="*/ 76 w 251"/>
                <a:gd name="T77" fmla="*/ 238 h 340"/>
                <a:gd name="T78" fmla="*/ 75 w 251"/>
                <a:gd name="T79" fmla="*/ 194 h 340"/>
                <a:gd name="T80" fmla="*/ 72 w 251"/>
                <a:gd name="T81" fmla="*/ 148 h 340"/>
                <a:gd name="T82" fmla="*/ 74 w 251"/>
                <a:gd name="T83" fmla="*/ 115 h 340"/>
                <a:gd name="T84" fmla="*/ 79 w 251"/>
                <a:gd name="T85" fmla="*/ 95 h 340"/>
                <a:gd name="T86" fmla="*/ 89 w 251"/>
                <a:gd name="T87" fmla="*/ 77 h 340"/>
                <a:gd name="T88" fmla="*/ 96 w 251"/>
                <a:gd name="T89" fmla="*/ 68 h 340"/>
                <a:gd name="T90" fmla="*/ 103 w 251"/>
                <a:gd name="T91" fmla="*/ 60 h 340"/>
                <a:gd name="T92" fmla="*/ 123 w 251"/>
                <a:gd name="T93" fmla="*/ 51 h 340"/>
                <a:gd name="T94" fmla="*/ 145 w 251"/>
                <a:gd name="T95" fmla="*/ 47 h 340"/>
                <a:gd name="T96" fmla="*/ 166 w 251"/>
                <a:gd name="T97" fmla="*/ 39 h 340"/>
                <a:gd name="T98" fmla="*/ 173 w 251"/>
                <a:gd name="T99" fmla="*/ 31 h 340"/>
                <a:gd name="T100" fmla="*/ 179 w 251"/>
                <a:gd name="T101" fmla="*/ 29 h 340"/>
                <a:gd name="T102" fmla="*/ 199 w 251"/>
                <a:gd name="T103" fmla="*/ 31 h 340"/>
                <a:gd name="T104" fmla="*/ 209 w 251"/>
                <a:gd name="T105" fmla="*/ 30 h 340"/>
                <a:gd name="T106" fmla="*/ 213 w 251"/>
                <a:gd name="T107" fmla="*/ 27 h 340"/>
                <a:gd name="T108" fmla="*/ 207 w 251"/>
                <a:gd name="T109" fmla="*/ 6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1" h="340">
                  <a:moveTo>
                    <a:pt x="207" y="6"/>
                  </a:moveTo>
                  <a:lnTo>
                    <a:pt x="207" y="6"/>
                  </a:lnTo>
                  <a:lnTo>
                    <a:pt x="193" y="3"/>
                  </a:lnTo>
                  <a:lnTo>
                    <a:pt x="180" y="2"/>
                  </a:lnTo>
                  <a:lnTo>
                    <a:pt x="167" y="0"/>
                  </a:lnTo>
                  <a:lnTo>
                    <a:pt x="156" y="2"/>
                  </a:lnTo>
                  <a:lnTo>
                    <a:pt x="145" y="3"/>
                  </a:lnTo>
                  <a:lnTo>
                    <a:pt x="133" y="6"/>
                  </a:lnTo>
                  <a:lnTo>
                    <a:pt x="122" y="10"/>
                  </a:lnTo>
                  <a:lnTo>
                    <a:pt x="110" y="16"/>
                  </a:lnTo>
                  <a:lnTo>
                    <a:pt x="89" y="26"/>
                  </a:lnTo>
                  <a:lnTo>
                    <a:pt x="69" y="39"/>
                  </a:lnTo>
                  <a:lnTo>
                    <a:pt x="49" y="5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1" y="73"/>
                  </a:lnTo>
                  <a:lnTo>
                    <a:pt x="15" y="80"/>
                  </a:lnTo>
                  <a:lnTo>
                    <a:pt x="9" y="88"/>
                  </a:lnTo>
                  <a:lnTo>
                    <a:pt x="7" y="98"/>
                  </a:lnTo>
                  <a:lnTo>
                    <a:pt x="4" y="107"/>
                  </a:lnTo>
                  <a:lnTo>
                    <a:pt x="1" y="117"/>
                  </a:lnTo>
                  <a:lnTo>
                    <a:pt x="0" y="137"/>
                  </a:lnTo>
                  <a:lnTo>
                    <a:pt x="1" y="158"/>
                  </a:lnTo>
                  <a:lnTo>
                    <a:pt x="1" y="181"/>
                  </a:lnTo>
                  <a:lnTo>
                    <a:pt x="2" y="202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5" y="235"/>
                  </a:lnTo>
                  <a:lnTo>
                    <a:pt x="7" y="248"/>
                  </a:lnTo>
                  <a:lnTo>
                    <a:pt x="7" y="273"/>
                  </a:lnTo>
                  <a:lnTo>
                    <a:pt x="8" y="285"/>
                  </a:lnTo>
                  <a:lnTo>
                    <a:pt x="11" y="296"/>
                  </a:lnTo>
                  <a:lnTo>
                    <a:pt x="15" y="307"/>
                  </a:lnTo>
                  <a:lnTo>
                    <a:pt x="19" y="312"/>
                  </a:lnTo>
                  <a:lnTo>
                    <a:pt x="24" y="317"/>
                  </a:lnTo>
                  <a:lnTo>
                    <a:pt x="24" y="317"/>
                  </a:lnTo>
                  <a:lnTo>
                    <a:pt x="32" y="323"/>
                  </a:lnTo>
                  <a:lnTo>
                    <a:pt x="42" y="327"/>
                  </a:lnTo>
                  <a:lnTo>
                    <a:pt x="51" y="332"/>
                  </a:lnTo>
                  <a:lnTo>
                    <a:pt x="62" y="334"/>
                  </a:lnTo>
                  <a:lnTo>
                    <a:pt x="83" y="339"/>
                  </a:lnTo>
                  <a:lnTo>
                    <a:pt x="106" y="340"/>
                  </a:lnTo>
                  <a:lnTo>
                    <a:pt x="130" y="340"/>
                  </a:lnTo>
                  <a:lnTo>
                    <a:pt x="153" y="339"/>
                  </a:lnTo>
                  <a:lnTo>
                    <a:pt x="176" y="336"/>
                  </a:lnTo>
                  <a:lnTo>
                    <a:pt x="197" y="332"/>
                  </a:lnTo>
                  <a:lnTo>
                    <a:pt x="197" y="332"/>
                  </a:lnTo>
                  <a:lnTo>
                    <a:pt x="211" y="327"/>
                  </a:lnTo>
                  <a:lnTo>
                    <a:pt x="224" y="320"/>
                  </a:lnTo>
                  <a:lnTo>
                    <a:pt x="237" y="313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51" y="299"/>
                  </a:lnTo>
                  <a:lnTo>
                    <a:pt x="251" y="293"/>
                  </a:lnTo>
                  <a:lnTo>
                    <a:pt x="250" y="288"/>
                  </a:lnTo>
                  <a:lnTo>
                    <a:pt x="247" y="285"/>
                  </a:lnTo>
                  <a:lnTo>
                    <a:pt x="244" y="283"/>
                  </a:lnTo>
                  <a:lnTo>
                    <a:pt x="244" y="283"/>
                  </a:lnTo>
                  <a:lnTo>
                    <a:pt x="226" y="283"/>
                  </a:lnTo>
                  <a:lnTo>
                    <a:pt x="207" y="285"/>
                  </a:lnTo>
                  <a:lnTo>
                    <a:pt x="190" y="288"/>
                  </a:lnTo>
                  <a:lnTo>
                    <a:pt x="173" y="293"/>
                  </a:lnTo>
                  <a:lnTo>
                    <a:pt x="173" y="293"/>
                  </a:lnTo>
                  <a:lnTo>
                    <a:pt x="162" y="296"/>
                  </a:lnTo>
                  <a:lnTo>
                    <a:pt x="150" y="296"/>
                  </a:lnTo>
                  <a:lnTo>
                    <a:pt x="139" y="296"/>
                  </a:lnTo>
                  <a:lnTo>
                    <a:pt x="128" y="295"/>
                  </a:lnTo>
                  <a:lnTo>
                    <a:pt x="118" y="292"/>
                  </a:lnTo>
                  <a:lnTo>
                    <a:pt x="108" y="288"/>
                  </a:lnTo>
                  <a:lnTo>
                    <a:pt x="98" y="283"/>
                  </a:lnTo>
                  <a:lnTo>
                    <a:pt x="88" y="278"/>
                  </a:lnTo>
                  <a:lnTo>
                    <a:pt x="88" y="278"/>
                  </a:lnTo>
                  <a:lnTo>
                    <a:pt x="82" y="269"/>
                  </a:lnTo>
                  <a:lnTo>
                    <a:pt x="78" y="259"/>
                  </a:lnTo>
                  <a:lnTo>
                    <a:pt x="75" y="249"/>
                  </a:lnTo>
                  <a:lnTo>
                    <a:pt x="75" y="243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6" y="216"/>
                  </a:lnTo>
                  <a:lnTo>
                    <a:pt x="75" y="194"/>
                  </a:lnTo>
                  <a:lnTo>
                    <a:pt x="74" y="171"/>
                  </a:lnTo>
                  <a:lnTo>
                    <a:pt x="72" y="148"/>
                  </a:lnTo>
                  <a:lnTo>
                    <a:pt x="74" y="125"/>
                  </a:lnTo>
                  <a:lnTo>
                    <a:pt x="74" y="115"/>
                  </a:lnTo>
                  <a:lnTo>
                    <a:pt x="76" y="105"/>
                  </a:lnTo>
                  <a:lnTo>
                    <a:pt x="79" y="95"/>
                  </a:lnTo>
                  <a:lnTo>
                    <a:pt x="83" y="86"/>
                  </a:lnTo>
                  <a:lnTo>
                    <a:pt x="89" y="77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101" y="64"/>
                  </a:lnTo>
                  <a:lnTo>
                    <a:pt x="103" y="60"/>
                  </a:lnTo>
                  <a:lnTo>
                    <a:pt x="113" y="54"/>
                  </a:lnTo>
                  <a:lnTo>
                    <a:pt x="123" y="51"/>
                  </a:lnTo>
                  <a:lnTo>
                    <a:pt x="135" y="49"/>
                  </a:lnTo>
                  <a:lnTo>
                    <a:pt x="145" y="47"/>
                  </a:lnTo>
                  <a:lnTo>
                    <a:pt x="156" y="44"/>
                  </a:lnTo>
                  <a:lnTo>
                    <a:pt x="166" y="39"/>
                  </a:lnTo>
                  <a:lnTo>
                    <a:pt x="170" y="36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9" y="29"/>
                  </a:lnTo>
                  <a:lnTo>
                    <a:pt x="186" y="29"/>
                  </a:lnTo>
                  <a:lnTo>
                    <a:pt x="199" y="31"/>
                  </a:lnTo>
                  <a:lnTo>
                    <a:pt x="204" y="31"/>
                  </a:lnTo>
                  <a:lnTo>
                    <a:pt x="209" y="30"/>
                  </a:lnTo>
                  <a:lnTo>
                    <a:pt x="211" y="29"/>
                  </a:lnTo>
                  <a:lnTo>
                    <a:pt x="213" y="27"/>
                  </a:lnTo>
                  <a:lnTo>
                    <a:pt x="213" y="19"/>
                  </a:lnTo>
                  <a:lnTo>
                    <a:pt x="207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377"/>
            <p:cNvSpPr>
              <a:spLocks/>
            </p:cNvSpPr>
            <p:nvPr/>
          </p:nvSpPr>
          <p:spPr bwMode="auto">
            <a:xfrm>
              <a:off x="6930" y="2569"/>
              <a:ext cx="110" cy="295"/>
            </a:xfrm>
            <a:custGeom>
              <a:avLst/>
              <a:gdLst>
                <a:gd name="T0" fmla="*/ 73 w 110"/>
                <a:gd name="T1" fmla="*/ 0 h 295"/>
                <a:gd name="T2" fmla="*/ 73 w 110"/>
                <a:gd name="T3" fmla="*/ 0 h 295"/>
                <a:gd name="T4" fmla="*/ 67 w 110"/>
                <a:gd name="T5" fmla="*/ 2 h 295"/>
                <a:gd name="T6" fmla="*/ 61 w 110"/>
                <a:gd name="T7" fmla="*/ 4 h 295"/>
                <a:gd name="T8" fmla="*/ 57 w 110"/>
                <a:gd name="T9" fmla="*/ 7 h 295"/>
                <a:gd name="T10" fmla="*/ 54 w 110"/>
                <a:gd name="T11" fmla="*/ 12 h 295"/>
                <a:gd name="T12" fmla="*/ 48 w 110"/>
                <a:gd name="T13" fmla="*/ 20 h 295"/>
                <a:gd name="T14" fmla="*/ 43 w 110"/>
                <a:gd name="T15" fmla="*/ 30 h 295"/>
                <a:gd name="T16" fmla="*/ 43 w 110"/>
                <a:gd name="T17" fmla="*/ 30 h 295"/>
                <a:gd name="T18" fmla="*/ 44 w 110"/>
                <a:gd name="T19" fmla="*/ 57 h 295"/>
                <a:gd name="T20" fmla="*/ 41 w 110"/>
                <a:gd name="T21" fmla="*/ 83 h 295"/>
                <a:gd name="T22" fmla="*/ 37 w 110"/>
                <a:gd name="T23" fmla="*/ 108 h 295"/>
                <a:gd name="T24" fmla="*/ 33 w 110"/>
                <a:gd name="T25" fmla="*/ 132 h 295"/>
                <a:gd name="T26" fmla="*/ 26 w 110"/>
                <a:gd name="T27" fmla="*/ 157 h 295"/>
                <a:gd name="T28" fmla="*/ 17 w 110"/>
                <a:gd name="T29" fmla="*/ 181 h 295"/>
                <a:gd name="T30" fmla="*/ 0 w 110"/>
                <a:gd name="T31" fmla="*/ 225 h 295"/>
                <a:gd name="T32" fmla="*/ 0 w 110"/>
                <a:gd name="T33" fmla="*/ 225 h 295"/>
                <a:gd name="T34" fmla="*/ 3 w 110"/>
                <a:gd name="T35" fmla="*/ 245 h 295"/>
                <a:gd name="T36" fmla="*/ 7 w 110"/>
                <a:gd name="T37" fmla="*/ 265 h 295"/>
                <a:gd name="T38" fmla="*/ 11 w 110"/>
                <a:gd name="T39" fmla="*/ 273 h 295"/>
                <a:gd name="T40" fmla="*/ 16 w 110"/>
                <a:gd name="T41" fmla="*/ 280 h 295"/>
                <a:gd name="T42" fmla="*/ 21 w 110"/>
                <a:gd name="T43" fmla="*/ 288 h 295"/>
                <a:gd name="T44" fmla="*/ 28 w 110"/>
                <a:gd name="T45" fmla="*/ 292 h 295"/>
                <a:gd name="T46" fmla="*/ 28 w 110"/>
                <a:gd name="T47" fmla="*/ 292 h 295"/>
                <a:gd name="T48" fmla="*/ 36 w 110"/>
                <a:gd name="T49" fmla="*/ 295 h 295"/>
                <a:gd name="T50" fmla="*/ 44 w 110"/>
                <a:gd name="T51" fmla="*/ 295 h 295"/>
                <a:gd name="T52" fmla="*/ 51 w 110"/>
                <a:gd name="T53" fmla="*/ 295 h 295"/>
                <a:gd name="T54" fmla="*/ 58 w 110"/>
                <a:gd name="T55" fmla="*/ 293 h 295"/>
                <a:gd name="T56" fmla="*/ 65 w 110"/>
                <a:gd name="T57" fmla="*/ 290 h 295"/>
                <a:gd name="T58" fmla="*/ 71 w 110"/>
                <a:gd name="T59" fmla="*/ 286 h 295"/>
                <a:gd name="T60" fmla="*/ 77 w 110"/>
                <a:gd name="T61" fmla="*/ 282 h 295"/>
                <a:gd name="T62" fmla="*/ 81 w 110"/>
                <a:gd name="T63" fmla="*/ 276 h 295"/>
                <a:gd name="T64" fmla="*/ 81 w 110"/>
                <a:gd name="T65" fmla="*/ 276 h 295"/>
                <a:gd name="T66" fmla="*/ 83 w 110"/>
                <a:gd name="T67" fmla="*/ 270 h 295"/>
                <a:gd name="T68" fmla="*/ 84 w 110"/>
                <a:gd name="T69" fmla="*/ 266 h 295"/>
                <a:gd name="T70" fmla="*/ 84 w 110"/>
                <a:gd name="T71" fmla="*/ 262 h 295"/>
                <a:gd name="T72" fmla="*/ 84 w 110"/>
                <a:gd name="T73" fmla="*/ 258 h 295"/>
                <a:gd name="T74" fmla="*/ 81 w 110"/>
                <a:gd name="T75" fmla="*/ 249 h 295"/>
                <a:gd name="T76" fmla="*/ 77 w 110"/>
                <a:gd name="T77" fmla="*/ 242 h 295"/>
                <a:gd name="T78" fmla="*/ 71 w 110"/>
                <a:gd name="T79" fmla="*/ 235 h 295"/>
                <a:gd name="T80" fmla="*/ 68 w 110"/>
                <a:gd name="T81" fmla="*/ 226 h 295"/>
                <a:gd name="T82" fmla="*/ 67 w 110"/>
                <a:gd name="T83" fmla="*/ 222 h 295"/>
                <a:gd name="T84" fmla="*/ 67 w 110"/>
                <a:gd name="T85" fmla="*/ 218 h 295"/>
                <a:gd name="T86" fmla="*/ 68 w 110"/>
                <a:gd name="T87" fmla="*/ 214 h 295"/>
                <a:gd name="T88" fmla="*/ 70 w 110"/>
                <a:gd name="T89" fmla="*/ 209 h 295"/>
                <a:gd name="T90" fmla="*/ 70 w 110"/>
                <a:gd name="T91" fmla="*/ 209 h 295"/>
                <a:gd name="T92" fmla="*/ 81 w 110"/>
                <a:gd name="T93" fmla="*/ 188 h 295"/>
                <a:gd name="T94" fmla="*/ 90 w 110"/>
                <a:gd name="T95" fmla="*/ 167 h 295"/>
                <a:gd name="T96" fmla="*/ 98 w 110"/>
                <a:gd name="T97" fmla="*/ 145 h 295"/>
                <a:gd name="T98" fmla="*/ 102 w 110"/>
                <a:gd name="T99" fmla="*/ 122 h 295"/>
                <a:gd name="T100" fmla="*/ 107 w 110"/>
                <a:gd name="T101" fmla="*/ 98 h 295"/>
                <a:gd name="T102" fmla="*/ 110 w 110"/>
                <a:gd name="T103" fmla="*/ 74 h 295"/>
                <a:gd name="T104" fmla="*/ 110 w 110"/>
                <a:gd name="T105" fmla="*/ 50 h 295"/>
                <a:gd name="T106" fmla="*/ 108 w 110"/>
                <a:gd name="T107" fmla="*/ 24 h 295"/>
                <a:gd name="T108" fmla="*/ 108 w 110"/>
                <a:gd name="T109" fmla="*/ 24 h 295"/>
                <a:gd name="T110" fmla="*/ 105 w 110"/>
                <a:gd name="T111" fmla="*/ 17 h 295"/>
                <a:gd name="T112" fmla="*/ 102 w 110"/>
                <a:gd name="T113" fmla="*/ 13 h 295"/>
                <a:gd name="T114" fmla="*/ 100 w 110"/>
                <a:gd name="T115" fmla="*/ 9 h 295"/>
                <a:gd name="T116" fmla="*/ 95 w 110"/>
                <a:gd name="T117" fmla="*/ 6 h 295"/>
                <a:gd name="T118" fmla="*/ 90 w 110"/>
                <a:gd name="T119" fmla="*/ 3 h 295"/>
                <a:gd name="T120" fmla="*/ 84 w 110"/>
                <a:gd name="T121" fmla="*/ 2 h 295"/>
                <a:gd name="T122" fmla="*/ 73 w 110"/>
                <a:gd name="T123" fmla="*/ 0 h 295"/>
                <a:gd name="T124" fmla="*/ 73 w 110"/>
                <a:gd name="T125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0" h="295">
                  <a:moveTo>
                    <a:pt x="73" y="0"/>
                  </a:moveTo>
                  <a:lnTo>
                    <a:pt x="73" y="0"/>
                  </a:lnTo>
                  <a:lnTo>
                    <a:pt x="67" y="2"/>
                  </a:lnTo>
                  <a:lnTo>
                    <a:pt x="61" y="4"/>
                  </a:lnTo>
                  <a:lnTo>
                    <a:pt x="57" y="7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4" y="57"/>
                  </a:lnTo>
                  <a:lnTo>
                    <a:pt x="41" y="83"/>
                  </a:lnTo>
                  <a:lnTo>
                    <a:pt x="37" y="108"/>
                  </a:lnTo>
                  <a:lnTo>
                    <a:pt x="33" y="132"/>
                  </a:lnTo>
                  <a:lnTo>
                    <a:pt x="26" y="157"/>
                  </a:lnTo>
                  <a:lnTo>
                    <a:pt x="17" y="181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3" y="245"/>
                  </a:lnTo>
                  <a:lnTo>
                    <a:pt x="7" y="265"/>
                  </a:lnTo>
                  <a:lnTo>
                    <a:pt x="11" y="273"/>
                  </a:lnTo>
                  <a:lnTo>
                    <a:pt x="16" y="280"/>
                  </a:lnTo>
                  <a:lnTo>
                    <a:pt x="21" y="288"/>
                  </a:lnTo>
                  <a:lnTo>
                    <a:pt x="28" y="292"/>
                  </a:lnTo>
                  <a:lnTo>
                    <a:pt x="28" y="292"/>
                  </a:lnTo>
                  <a:lnTo>
                    <a:pt x="36" y="295"/>
                  </a:lnTo>
                  <a:lnTo>
                    <a:pt x="44" y="295"/>
                  </a:lnTo>
                  <a:lnTo>
                    <a:pt x="51" y="295"/>
                  </a:lnTo>
                  <a:lnTo>
                    <a:pt x="58" y="293"/>
                  </a:lnTo>
                  <a:lnTo>
                    <a:pt x="65" y="290"/>
                  </a:lnTo>
                  <a:lnTo>
                    <a:pt x="71" y="286"/>
                  </a:lnTo>
                  <a:lnTo>
                    <a:pt x="77" y="282"/>
                  </a:lnTo>
                  <a:lnTo>
                    <a:pt x="81" y="276"/>
                  </a:lnTo>
                  <a:lnTo>
                    <a:pt x="81" y="276"/>
                  </a:lnTo>
                  <a:lnTo>
                    <a:pt x="83" y="270"/>
                  </a:lnTo>
                  <a:lnTo>
                    <a:pt x="84" y="266"/>
                  </a:lnTo>
                  <a:lnTo>
                    <a:pt x="84" y="262"/>
                  </a:lnTo>
                  <a:lnTo>
                    <a:pt x="84" y="258"/>
                  </a:lnTo>
                  <a:lnTo>
                    <a:pt x="81" y="249"/>
                  </a:lnTo>
                  <a:lnTo>
                    <a:pt x="77" y="242"/>
                  </a:lnTo>
                  <a:lnTo>
                    <a:pt x="71" y="235"/>
                  </a:lnTo>
                  <a:lnTo>
                    <a:pt x="68" y="226"/>
                  </a:lnTo>
                  <a:lnTo>
                    <a:pt x="67" y="222"/>
                  </a:lnTo>
                  <a:lnTo>
                    <a:pt x="67" y="218"/>
                  </a:lnTo>
                  <a:lnTo>
                    <a:pt x="68" y="214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81" y="188"/>
                  </a:lnTo>
                  <a:lnTo>
                    <a:pt x="90" y="167"/>
                  </a:lnTo>
                  <a:lnTo>
                    <a:pt x="98" y="145"/>
                  </a:lnTo>
                  <a:lnTo>
                    <a:pt x="102" y="122"/>
                  </a:lnTo>
                  <a:lnTo>
                    <a:pt x="107" y="98"/>
                  </a:lnTo>
                  <a:lnTo>
                    <a:pt x="110" y="74"/>
                  </a:lnTo>
                  <a:lnTo>
                    <a:pt x="110" y="50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5" y="17"/>
                  </a:lnTo>
                  <a:lnTo>
                    <a:pt x="102" y="13"/>
                  </a:lnTo>
                  <a:lnTo>
                    <a:pt x="100" y="9"/>
                  </a:lnTo>
                  <a:lnTo>
                    <a:pt x="95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3" y="0"/>
                  </a:lnTo>
                  <a:lnTo>
                    <a:pt x="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378"/>
            <p:cNvSpPr>
              <a:spLocks/>
            </p:cNvSpPr>
            <p:nvPr/>
          </p:nvSpPr>
          <p:spPr bwMode="auto">
            <a:xfrm>
              <a:off x="7382" y="2317"/>
              <a:ext cx="375" cy="548"/>
            </a:xfrm>
            <a:custGeom>
              <a:avLst/>
              <a:gdLst>
                <a:gd name="T0" fmla="*/ 306 w 375"/>
                <a:gd name="T1" fmla="*/ 3 h 548"/>
                <a:gd name="T2" fmla="*/ 296 w 375"/>
                <a:gd name="T3" fmla="*/ 17 h 548"/>
                <a:gd name="T4" fmla="*/ 292 w 375"/>
                <a:gd name="T5" fmla="*/ 63 h 548"/>
                <a:gd name="T6" fmla="*/ 303 w 375"/>
                <a:gd name="T7" fmla="*/ 214 h 548"/>
                <a:gd name="T8" fmla="*/ 305 w 375"/>
                <a:gd name="T9" fmla="*/ 323 h 548"/>
                <a:gd name="T10" fmla="*/ 295 w 375"/>
                <a:gd name="T11" fmla="*/ 329 h 548"/>
                <a:gd name="T12" fmla="*/ 284 w 375"/>
                <a:gd name="T13" fmla="*/ 325 h 548"/>
                <a:gd name="T14" fmla="*/ 239 w 375"/>
                <a:gd name="T15" fmla="*/ 278 h 548"/>
                <a:gd name="T16" fmla="*/ 235 w 375"/>
                <a:gd name="T17" fmla="*/ 268 h 548"/>
                <a:gd name="T18" fmla="*/ 215 w 375"/>
                <a:gd name="T19" fmla="*/ 258 h 548"/>
                <a:gd name="T20" fmla="*/ 184 w 375"/>
                <a:gd name="T21" fmla="*/ 255 h 548"/>
                <a:gd name="T22" fmla="*/ 167 w 375"/>
                <a:gd name="T23" fmla="*/ 264 h 548"/>
                <a:gd name="T24" fmla="*/ 130 w 375"/>
                <a:gd name="T25" fmla="*/ 268 h 548"/>
                <a:gd name="T26" fmla="*/ 87 w 375"/>
                <a:gd name="T27" fmla="*/ 279 h 548"/>
                <a:gd name="T28" fmla="*/ 27 w 375"/>
                <a:gd name="T29" fmla="*/ 309 h 548"/>
                <a:gd name="T30" fmla="*/ 8 w 375"/>
                <a:gd name="T31" fmla="*/ 363 h 548"/>
                <a:gd name="T32" fmla="*/ 0 w 375"/>
                <a:gd name="T33" fmla="*/ 409 h 548"/>
                <a:gd name="T34" fmla="*/ 6 w 375"/>
                <a:gd name="T35" fmla="*/ 441 h 548"/>
                <a:gd name="T36" fmla="*/ 25 w 375"/>
                <a:gd name="T37" fmla="*/ 480 h 548"/>
                <a:gd name="T38" fmla="*/ 29 w 375"/>
                <a:gd name="T39" fmla="*/ 495 h 548"/>
                <a:gd name="T40" fmla="*/ 40 w 375"/>
                <a:gd name="T41" fmla="*/ 505 h 548"/>
                <a:gd name="T42" fmla="*/ 60 w 375"/>
                <a:gd name="T43" fmla="*/ 508 h 548"/>
                <a:gd name="T44" fmla="*/ 133 w 375"/>
                <a:gd name="T45" fmla="*/ 541 h 548"/>
                <a:gd name="T46" fmla="*/ 192 w 375"/>
                <a:gd name="T47" fmla="*/ 548 h 548"/>
                <a:gd name="T48" fmla="*/ 222 w 375"/>
                <a:gd name="T49" fmla="*/ 544 h 548"/>
                <a:gd name="T50" fmla="*/ 241 w 375"/>
                <a:gd name="T51" fmla="*/ 532 h 548"/>
                <a:gd name="T52" fmla="*/ 261 w 375"/>
                <a:gd name="T53" fmla="*/ 508 h 548"/>
                <a:gd name="T54" fmla="*/ 278 w 375"/>
                <a:gd name="T55" fmla="*/ 508 h 548"/>
                <a:gd name="T56" fmla="*/ 301 w 375"/>
                <a:gd name="T57" fmla="*/ 522 h 548"/>
                <a:gd name="T58" fmla="*/ 325 w 375"/>
                <a:gd name="T59" fmla="*/ 544 h 548"/>
                <a:gd name="T60" fmla="*/ 336 w 375"/>
                <a:gd name="T61" fmla="*/ 547 h 548"/>
                <a:gd name="T62" fmla="*/ 363 w 375"/>
                <a:gd name="T63" fmla="*/ 538 h 548"/>
                <a:gd name="T64" fmla="*/ 375 w 375"/>
                <a:gd name="T65" fmla="*/ 525 h 548"/>
                <a:gd name="T66" fmla="*/ 370 w 375"/>
                <a:gd name="T67" fmla="*/ 504 h 548"/>
                <a:gd name="T68" fmla="*/ 356 w 375"/>
                <a:gd name="T69" fmla="*/ 464 h 548"/>
                <a:gd name="T70" fmla="*/ 355 w 375"/>
                <a:gd name="T71" fmla="*/ 443 h 548"/>
                <a:gd name="T72" fmla="*/ 365 w 375"/>
                <a:gd name="T73" fmla="*/ 325 h 548"/>
                <a:gd name="T74" fmla="*/ 363 w 375"/>
                <a:gd name="T75" fmla="*/ 204 h 548"/>
                <a:gd name="T76" fmla="*/ 356 w 375"/>
                <a:gd name="T77" fmla="*/ 126 h 548"/>
                <a:gd name="T78" fmla="*/ 345 w 375"/>
                <a:gd name="T79" fmla="*/ 42 h 548"/>
                <a:gd name="T80" fmla="*/ 336 w 375"/>
                <a:gd name="T81" fmla="*/ 10 h 548"/>
                <a:gd name="T82" fmla="*/ 318 w 375"/>
                <a:gd name="T83" fmla="*/ 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548">
                  <a:moveTo>
                    <a:pt x="311" y="0"/>
                  </a:moveTo>
                  <a:lnTo>
                    <a:pt x="311" y="0"/>
                  </a:lnTo>
                  <a:lnTo>
                    <a:pt x="306" y="3"/>
                  </a:lnTo>
                  <a:lnTo>
                    <a:pt x="303" y="5"/>
                  </a:lnTo>
                  <a:lnTo>
                    <a:pt x="299" y="10"/>
                  </a:lnTo>
                  <a:lnTo>
                    <a:pt x="296" y="17"/>
                  </a:lnTo>
                  <a:lnTo>
                    <a:pt x="292" y="23"/>
                  </a:lnTo>
                  <a:lnTo>
                    <a:pt x="292" y="23"/>
                  </a:lnTo>
                  <a:lnTo>
                    <a:pt x="292" y="63"/>
                  </a:lnTo>
                  <a:lnTo>
                    <a:pt x="293" y="101"/>
                  </a:lnTo>
                  <a:lnTo>
                    <a:pt x="301" y="177"/>
                  </a:lnTo>
                  <a:lnTo>
                    <a:pt x="303" y="214"/>
                  </a:lnTo>
                  <a:lnTo>
                    <a:pt x="306" y="251"/>
                  </a:lnTo>
                  <a:lnTo>
                    <a:pt x="306" y="288"/>
                  </a:lnTo>
                  <a:lnTo>
                    <a:pt x="305" y="323"/>
                  </a:lnTo>
                  <a:lnTo>
                    <a:pt x="305" y="323"/>
                  </a:lnTo>
                  <a:lnTo>
                    <a:pt x="299" y="329"/>
                  </a:lnTo>
                  <a:lnTo>
                    <a:pt x="295" y="329"/>
                  </a:lnTo>
                  <a:lnTo>
                    <a:pt x="292" y="330"/>
                  </a:lnTo>
                  <a:lnTo>
                    <a:pt x="292" y="330"/>
                  </a:lnTo>
                  <a:lnTo>
                    <a:pt x="284" y="325"/>
                  </a:lnTo>
                  <a:lnTo>
                    <a:pt x="276" y="320"/>
                  </a:lnTo>
                  <a:lnTo>
                    <a:pt x="264" y="308"/>
                  </a:lnTo>
                  <a:lnTo>
                    <a:pt x="239" y="278"/>
                  </a:lnTo>
                  <a:lnTo>
                    <a:pt x="239" y="273"/>
                  </a:lnTo>
                  <a:lnTo>
                    <a:pt x="239" y="273"/>
                  </a:lnTo>
                  <a:lnTo>
                    <a:pt x="235" y="268"/>
                  </a:lnTo>
                  <a:lnTo>
                    <a:pt x="228" y="264"/>
                  </a:lnTo>
                  <a:lnTo>
                    <a:pt x="222" y="261"/>
                  </a:lnTo>
                  <a:lnTo>
                    <a:pt x="215" y="258"/>
                  </a:lnTo>
                  <a:lnTo>
                    <a:pt x="208" y="255"/>
                  </a:lnTo>
                  <a:lnTo>
                    <a:pt x="200" y="255"/>
                  </a:lnTo>
                  <a:lnTo>
                    <a:pt x="184" y="255"/>
                  </a:lnTo>
                  <a:lnTo>
                    <a:pt x="184" y="255"/>
                  </a:lnTo>
                  <a:lnTo>
                    <a:pt x="175" y="261"/>
                  </a:lnTo>
                  <a:lnTo>
                    <a:pt x="167" y="264"/>
                  </a:lnTo>
                  <a:lnTo>
                    <a:pt x="158" y="266"/>
                  </a:lnTo>
                  <a:lnTo>
                    <a:pt x="150" y="266"/>
                  </a:lnTo>
                  <a:lnTo>
                    <a:pt x="13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87" y="279"/>
                  </a:lnTo>
                  <a:lnTo>
                    <a:pt x="63" y="291"/>
                  </a:lnTo>
                  <a:lnTo>
                    <a:pt x="39" y="302"/>
                  </a:lnTo>
                  <a:lnTo>
                    <a:pt x="27" y="309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8" y="363"/>
                  </a:lnTo>
                  <a:lnTo>
                    <a:pt x="3" y="386"/>
                  </a:lnTo>
                  <a:lnTo>
                    <a:pt x="0" y="409"/>
                  </a:lnTo>
                  <a:lnTo>
                    <a:pt x="0" y="409"/>
                  </a:lnTo>
                  <a:lnTo>
                    <a:pt x="0" y="421"/>
                  </a:lnTo>
                  <a:lnTo>
                    <a:pt x="2" y="431"/>
                  </a:lnTo>
                  <a:lnTo>
                    <a:pt x="6" y="441"/>
                  </a:lnTo>
                  <a:lnTo>
                    <a:pt x="10" y="451"/>
                  </a:lnTo>
                  <a:lnTo>
                    <a:pt x="20" y="470"/>
                  </a:lnTo>
                  <a:lnTo>
                    <a:pt x="25" y="480"/>
                  </a:lnTo>
                  <a:lnTo>
                    <a:pt x="27" y="490"/>
                  </a:lnTo>
                  <a:lnTo>
                    <a:pt x="27" y="490"/>
                  </a:lnTo>
                  <a:lnTo>
                    <a:pt x="29" y="495"/>
                  </a:lnTo>
                  <a:lnTo>
                    <a:pt x="32" y="500"/>
                  </a:lnTo>
                  <a:lnTo>
                    <a:pt x="36" y="503"/>
                  </a:lnTo>
                  <a:lnTo>
                    <a:pt x="40" y="505"/>
                  </a:lnTo>
                  <a:lnTo>
                    <a:pt x="50" y="508"/>
                  </a:lnTo>
                  <a:lnTo>
                    <a:pt x="60" y="508"/>
                  </a:lnTo>
                  <a:lnTo>
                    <a:pt x="60" y="508"/>
                  </a:lnTo>
                  <a:lnTo>
                    <a:pt x="96" y="527"/>
                  </a:lnTo>
                  <a:lnTo>
                    <a:pt x="114" y="534"/>
                  </a:lnTo>
                  <a:lnTo>
                    <a:pt x="133" y="541"/>
                  </a:lnTo>
                  <a:lnTo>
                    <a:pt x="151" y="545"/>
                  </a:lnTo>
                  <a:lnTo>
                    <a:pt x="171" y="548"/>
                  </a:lnTo>
                  <a:lnTo>
                    <a:pt x="192" y="548"/>
                  </a:lnTo>
                  <a:lnTo>
                    <a:pt x="215" y="547"/>
                  </a:lnTo>
                  <a:lnTo>
                    <a:pt x="215" y="547"/>
                  </a:lnTo>
                  <a:lnTo>
                    <a:pt x="222" y="544"/>
                  </a:lnTo>
                  <a:lnTo>
                    <a:pt x="229" y="541"/>
                  </a:lnTo>
                  <a:lnTo>
                    <a:pt x="235" y="537"/>
                  </a:lnTo>
                  <a:lnTo>
                    <a:pt x="241" y="532"/>
                  </a:lnTo>
                  <a:lnTo>
                    <a:pt x="249" y="521"/>
                  </a:lnTo>
                  <a:lnTo>
                    <a:pt x="261" y="508"/>
                  </a:lnTo>
                  <a:lnTo>
                    <a:pt x="261" y="508"/>
                  </a:lnTo>
                  <a:lnTo>
                    <a:pt x="266" y="507"/>
                  </a:lnTo>
                  <a:lnTo>
                    <a:pt x="274" y="507"/>
                  </a:lnTo>
                  <a:lnTo>
                    <a:pt x="278" y="508"/>
                  </a:lnTo>
                  <a:lnTo>
                    <a:pt x="284" y="510"/>
                  </a:lnTo>
                  <a:lnTo>
                    <a:pt x="292" y="515"/>
                  </a:lnTo>
                  <a:lnTo>
                    <a:pt x="301" y="522"/>
                  </a:lnTo>
                  <a:lnTo>
                    <a:pt x="308" y="531"/>
                  </a:lnTo>
                  <a:lnTo>
                    <a:pt x="316" y="538"/>
                  </a:lnTo>
                  <a:lnTo>
                    <a:pt x="325" y="544"/>
                  </a:lnTo>
                  <a:lnTo>
                    <a:pt x="330" y="545"/>
                  </a:lnTo>
                  <a:lnTo>
                    <a:pt x="336" y="547"/>
                  </a:lnTo>
                  <a:lnTo>
                    <a:pt x="336" y="547"/>
                  </a:lnTo>
                  <a:lnTo>
                    <a:pt x="348" y="545"/>
                  </a:lnTo>
                  <a:lnTo>
                    <a:pt x="359" y="541"/>
                  </a:lnTo>
                  <a:lnTo>
                    <a:pt x="363" y="538"/>
                  </a:lnTo>
                  <a:lnTo>
                    <a:pt x="369" y="535"/>
                  </a:lnTo>
                  <a:lnTo>
                    <a:pt x="372" y="531"/>
                  </a:lnTo>
                  <a:lnTo>
                    <a:pt x="375" y="525"/>
                  </a:lnTo>
                  <a:lnTo>
                    <a:pt x="375" y="525"/>
                  </a:lnTo>
                  <a:lnTo>
                    <a:pt x="373" y="515"/>
                  </a:lnTo>
                  <a:lnTo>
                    <a:pt x="370" y="504"/>
                  </a:lnTo>
                  <a:lnTo>
                    <a:pt x="363" y="484"/>
                  </a:lnTo>
                  <a:lnTo>
                    <a:pt x="359" y="474"/>
                  </a:lnTo>
                  <a:lnTo>
                    <a:pt x="356" y="464"/>
                  </a:lnTo>
                  <a:lnTo>
                    <a:pt x="355" y="454"/>
                  </a:lnTo>
                  <a:lnTo>
                    <a:pt x="355" y="443"/>
                  </a:lnTo>
                  <a:lnTo>
                    <a:pt x="355" y="443"/>
                  </a:lnTo>
                  <a:lnTo>
                    <a:pt x="359" y="404"/>
                  </a:lnTo>
                  <a:lnTo>
                    <a:pt x="363" y="366"/>
                  </a:lnTo>
                  <a:lnTo>
                    <a:pt x="365" y="325"/>
                  </a:lnTo>
                  <a:lnTo>
                    <a:pt x="366" y="285"/>
                  </a:lnTo>
                  <a:lnTo>
                    <a:pt x="365" y="244"/>
                  </a:lnTo>
                  <a:lnTo>
                    <a:pt x="363" y="204"/>
                  </a:lnTo>
                  <a:lnTo>
                    <a:pt x="360" y="164"/>
                  </a:lnTo>
                  <a:lnTo>
                    <a:pt x="356" y="126"/>
                  </a:lnTo>
                  <a:lnTo>
                    <a:pt x="356" y="126"/>
                  </a:lnTo>
                  <a:lnTo>
                    <a:pt x="352" y="97"/>
                  </a:lnTo>
                  <a:lnTo>
                    <a:pt x="348" y="70"/>
                  </a:lnTo>
                  <a:lnTo>
                    <a:pt x="345" y="42"/>
                  </a:lnTo>
                  <a:lnTo>
                    <a:pt x="339" y="13"/>
                  </a:lnTo>
                  <a:lnTo>
                    <a:pt x="339" y="13"/>
                  </a:lnTo>
                  <a:lnTo>
                    <a:pt x="336" y="10"/>
                  </a:lnTo>
                  <a:lnTo>
                    <a:pt x="333" y="7"/>
                  </a:lnTo>
                  <a:lnTo>
                    <a:pt x="326" y="5"/>
                  </a:lnTo>
                  <a:lnTo>
                    <a:pt x="318" y="3"/>
                  </a:lnTo>
                  <a:lnTo>
                    <a:pt x="311" y="0"/>
                  </a:lnTo>
                  <a:lnTo>
                    <a:pt x="3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379"/>
            <p:cNvSpPr>
              <a:spLocks/>
            </p:cNvSpPr>
            <p:nvPr/>
          </p:nvSpPr>
          <p:spPr bwMode="auto">
            <a:xfrm>
              <a:off x="7461" y="2618"/>
              <a:ext cx="166" cy="203"/>
            </a:xfrm>
            <a:custGeom>
              <a:avLst/>
              <a:gdLst>
                <a:gd name="T0" fmla="*/ 143 w 166"/>
                <a:gd name="T1" fmla="*/ 25 h 203"/>
                <a:gd name="T2" fmla="*/ 143 w 166"/>
                <a:gd name="T3" fmla="*/ 25 h 203"/>
                <a:gd name="T4" fmla="*/ 146 w 166"/>
                <a:gd name="T5" fmla="*/ 41 h 203"/>
                <a:gd name="T6" fmla="*/ 150 w 166"/>
                <a:gd name="T7" fmla="*/ 55 h 203"/>
                <a:gd name="T8" fmla="*/ 153 w 166"/>
                <a:gd name="T9" fmla="*/ 62 h 203"/>
                <a:gd name="T10" fmla="*/ 156 w 166"/>
                <a:gd name="T11" fmla="*/ 69 h 203"/>
                <a:gd name="T12" fmla="*/ 160 w 166"/>
                <a:gd name="T13" fmla="*/ 75 h 203"/>
                <a:gd name="T14" fmla="*/ 166 w 166"/>
                <a:gd name="T15" fmla="*/ 81 h 203"/>
                <a:gd name="T16" fmla="*/ 166 w 166"/>
                <a:gd name="T17" fmla="*/ 81 h 203"/>
                <a:gd name="T18" fmla="*/ 165 w 166"/>
                <a:gd name="T19" fmla="*/ 102 h 203"/>
                <a:gd name="T20" fmla="*/ 162 w 166"/>
                <a:gd name="T21" fmla="*/ 125 h 203"/>
                <a:gd name="T22" fmla="*/ 153 w 166"/>
                <a:gd name="T23" fmla="*/ 169 h 203"/>
                <a:gd name="T24" fmla="*/ 153 w 166"/>
                <a:gd name="T25" fmla="*/ 169 h 203"/>
                <a:gd name="T26" fmla="*/ 146 w 166"/>
                <a:gd name="T27" fmla="*/ 180 h 203"/>
                <a:gd name="T28" fmla="*/ 136 w 166"/>
                <a:gd name="T29" fmla="*/ 189 h 203"/>
                <a:gd name="T30" fmla="*/ 126 w 166"/>
                <a:gd name="T31" fmla="*/ 197 h 203"/>
                <a:gd name="T32" fmla="*/ 113 w 166"/>
                <a:gd name="T33" fmla="*/ 202 h 203"/>
                <a:gd name="T34" fmla="*/ 113 w 166"/>
                <a:gd name="T35" fmla="*/ 202 h 203"/>
                <a:gd name="T36" fmla="*/ 99 w 166"/>
                <a:gd name="T37" fmla="*/ 203 h 203"/>
                <a:gd name="T38" fmla="*/ 85 w 166"/>
                <a:gd name="T39" fmla="*/ 202 h 203"/>
                <a:gd name="T40" fmla="*/ 71 w 166"/>
                <a:gd name="T41" fmla="*/ 199 h 203"/>
                <a:gd name="T42" fmla="*/ 58 w 166"/>
                <a:gd name="T43" fmla="*/ 193 h 203"/>
                <a:gd name="T44" fmla="*/ 47 w 166"/>
                <a:gd name="T45" fmla="*/ 187 h 203"/>
                <a:gd name="T46" fmla="*/ 35 w 166"/>
                <a:gd name="T47" fmla="*/ 179 h 203"/>
                <a:gd name="T48" fmla="*/ 25 w 166"/>
                <a:gd name="T49" fmla="*/ 169 h 203"/>
                <a:gd name="T50" fmla="*/ 18 w 166"/>
                <a:gd name="T51" fmla="*/ 157 h 203"/>
                <a:gd name="T52" fmla="*/ 18 w 166"/>
                <a:gd name="T53" fmla="*/ 157 h 203"/>
                <a:gd name="T54" fmla="*/ 11 w 166"/>
                <a:gd name="T55" fmla="*/ 146 h 203"/>
                <a:gd name="T56" fmla="*/ 5 w 166"/>
                <a:gd name="T57" fmla="*/ 132 h 203"/>
                <a:gd name="T58" fmla="*/ 1 w 166"/>
                <a:gd name="T59" fmla="*/ 116 h 203"/>
                <a:gd name="T60" fmla="*/ 0 w 166"/>
                <a:gd name="T61" fmla="*/ 102 h 203"/>
                <a:gd name="T62" fmla="*/ 0 w 166"/>
                <a:gd name="T63" fmla="*/ 86 h 203"/>
                <a:gd name="T64" fmla="*/ 1 w 166"/>
                <a:gd name="T65" fmla="*/ 71 h 203"/>
                <a:gd name="T66" fmla="*/ 5 w 166"/>
                <a:gd name="T67" fmla="*/ 56 h 203"/>
                <a:gd name="T68" fmla="*/ 12 w 166"/>
                <a:gd name="T69" fmla="*/ 44 h 203"/>
                <a:gd name="T70" fmla="*/ 12 w 166"/>
                <a:gd name="T71" fmla="*/ 44 h 203"/>
                <a:gd name="T72" fmla="*/ 20 w 166"/>
                <a:gd name="T73" fmla="*/ 32 h 203"/>
                <a:gd name="T74" fmla="*/ 30 w 166"/>
                <a:gd name="T75" fmla="*/ 24 h 203"/>
                <a:gd name="T76" fmla="*/ 41 w 166"/>
                <a:gd name="T77" fmla="*/ 17 h 203"/>
                <a:gd name="T78" fmla="*/ 54 w 166"/>
                <a:gd name="T79" fmla="*/ 9 h 203"/>
                <a:gd name="T80" fmla="*/ 68 w 166"/>
                <a:gd name="T81" fmla="*/ 5 h 203"/>
                <a:gd name="T82" fmla="*/ 82 w 166"/>
                <a:gd name="T83" fmla="*/ 2 h 203"/>
                <a:gd name="T84" fmla="*/ 96 w 166"/>
                <a:gd name="T85" fmla="*/ 0 h 203"/>
                <a:gd name="T86" fmla="*/ 109 w 166"/>
                <a:gd name="T87" fmla="*/ 0 h 203"/>
                <a:gd name="T88" fmla="*/ 109 w 166"/>
                <a:gd name="T89" fmla="*/ 0 h 203"/>
                <a:gd name="T90" fmla="*/ 121 w 166"/>
                <a:gd name="T91" fmla="*/ 4 h 203"/>
                <a:gd name="T92" fmla="*/ 129 w 166"/>
                <a:gd name="T93" fmla="*/ 9 h 203"/>
                <a:gd name="T94" fmla="*/ 138 w 166"/>
                <a:gd name="T95" fmla="*/ 17 h 203"/>
                <a:gd name="T96" fmla="*/ 143 w 166"/>
                <a:gd name="T97" fmla="*/ 25 h 203"/>
                <a:gd name="T98" fmla="*/ 143 w 166"/>
                <a:gd name="T99" fmla="*/ 2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6" h="203">
                  <a:moveTo>
                    <a:pt x="143" y="25"/>
                  </a:moveTo>
                  <a:lnTo>
                    <a:pt x="143" y="25"/>
                  </a:lnTo>
                  <a:lnTo>
                    <a:pt x="146" y="41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6" y="69"/>
                  </a:lnTo>
                  <a:lnTo>
                    <a:pt x="160" y="75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5" y="102"/>
                  </a:lnTo>
                  <a:lnTo>
                    <a:pt x="162" y="125"/>
                  </a:lnTo>
                  <a:lnTo>
                    <a:pt x="153" y="169"/>
                  </a:lnTo>
                  <a:lnTo>
                    <a:pt x="153" y="169"/>
                  </a:lnTo>
                  <a:lnTo>
                    <a:pt x="146" y="180"/>
                  </a:lnTo>
                  <a:lnTo>
                    <a:pt x="136" y="189"/>
                  </a:lnTo>
                  <a:lnTo>
                    <a:pt x="126" y="197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99" y="203"/>
                  </a:lnTo>
                  <a:lnTo>
                    <a:pt x="85" y="202"/>
                  </a:lnTo>
                  <a:lnTo>
                    <a:pt x="71" y="199"/>
                  </a:lnTo>
                  <a:lnTo>
                    <a:pt x="58" y="193"/>
                  </a:lnTo>
                  <a:lnTo>
                    <a:pt x="47" y="187"/>
                  </a:lnTo>
                  <a:lnTo>
                    <a:pt x="35" y="179"/>
                  </a:lnTo>
                  <a:lnTo>
                    <a:pt x="25" y="169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1" y="146"/>
                  </a:lnTo>
                  <a:lnTo>
                    <a:pt x="5" y="132"/>
                  </a:lnTo>
                  <a:lnTo>
                    <a:pt x="1" y="116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1" y="71"/>
                  </a:lnTo>
                  <a:lnTo>
                    <a:pt x="5" y="5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20" y="32"/>
                  </a:lnTo>
                  <a:lnTo>
                    <a:pt x="30" y="24"/>
                  </a:lnTo>
                  <a:lnTo>
                    <a:pt x="41" y="17"/>
                  </a:lnTo>
                  <a:lnTo>
                    <a:pt x="54" y="9"/>
                  </a:lnTo>
                  <a:lnTo>
                    <a:pt x="68" y="5"/>
                  </a:lnTo>
                  <a:lnTo>
                    <a:pt x="82" y="2"/>
                  </a:lnTo>
                  <a:lnTo>
                    <a:pt x="9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21" y="4"/>
                  </a:lnTo>
                  <a:lnTo>
                    <a:pt x="129" y="9"/>
                  </a:lnTo>
                  <a:lnTo>
                    <a:pt x="138" y="17"/>
                  </a:lnTo>
                  <a:lnTo>
                    <a:pt x="143" y="25"/>
                  </a:lnTo>
                  <a:lnTo>
                    <a:pt x="143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380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381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382"/>
            <p:cNvSpPr>
              <a:spLocks noEditPoints="1"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  <a:gd name="T18" fmla="*/ 200 w 535"/>
                <a:gd name="T19" fmla="*/ 322 h 541"/>
                <a:gd name="T20" fmla="*/ 299 w 535"/>
                <a:gd name="T21" fmla="*/ 322 h 541"/>
                <a:gd name="T22" fmla="*/ 252 w 535"/>
                <a:gd name="T23" fmla="*/ 137 h 541"/>
                <a:gd name="T24" fmla="*/ 200 w 535"/>
                <a:gd name="T25" fmla="*/ 32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  <a:close/>
                  <a:moveTo>
                    <a:pt x="200" y="322"/>
                  </a:moveTo>
                  <a:lnTo>
                    <a:pt x="299" y="322"/>
                  </a:lnTo>
                  <a:lnTo>
                    <a:pt x="252" y="137"/>
                  </a:lnTo>
                  <a:lnTo>
                    <a:pt x="200" y="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383"/>
            <p:cNvSpPr>
              <a:spLocks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384"/>
            <p:cNvSpPr>
              <a:spLocks/>
            </p:cNvSpPr>
            <p:nvPr/>
          </p:nvSpPr>
          <p:spPr bwMode="auto">
            <a:xfrm>
              <a:off x="6986" y="1551"/>
              <a:ext cx="99" cy="185"/>
            </a:xfrm>
            <a:custGeom>
              <a:avLst/>
              <a:gdLst>
                <a:gd name="T0" fmla="*/ 0 w 99"/>
                <a:gd name="T1" fmla="*/ 185 h 185"/>
                <a:gd name="T2" fmla="*/ 99 w 99"/>
                <a:gd name="T3" fmla="*/ 185 h 185"/>
                <a:gd name="T4" fmla="*/ 52 w 99"/>
                <a:gd name="T5" fmla="*/ 0 h 185"/>
                <a:gd name="T6" fmla="*/ 0 w 99"/>
                <a:gd name="T7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85">
                  <a:moveTo>
                    <a:pt x="0" y="185"/>
                  </a:moveTo>
                  <a:lnTo>
                    <a:pt x="99" y="185"/>
                  </a:lnTo>
                  <a:lnTo>
                    <a:pt x="52" y="0"/>
                  </a:lnTo>
                  <a:lnTo>
                    <a:pt x="0" y="18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 385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386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 387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  <a:gd name="T52" fmla="*/ 166 w 166"/>
                <a:gd name="T53" fmla="*/ 5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  <a:lnTo>
                    <a:pt x="166" y="54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 388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303" y="6330832"/>
            <a:ext cx="571500" cy="365125"/>
          </a:xfrm>
        </p:spPr>
        <p:txBody>
          <a:bodyPr/>
          <a:lstStyle/>
          <a:p>
            <a:fld id="{AEE12407-35E7-4E87-8757-FD495B6490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702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63" y="273572"/>
            <a:ext cx="4010908" cy="1161958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481" y="273571"/>
            <a:ext cx="6814561" cy="5852986"/>
          </a:xfrm>
        </p:spPr>
        <p:txBody>
          <a:bodyPr/>
          <a:lstStyle>
            <a:lvl1pPr>
              <a:defRPr sz="2800"/>
            </a:lvl1pPr>
            <a:lvl2pPr>
              <a:defRPr sz="25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963" y="1435534"/>
            <a:ext cx="4010908" cy="4691027"/>
          </a:xfrm>
        </p:spPr>
        <p:txBody>
          <a:bodyPr/>
          <a:lstStyle>
            <a:lvl1pPr marL="0" indent="0">
              <a:buNone/>
              <a:defRPr sz="1200"/>
            </a:lvl1pPr>
            <a:lvl2pPr marL="400736" indent="0">
              <a:buNone/>
              <a:defRPr sz="1100"/>
            </a:lvl2pPr>
            <a:lvl3pPr marL="801472" indent="0">
              <a:buNone/>
              <a:defRPr sz="900"/>
            </a:lvl3pPr>
            <a:lvl4pPr marL="1202207" indent="0">
              <a:buNone/>
              <a:defRPr sz="800"/>
            </a:lvl4pPr>
            <a:lvl5pPr marL="1602943" indent="0">
              <a:buNone/>
              <a:defRPr sz="800"/>
            </a:lvl5pPr>
            <a:lvl6pPr marL="2003679" indent="0">
              <a:buNone/>
              <a:defRPr sz="800"/>
            </a:lvl6pPr>
            <a:lvl7pPr marL="2404415" indent="0">
              <a:buNone/>
              <a:defRPr sz="800"/>
            </a:lvl7pPr>
            <a:lvl8pPr marL="2805151" indent="0">
              <a:buNone/>
              <a:defRPr sz="800"/>
            </a:lvl8pPr>
            <a:lvl9pPr marL="3205886" indent="0">
              <a:buNone/>
              <a:defRPr sz="8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00247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171" y="4800456"/>
            <a:ext cx="7315924" cy="567300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171" y="613376"/>
            <a:ext cx="7315924" cy="4113648"/>
          </a:xfrm>
        </p:spPr>
        <p:txBody>
          <a:bodyPr/>
          <a:lstStyle>
            <a:lvl1pPr marL="0" indent="0">
              <a:buNone/>
              <a:defRPr sz="2800"/>
            </a:lvl1pPr>
            <a:lvl2pPr marL="400736" indent="0">
              <a:buNone/>
              <a:defRPr sz="2500"/>
            </a:lvl2pPr>
            <a:lvl3pPr marL="801472" indent="0">
              <a:buNone/>
              <a:defRPr sz="2100"/>
            </a:lvl3pPr>
            <a:lvl4pPr marL="1202207" indent="0">
              <a:buNone/>
              <a:defRPr sz="1800"/>
            </a:lvl4pPr>
            <a:lvl5pPr marL="1602943" indent="0">
              <a:buNone/>
              <a:defRPr sz="1800"/>
            </a:lvl5pPr>
            <a:lvl6pPr marL="2003679" indent="0">
              <a:buNone/>
              <a:defRPr sz="1800"/>
            </a:lvl6pPr>
            <a:lvl7pPr marL="2404415" indent="0">
              <a:buNone/>
              <a:defRPr sz="1800"/>
            </a:lvl7pPr>
            <a:lvl8pPr marL="2805151" indent="0">
              <a:buNone/>
              <a:defRPr sz="1800"/>
            </a:lvl8pPr>
            <a:lvl9pPr marL="3205886" indent="0">
              <a:buNone/>
              <a:defRPr sz="1800"/>
            </a:lvl9pPr>
          </a:lstStyle>
          <a:p>
            <a:r>
              <a:rPr lang="en-GB" smtClean="0"/>
              <a:t>Drag picture to placeholder or click icon to add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171" y="5367757"/>
            <a:ext cx="7315924" cy="804876"/>
          </a:xfrm>
        </p:spPr>
        <p:txBody>
          <a:bodyPr/>
          <a:lstStyle>
            <a:lvl1pPr marL="0" indent="0">
              <a:buNone/>
              <a:defRPr sz="1200"/>
            </a:lvl1pPr>
            <a:lvl2pPr marL="400736" indent="0">
              <a:buNone/>
              <a:defRPr sz="1100"/>
            </a:lvl2pPr>
            <a:lvl3pPr marL="801472" indent="0">
              <a:buNone/>
              <a:defRPr sz="900"/>
            </a:lvl3pPr>
            <a:lvl4pPr marL="1202207" indent="0">
              <a:buNone/>
              <a:defRPr sz="800"/>
            </a:lvl4pPr>
            <a:lvl5pPr marL="1602943" indent="0">
              <a:buNone/>
              <a:defRPr sz="800"/>
            </a:lvl5pPr>
            <a:lvl6pPr marL="2003679" indent="0">
              <a:buNone/>
              <a:defRPr sz="800"/>
            </a:lvl6pPr>
            <a:lvl7pPr marL="2404415" indent="0">
              <a:buNone/>
              <a:defRPr sz="800"/>
            </a:lvl7pPr>
            <a:lvl8pPr marL="2805151" indent="0">
              <a:buNone/>
              <a:defRPr sz="800"/>
            </a:lvl8pPr>
            <a:lvl9pPr marL="3205886" indent="0">
              <a:buNone/>
              <a:defRPr sz="8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8311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31184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44000" y="1"/>
            <a:ext cx="3048000" cy="5992650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" y="1"/>
            <a:ext cx="8970243" cy="5992650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92983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8B08173D-1DE7-4407-85C6-BE02BD3644E9}" type="datetimeFigureOut">
              <a:rPr lang="en-GB" smtClean="0">
                <a:solidFill>
                  <a:srgbClr val="000000"/>
                </a:solidFill>
              </a:rPr>
              <a:pPr/>
              <a:t>13/02/2018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5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A1B749CB-73B3-488D-8889-C970BC9473B3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2776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-38100"/>
            <a:ext cx="10515600" cy="928688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203248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193847"/>
            <a:ext cx="5157787" cy="399581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209520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193847"/>
            <a:ext cx="5183188" cy="399581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126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2192000" cy="11811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1984"/>
            <a:ext cx="12192000" cy="1205784"/>
          </a:xfrm>
          <a:prstGeom prst="rect">
            <a:avLst/>
          </a:prstGeom>
        </p:spPr>
      </p:pic>
      <p:sp>
        <p:nvSpPr>
          <p:cNvPr id="12" name="Title 1"/>
          <p:cNvSpPr txBox="1">
            <a:spLocks/>
          </p:cNvSpPr>
          <p:nvPr userDrawn="1"/>
        </p:nvSpPr>
        <p:spPr>
          <a:xfrm>
            <a:off x="838200" y="-105569"/>
            <a:ext cx="10515600" cy="12358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13" name="Group 363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11500627" y="6215063"/>
            <a:ext cx="585788" cy="538162"/>
            <a:chOff x="5907" y="1132"/>
            <a:chExt cx="2151" cy="1976"/>
          </a:xfrm>
        </p:grpSpPr>
        <p:sp>
          <p:nvSpPr>
            <p:cNvPr id="14" name="Freeform 364"/>
            <p:cNvSpPr>
              <a:spLocks/>
            </p:cNvSpPr>
            <p:nvPr/>
          </p:nvSpPr>
          <p:spPr bwMode="auto">
            <a:xfrm>
              <a:off x="5966" y="2117"/>
              <a:ext cx="2028" cy="0"/>
            </a:xfrm>
            <a:custGeom>
              <a:avLst/>
              <a:gdLst>
                <a:gd name="T0" fmla="*/ 0 w 2028"/>
                <a:gd name="T1" fmla="*/ 2028 w 2028"/>
                <a:gd name="T2" fmla="*/ 0 w 202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28">
                  <a:moveTo>
                    <a:pt x="0" y="0"/>
                  </a:moveTo>
                  <a:lnTo>
                    <a:pt x="202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Line 365"/>
            <p:cNvSpPr>
              <a:spLocks noChangeShapeType="1"/>
            </p:cNvSpPr>
            <p:nvPr/>
          </p:nvSpPr>
          <p:spPr bwMode="auto">
            <a:xfrm>
              <a:off x="5966" y="2117"/>
              <a:ext cx="202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Rectangle 366"/>
            <p:cNvSpPr>
              <a:spLocks noChangeArrowheads="1"/>
            </p:cNvSpPr>
            <p:nvPr/>
          </p:nvSpPr>
          <p:spPr bwMode="auto">
            <a:xfrm>
              <a:off x="5968" y="1194"/>
              <a:ext cx="2030" cy="1853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367"/>
            <p:cNvSpPr>
              <a:spLocks noEditPoints="1"/>
            </p:cNvSpPr>
            <p:nvPr/>
          </p:nvSpPr>
          <p:spPr bwMode="auto">
            <a:xfrm>
              <a:off x="5907" y="1132"/>
              <a:ext cx="2151" cy="1976"/>
            </a:xfrm>
            <a:custGeom>
              <a:avLst/>
              <a:gdLst>
                <a:gd name="T0" fmla="*/ 0 w 2151"/>
                <a:gd name="T1" fmla="*/ 1976 h 1976"/>
                <a:gd name="T2" fmla="*/ 2151 w 2151"/>
                <a:gd name="T3" fmla="*/ 1976 h 1976"/>
                <a:gd name="T4" fmla="*/ 2151 w 2151"/>
                <a:gd name="T5" fmla="*/ 0 h 1976"/>
                <a:gd name="T6" fmla="*/ 0 w 2151"/>
                <a:gd name="T7" fmla="*/ 0 h 1976"/>
                <a:gd name="T8" fmla="*/ 0 w 2151"/>
                <a:gd name="T9" fmla="*/ 1976 h 1976"/>
                <a:gd name="T10" fmla="*/ 123 w 2151"/>
                <a:gd name="T11" fmla="*/ 1854 h 1976"/>
                <a:gd name="T12" fmla="*/ 123 w 2151"/>
                <a:gd name="T13" fmla="*/ 1854 h 1976"/>
                <a:gd name="T14" fmla="*/ 123 w 2151"/>
                <a:gd name="T15" fmla="*/ 1046 h 1976"/>
                <a:gd name="T16" fmla="*/ 2030 w 2151"/>
                <a:gd name="T17" fmla="*/ 1046 h 1976"/>
                <a:gd name="T18" fmla="*/ 2030 w 2151"/>
                <a:gd name="T19" fmla="*/ 1046 h 1976"/>
                <a:gd name="T20" fmla="*/ 2030 w 2151"/>
                <a:gd name="T21" fmla="*/ 1854 h 1976"/>
                <a:gd name="T22" fmla="*/ 2030 w 2151"/>
                <a:gd name="T23" fmla="*/ 1854 h 1976"/>
                <a:gd name="T24" fmla="*/ 123 w 2151"/>
                <a:gd name="T25" fmla="*/ 1854 h 1976"/>
                <a:gd name="T26" fmla="*/ 123 w 2151"/>
                <a:gd name="T27" fmla="*/ 1854 h 1976"/>
                <a:gd name="T28" fmla="*/ 2030 w 2151"/>
                <a:gd name="T29" fmla="*/ 123 h 1976"/>
                <a:gd name="T30" fmla="*/ 2030 w 2151"/>
                <a:gd name="T31" fmla="*/ 123 h 1976"/>
                <a:gd name="T32" fmla="*/ 2030 w 2151"/>
                <a:gd name="T33" fmla="*/ 924 h 1976"/>
                <a:gd name="T34" fmla="*/ 123 w 2151"/>
                <a:gd name="T35" fmla="*/ 924 h 1976"/>
                <a:gd name="T36" fmla="*/ 123 w 2151"/>
                <a:gd name="T37" fmla="*/ 924 h 1976"/>
                <a:gd name="T38" fmla="*/ 123 w 2151"/>
                <a:gd name="T39" fmla="*/ 123 h 1976"/>
                <a:gd name="T40" fmla="*/ 123 w 2151"/>
                <a:gd name="T41" fmla="*/ 123 h 1976"/>
                <a:gd name="T42" fmla="*/ 2030 w 2151"/>
                <a:gd name="T43" fmla="*/ 123 h 1976"/>
                <a:gd name="T44" fmla="*/ 2030 w 2151"/>
                <a:gd name="T45" fmla="*/ 123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51" h="1976">
                  <a:moveTo>
                    <a:pt x="0" y="1976"/>
                  </a:moveTo>
                  <a:lnTo>
                    <a:pt x="2151" y="1976"/>
                  </a:lnTo>
                  <a:lnTo>
                    <a:pt x="2151" y="0"/>
                  </a:lnTo>
                  <a:lnTo>
                    <a:pt x="0" y="0"/>
                  </a:lnTo>
                  <a:lnTo>
                    <a:pt x="0" y="1976"/>
                  </a:lnTo>
                  <a:close/>
                  <a:moveTo>
                    <a:pt x="123" y="1854"/>
                  </a:moveTo>
                  <a:lnTo>
                    <a:pt x="123" y="1854"/>
                  </a:lnTo>
                  <a:lnTo>
                    <a:pt x="123" y="1046"/>
                  </a:lnTo>
                  <a:lnTo>
                    <a:pt x="2030" y="1046"/>
                  </a:lnTo>
                  <a:lnTo>
                    <a:pt x="2030" y="1046"/>
                  </a:lnTo>
                  <a:lnTo>
                    <a:pt x="2030" y="1854"/>
                  </a:lnTo>
                  <a:lnTo>
                    <a:pt x="2030" y="1854"/>
                  </a:lnTo>
                  <a:lnTo>
                    <a:pt x="123" y="1854"/>
                  </a:lnTo>
                  <a:lnTo>
                    <a:pt x="123" y="1854"/>
                  </a:lnTo>
                  <a:close/>
                  <a:moveTo>
                    <a:pt x="2030" y="123"/>
                  </a:moveTo>
                  <a:lnTo>
                    <a:pt x="2030" y="123"/>
                  </a:lnTo>
                  <a:lnTo>
                    <a:pt x="2030" y="924"/>
                  </a:lnTo>
                  <a:lnTo>
                    <a:pt x="123" y="924"/>
                  </a:lnTo>
                  <a:lnTo>
                    <a:pt x="123" y="924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2030" y="123"/>
                  </a:lnTo>
                  <a:lnTo>
                    <a:pt x="2030" y="123"/>
                  </a:lnTo>
                  <a:close/>
                </a:path>
              </a:pathLst>
            </a:custGeom>
            <a:solidFill>
              <a:srgbClr val="EF3E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368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64 h 587"/>
                <a:gd name="T34" fmla="*/ 953 w 1552"/>
                <a:gd name="T35" fmla="*/ 227 h 587"/>
                <a:gd name="T36" fmla="*/ 960 w 1552"/>
                <a:gd name="T37" fmla="*/ 419 h 587"/>
                <a:gd name="T38" fmla="*/ 968 w 1552"/>
                <a:gd name="T39" fmla="*/ 519 h 587"/>
                <a:gd name="T40" fmla="*/ 1034 w 1552"/>
                <a:gd name="T41" fmla="*/ 540 h 587"/>
                <a:gd name="T42" fmla="*/ 1039 w 1552"/>
                <a:gd name="T43" fmla="*/ 458 h 587"/>
                <a:gd name="T44" fmla="*/ 1039 w 1552"/>
                <a:gd name="T45" fmla="*/ 261 h 587"/>
                <a:gd name="T46" fmla="*/ 994 w 1552"/>
                <a:gd name="T47" fmla="*/ 69 h 587"/>
                <a:gd name="T48" fmla="*/ 936 w 1552"/>
                <a:gd name="T49" fmla="*/ 39 h 587"/>
                <a:gd name="T50" fmla="*/ 830 w 1552"/>
                <a:gd name="T51" fmla="*/ 196 h 587"/>
                <a:gd name="T52" fmla="*/ 786 w 1552"/>
                <a:gd name="T53" fmla="*/ 190 h 587"/>
                <a:gd name="T54" fmla="*/ 145 w 1552"/>
                <a:gd name="T55" fmla="*/ 250 h 587"/>
                <a:gd name="T56" fmla="*/ 15 w 1552"/>
                <a:gd name="T57" fmla="*/ 327 h 587"/>
                <a:gd name="T58" fmla="*/ 2 w 1552"/>
                <a:gd name="T59" fmla="*/ 471 h 587"/>
                <a:gd name="T60" fmla="*/ 32 w 1552"/>
                <a:gd name="T61" fmla="*/ 570 h 587"/>
                <a:gd name="T62" fmla="*/ 197 w 1552"/>
                <a:gd name="T63" fmla="*/ 579 h 587"/>
                <a:gd name="T64" fmla="*/ 244 w 1552"/>
                <a:gd name="T65" fmla="*/ 530 h 587"/>
                <a:gd name="T66" fmla="*/ 128 w 1552"/>
                <a:gd name="T67" fmla="*/ 542 h 587"/>
                <a:gd name="T68" fmla="*/ 76 w 1552"/>
                <a:gd name="T69" fmla="*/ 485 h 587"/>
                <a:gd name="T70" fmla="*/ 83 w 1552"/>
                <a:gd name="T71" fmla="*/ 333 h 587"/>
                <a:gd name="T72" fmla="*/ 156 w 1552"/>
                <a:gd name="T73" fmla="*/ 291 h 587"/>
                <a:gd name="T74" fmla="*/ 211 w 1552"/>
                <a:gd name="T75" fmla="*/ 276 h 587"/>
                <a:gd name="T76" fmla="*/ 773 w 1552"/>
                <a:gd name="T77" fmla="*/ 304 h 587"/>
                <a:gd name="T78" fmla="*/ 725 w 1552"/>
                <a:gd name="T79" fmla="*/ 509 h 587"/>
                <a:gd name="T80" fmla="*/ 776 w 1552"/>
                <a:gd name="T81" fmla="*/ 579 h 587"/>
                <a:gd name="T82" fmla="*/ 809 w 1552"/>
                <a:gd name="T83" fmla="*/ 542 h 587"/>
                <a:gd name="T84" fmla="*/ 806 w 1552"/>
                <a:gd name="T85" fmla="*/ 472 h 587"/>
                <a:gd name="T86" fmla="*/ 827 w 1552"/>
                <a:gd name="T87" fmla="*/ 297 h 587"/>
                <a:gd name="T88" fmla="*/ 1480 w 1552"/>
                <a:gd name="T89" fmla="*/ 37 h 587"/>
                <a:gd name="T90" fmla="*/ 1483 w 1552"/>
                <a:gd name="T91" fmla="*/ 320 h 587"/>
                <a:gd name="T92" fmla="*/ 1416 w 1552"/>
                <a:gd name="T93" fmla="*/ 310 h 587"/>
                <a:gd name="T94" fmla="*/ 1361 w 1552"/>
                <a:gd name="T95" fmla="*/ 287 h 587"/>
                <a:gd name="T96" fmla="*/ 1216 w 1552"/>
                <a:gd name="T97" fmla="*/ 334 h 587"/>
                <a:gd name="T98" fmla="*/ 1183 w 1552"/>
                <a:gd name="T99" fmla="*/ 473 h 587"/>
                <a:gd name="T100" fmla="*/ 1227 w 1552"/>
                <a:gd name="T101" fmla="*/ 540 h 587"/>
                <a:gd name="T102" fmla="*/ 1392 w 1552"/>
                <a:gd name="T103" fmla="*/ 579 h 587"/>
                <a:gd name="T104" fmla="*/ 1455 w 1552"/>
                <a:gd name="T105" fmla="*/ 540 h 587"/>
                <a:gd name="T106" fmla="*/ 1525 w 1552"/>
                <a:gd name="T107" fmla="*/ 577 h 587"/>
                <a:gd name="T108" fmla="*/ 1536 w 1552"/>
                <a:gd name="T109" fmla="*/ 506 h 587"/>
                <a:gd name="T110" fmla="*/ 1540 w 1552"/>
                <a:gd name="T111" fmla="*/ 236 h 587"/>
                <a:gd name="T112" fmla="*/ 1510 w 1552"/>
                <a:gd name="T113" fmla="*/ 39 h 587"/>
                <a:gd name="T114" fmla="*/ 1412 w 1552"/>
                <a:gd name="T115" fmla="*/ 402 h 587"/>
                <a:gd name="T116" fmla="*/ 1382 w 1552"/>
                <a:gd name="T117" fmla="*/ 530 h 587"/>
                <a:gd name="T118" fmla="*/ 1274 w 1552"/>
                <a:gd name="T119" fmla="*/ 490 h 587"/>
                <a:gd name="T120" fmla="*/ 1268 w 1552"/>
                <a:gd name="T121" fmla="*/ 377 h 587"/>
                <a:gd name="T122" fmla="*/ 1377 w 1552"/>
                <a:gd name="T123" fmla="*/ 337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noFill/>
            <a:ln w="0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369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370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371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  <a:gd name="T42" fmla="*/ 0 w 57"/>
                <a:gd name="T43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372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79 h 587"/>
                <a:gd name="T34" fmla="*/ 954 w 1552"/>
                <a:gd name="T35" fmla="*/ 298 h 587"/>
                <a:gd name="T36" fmla="*/ 958 w 1552"/>
                <a:gd name="T37" fmla="*/ 429 h 587"/>
                <a:gd name="T38" fmla="*/ 968 w 1552"/>
                <a:gd name="T39" fmla="*/ 519 h 587"/>
                <a:gd name="T40" fmla="*/ 1039 w 1552"/>
                <a:gd name="T41" fmla="*/ 537 h 587"/>
                <a:gd name="T42" fmla="*/ 1038 w 1552"/>
                <a:gd name="T43" fmla="*/ 445 h 587"/>
                <a:gd name="T44" fmla="*/ 1037 w 1552"/>
                <a:gd name="T45" fmla="*/ 249 h 587"/>
                <a:gd name="T46" fmla="*/ 994 w 1552"/>
                <a:gd name="T47" fmla="*/ 48 h 587"/>
                <a:gd name="T48" fmla="*/ 936 w 1552"/>
                <a:gd name="T49" fmla="*/ 39 h 587"/>
                <a:gd name="T50" fmla="*/ 833 w 1552"/>
                <a:gd name="T51" fmla="*/ 192 h 587"/>
                <a:gd name="T52" fmla="*/ 782 w 1552"/>
                <a:gd name="T53" fmla="*/ 196 h 587"/>
                <a:gd name="T54" fmla="*/ 133 w 1552"/>
                <a:gd name="T55" fmla="*/ 253 h 587"/>
                <a:gd name="T56" fmla="*/ 9 w 1552"/>
                <a:gd name="T57" fmla="*/ 335 h 587"/>
                <a:gd name="T58" fmla="*/ 5 w 1552"/>
                <a:gd name="T59" fmla="*/ 482 h 587"/>
                <a:gd name="T60" fmla="*/ 42 w 1552"/>
                <a:gd name="T61" fmla="*/ 574 h 587"/>
                <a:gd name="T62" fmla="*/ 211 w 1552"/>
                <a:gd name="T63" fmla="*/ 574 h 587"/>
                <a:gd name="T64" fmla="*/ 244 w 1552"/>
                <a:gd name="T65" fmla="*/ 530 h 587"/>
                <a:gd name="T66" fmla="*/ 118 w 1552"/>
                <a:gd name="T67" fmla="*/ 539 h 587"/>
                <a:gd name="T68" fmla="*/ 76 w 1552"/>
                <a:gd name="T69" fmla="*/ 485 h 587"/>
                <a:gd name="T70" fmla="*/ 89 w 1552"/>
                <a:gd name="T71" fmla="*/ 324 h 587"/>
                <a:gd name="T72" fmla="*/ 166 w 1552"/>
                <a:gd name="T73" fmla="*/ 286 h 587"/>
                <a:gd name="T74" fmla="*/ 213 w 1552"/>
                <a:gd name="T75" fmla="*/ 274 h 587"/>
                <a:gd name="T76" fmla="*/ 768 w 1552"/>
                <a:gd name="T77" fmla="*/ 314 h 587"/>
                <a:gd name="T78" fmla="*/ 728 w 1552"/>
                <a:gd name="T79" fmla="*/ 529 h 587"/>
                <a:gd name="T80" fmla="*/ 783 w 1552"/>
                <a:gd name="T81" fmla="*/ 577 h 587"/>
                <a:gd name="T82" fmla="*/ 806 w 1552"/>
                <a:gd name="T83" fmla="*/ 533 h 587"/>
                <a:gd name="T84" fmla="*/ 815 w 1552"/>
                <a:gd name="T85" fmla="*/ 451 h 587"/>
                <a:gd name="T86" fmla="*/ 825 w 1552"/>
                <a:gd name="T87" fmla="*/ 293 h 587"/>
                <a:gd name="T88" fmla="*/ 1476 w 1552"/>
                <a:gd name="T89" fmla="*/ 42 h 587"/>
                <a:gd name="T90" fmla="*/ 1482 w 1552"/>
                <a:gd name="T91" fmla="*/ 355 h 587"/>
                <a:gd name="T92" fmla="*/ 1416 w 1552"/>
                <a:gd name="T93" fmla="*/ 305 h 587"/>
                <a:gd name="T94" fmla="*/ 1352 w 1552"/>
                <a:gd name="T95" fmla="*/ 293 h 587"/>
                <a:gd name="T96" fmla="*/ 1204 w 1552"/>
                <a:gd name="T97" fmla="*/ 341 h 587"/>
                <a:gd name="T98" fmla="*/ 1187 w 1552"/>
                <a:gd name="T99" fmla="*/ 483 h 587"/>
                <a:gd name="T100" fmla="*/ 1237 w 1552"/>
                <a:gd name="T101" fmla="*/ 540 h 587"/>
                <a:gd name="T102" fmla="*/ 1399 w 1552"/>
                <a:gd name="T103" fmla="*/ 576 h 587"/>
                <a:gd name="T104" fmla="*/ 1461 w 1552"/>
                <a:gd name="T105" fmla="*/ 542 h 587"/>
                <a:gd name="T106" fmla="*/ 1536 w 1552"/>
                <a:gd name="T107" fmla="*/ 573 h 587"/>
                <a:gd name="T108" fmla="*/ 1533 w 1552"/>
                <a:gd name="T109" fmla="*/ 496 h 587"/>
                <a:gd name="T110" fmla="*/ 1537 w 1552"/>
                <a:gd name="T111" fmla="*/ 196 h 587"/>
                <a:gd name="T112" fmla="*/ 1503 w 1552"/>
                <a:gd name="T113" fmla="*/ 37 h 587"/>
                <a:gd name="T114" fmla="*/ 1416 w 1552"/>
                <a:gd name="T115" fmla="*/ 408 h 587"/>
                <a:gd name="T116" fmla="*/ 1369 w 1552"/>
                <a:gd name="T117" fmla="*/ 535 h 587"/>
                <a:gd name="T118" fmla="*/ 1274 w 1552"/>
                <a:gd name="T119" fmla="*/ 490 h 587"/>
                <a:gd name="T120" fmla="*/ 1276 w 1552"/>
                <a:gd name="T121" fmla="*/ 365 h 587"/>
                <a:gd name="T122" fmla="*/ 1385 w 1552"/>
                <a:gd name="T123" fmla="*/ 34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373"/>
            <p:cNvSpPr>
              <a:spLocks/>
            </p:cNvSpPr>
            <p:nvPr/>
          </p:nvSpPr>
          <p:spPr bwMode="auto">
            <a:xfrm>
              <a:off x="6526" y="2285"/>
              <a:ext cx="299" cy="549"/>
            </a:xfrm>
            <a:custGeom>
              <a:avLst/>
              <a:gdLst>
                <a:gd name="T0" fmla="*/ 97 w 299"/>
                <a:gd name="T1" fmla="*/ 84 h 549"/>
                <a:gd name="T2" fmla="*/ 114 w 299"/>
                <a:gd name="T3" fmla="*/ 197 h 549"/>
                <a:gd name="T4" fmla="*/ 125 w 299"/>
                <a:gd name="T5" fmla="*/ 241 h 549"/>
                <a:gd name="T6" fmla="*/ 118 w 299"/>
                <a:gd name="T7" fmla="*/ 280 h 549"/>
                <a:gd name="T8" fmla="*/ 122 w 299"/>
                <a:gd name="T9" fmla="*/ 304 h 549"/>
                <a:gd name="T10" fmla="*/ 196 w 299"/>
                <a:gd name="T11" fmla="*/ 301 h 549"/>
                <a:gd name="T12" fmla="*/ 243 w 299"/>
                <a:gd name="T13" fmla="*/ 310 h 549"/>
                <a:gd name="T14" fmla="*/ 272 w 299"/>
                <a:gd name="T15" fmla="*/ 325 h 549"/>
                <a:gd name="T16" fmla="*/ 292 w 299"/>
                <a:gd name="T17" fmla="*/ 355 h 549"/>
                <a:gd name="T18" fmla="*/ 297 w 299"/>
                <a:gd name="T19" fmla="*/ 421 h 549"/>
                <a:gd name="T20" fmla="*/ 296 w 299"/>
                <a:gd name="T21" fmla="*/ 489 h 549"/>
                <a:gd name="T22" fmla="*/ 286 w 299"/>
                <a:gd name="T23" fmla="*/ 519 h 549"/>
                <a:gd name="T24" fmla="*/ 276 w 299"/>
                <a:gd name="T25" fmla="*/ 535 h 549"/>
                <a:gd name="T26" fmla="*/ 258 w 299"/>
                <a:gd name="T27" fmla="*/ 546 h 549"/>
                <a:gd name="T28" fmla="*/ 236 w 299"/>
                <a:gd name="T29" fmla="*/ 547 h 549"/>
                <a:gd name="T30" fmla="*/ 223 w 299"/>
                <a:gd name="T31" fmla="*/ 540 h 549"/>
                <a:gd name="T32" fmla="*/ 218 w 299"/>
                <a:gd name="T33" fmla="*/ 523 h 549"/>
                <a:gd name="T34" fmla="*/ 225 w 299"/>
                <a:gd name="T35" fmla="*/ 493 h 549"/>
                <a:gd name="T36" fmla="*/ 232 w 299"/>
                <a:gd name="T37" fmla="*/ 446 h 549"/>
                <a:gd name="T38" fmla="*/ 229 w 299"/>
                <a:gd name="T39" fmla="*/ 398 h 549"/>
                <a:gd name="T40" fmla="*/ 216 w 299"/>
                <a:gd name="T41" fmla="*/ 372 h 549"/>
                <a:gd name="T42" fmla="*/ 198 w 299"/>
                <a:gd name="T43" fmla="*/ 352 h 549"/>
                <a:gd name="T44" fmla="*/ 159 w 299"/>
                <a:gd name="T45" fmla="*/ 340 h 549"/>
                <a:gd name="T46" fmla="*/ 118 w 299"/>
                <a:gd name="T47" fmla="*/ 341 h 549"/>
                <a:gd name="T48" fmla="*/ 108 w 299"/>
                <a:gd name="T49" fmla="*/ 355 h 549"/>
                <a:gd name="T50" fmla="*/ 97 w 299"/>
                <a:gd name="T51" fmla="*/ 388 h 549"/>
                <a:gd name="T52" fmla="*/ 94 w 299"/>
                <a:gd name="T53" fmla="*/ 445 h 549"/>
                <a:gd name="T54" fmla="*/ 94 w 299"/>
                <a:gd name="T55" fmla="*/ 492 h 549"/>
                <a:gd name="T56" fmla="*/ 90 w 299"/>
                <a:gd name="T57" fmla="*/ 519 h 549"/>
                <a:gd name="T58" fmla="*/ 77 w 299"/>
                <a:gd name="T59" fmla="*/ 542 h 549"/>
                <a:gd name="T60" fmla="*/ 61 w 299"/>
                <a:gd name="T61" fmla="*/ 549 h 549"/>
                <a:gd name="T62" fmla="*/ 38 w 299"/>
                <a:gd name="T63" fmla="*/ 544 h 549"/>
                <a:gd name="T64" fmla="*/ 23 w 299"/>
                <a:gd name="T65" fmla="*/ 532 h 549"/>
                <a:gd name="T66" fmla="*/ 19 w 299"/>
                <a:gd name="T67" fmla="*/ 503 h 549"/>
                <a:gd name="T68" fmla="*/ 26 w 299"/>
                <a:gd name="T69" fmla="*/ 436 h 549"/>
                <a:gd name="T70" fmla="*/ 21 w 299"/>
                <a:gd name="T71" fmla="*/ 395 h 549"/>
                <a:gd name="T72" fmla="*/ 7 w 299"/>
                <a:gd name="T73" fmla="*/ 370 h 549"/>
                <a:gd name="T74" fmla="*/ 0 w 299"/>
                <a:gd name="T75" fmla="*/ 358 h 549"/>
                <a:gd name="T76" fmla="*/ 16 w 299"/>
                <a:gd name="T77" fmla="*/ 344 h 549"/>
                <a:gd name="T78" fmla="*/ 37 w 299"/>
                <a:gd name="T79" fmla="*/ 331 h 549"/>
                <a:gd name="T80" fmla="*/ 43 w 299"/>
                <a:gd name="T81" fmla="*/ 320 h 549"/>
                <a:gd name="T82" fmla="*/ 51 w 299"/>
                <a:gd name="T83" fmla="*/ 305 h 549"/>
                <a:gd name="T84" fmla="*/ 67 w 299"/>
                <a:gd name="T85" fmla="*/ 276 h 549"/>
                <a:gd name="T86" fmla="*/ 71 w 299"/>
                <a:gd name="T87" fmla="*/ 241 h 549"/>
                <a:gd name="T88" fmla="*/ 65 w 299"/>
                <a:gd name="T89" fmla="*/ 224 h 549"/>
                <a:gd name="T90" fmla="*/ 57 w 299"/>
                <a:gd name="T91" fmla="*/ 190 h 549"/>
                <a:gd name="T92" fmla="*/ 57 w 299"/>
                <a:gd name="T93" fmla="*/ 146 h 549"/>
                <a:gd name="T94" fmla="*/ 50 w 299"/>
                <a:gd name="T95" fmla="*/ 121 h 549"/>
                <a:gd name="T96" fmla="*/ 37 w 299"/>
                <a:gd name="T97" fmla="*/ 74 h 549"/>
                <a:gd name="T98" fmla="*/ 33 w 299"/>
                <a:gd name="T99" fmla="*/ 32 h 549"/>
                <a:gd name="T100" fmla="*/ 41 w 299"/>
                <a:gd name="T101" fmla="*/ 11 h 549"/>
                <a:gd name="T102" fmla="*/ 54 w 299"/>
                <a:gd name="T103" fmla="*/ 0 h 549"/>
                <a:gd name="T104" fmla="*/ 77 w 299"/>
                <a:gd name="T105" fmla="*/ 15 h 549"/>
                <a:gd name="T106" fmla="*/ 87 w 299"/>
                <a:gd name="T107" fmla="*/ 44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9" h="549">
                  <a:moveTo>
                    <a:pt x="91" y="62"/>
                  </a:moveTo>
                  <a:lnTo>
                    <a:pt x="91" y="62"/>
                  </a:lnTo>
                  <a:lnTo>
                    <a:pt x="97" y="84"/>
                  </a:lnTo>
                  <a:lnTo>
                    <a:pt x="102" y="105"/>
                  </a:lnTo>
                  <a:lnTo>
                    <a:pt x="108" y="152"/>
                  </a:lnTo>
                  <a:lnTo>
                    <a:pt x="114" y="197"/>
                  </a:lnTo>
                  <a:lnTo>
                    <a:pt x="118" y="219"/>
                  </a:lnTo>
                  <a:lnTo>
                    <a:pt x="125" y="241"/>
                  </a:lnTo>
                  <a:lnTo>
                    <a:pt x="125" y="241"/>
                  </a:lnTo>
                  <a:lnTo>
                    <a:pt x="121" y="256"/>
                  </a:lnTo>
                  <a:lnTo>
                    <a:pt x="118" y="273"/>
                  </a:lnTo>
                  <a:lnTo>
                    <a:pt x="118" y="280"/>
                  </a:lnTo>
                  <a:lnTo>
                    <a:pt x="118" y="288"/>
                  </a:lnTo>
                  <a:lnTo>
                    <a:pt x="120" y="296"/>
                  </a:lnTo>
                  <a:lnTo>
                    <a:pt x="122" y="304"/>
                  </a:lnTo>
                  <a:lnTo>
                    <a:pt x="122" y="304"/>
                  </a:lnTo>
                  <a:lnTo>
                    <a:pt x="171" y="301"/>
                  </a:lnTo>
                  <a:lnTo>
                    <a:pt x="196" y="301"/>
                  </a:lnTo>
                  <a:lnTo>
                    <a:pt x="221" y="304"/>
                  </a:lnTo>
                  <a:lnTo>
                    <a:pt x="232" y="305"/>
                  </a:lnTo>
                  <a:lnTo>
                    <a:pt x="243" y="310"/>
                  </a:lnTo>
                  <a:lnTo>
                    <a:pt x="253" y="314"/>
                  </a:lnTo>
                  <a:lnTo>
                    <a:pt x="263" y="318"/>
                  </a:lnTo>
                  <a:lnTo>
                    <a:pt x="272" y="325"/>
                  </a:lnTo>
                  <a:lnTo>
                    <a:pt x="279" y="334"/>
                  </a:lnTo>
                  <a:lnTo>
                    <a:pt x="286" y="344"/>
                  </a:lnTo>
                  <a:lnTo>
                    <a:pt x="292" y="355"/>
                  </a:lnTo>
                  <a:lnTo>
                    <a:pt x="292" y="355"/>
                  </a:lnTo>
                  <a:lnTo>
                    <a:pt x="296" y="398"/>
                  </a:lnTo>
                  <a:lnTo>
                    <a:pt x="297" y="421"/>
                  </a:lnTo>
                  <a:lnTo>
                    <a:pt x="299" y="445"/>
                  </a:lnTo>
                  <a:lnTo>
                    <a:pt x="299" y="468"/>
                  </a:lnTo>
                  <a:lnTo>
                    <a:pt x="296" y="489"/>
                  </a:lnTo>
                  <a:lnTo>
                    <a:pt x="293" y="499"/>
                  </a:lnTo>
                  <a:lnTo>
                    <a:pt x="290" y="510"/>
                  </a:lnTo>
                  <a:lnTo>
                    <a:pt x="286" y="519"/>
                  </a:lnTo>
                  <a:lnTo>
                    <a:pt x="280" y="529"/>
                  </a:lnTo>
                  <a:lnTo>
                    <a:pt x="280" y="529"/>
                  </a:lnTo>
                  <a:lnTo>
                    <a:pt x="276" y="535"/>
                  </a:lnTo>
                  <a:lnTo>
                    <a:pt x="270" y="539"/>
                  </a:lnTo>
                  <a:lnTo>
                    <a:pt x="263" y="543"/>
                  </a:lnTo>
                  <a:lnTo>
                    <a:pt x="258" y="546"/>
                  </a:lnTo>
                  <a:lnTo>
                    <a:pt x="250" y="547"/>
                  </a:lnTo>
                  <a:lnTo>
                    <a:pt x="243" y="547"/>
                  </a:lnTo>
                  <a:lnTo>
                    <a:pt x="236" y="547"/>
                  </a:lnTo>
                  <a:lnTo>
                    <a:pt x="229" y="546"/>
                  </a:lnTo>
                  <a:lnTo>
                    <a:pt x="229" y="546"/>
                  </a:lnTo>
                  <a:lnTo>
                    <a:pt x="223" y="540"/>
                  </a:lnTo>
                  <a:lnTo>
                    <a:pt x="221" y="536"/>
                  </a:lnTo>
                  <a:lnTo>
                    <a:pt x="219" y="530"/>
                  </a:lnTo>
                  <a:lnTo>
                    <a:pt x="218" y="523"/>
                  </a:lnTo>
                  <a:lnTo>
                    <a:pt x="219" y="512"/>
                  </a:lnTo>
                  <a:lnTo>
                    <a:pt x="221" y="499"/>
                  </a:lnTo>
                  <a:lnTo>
                    <a:pt x="225" y="493"/>
                  </a:lnTo>
                  <a:lnTo>
                    <a:pt x="225" y="493"/>
                  </a:lnTo>
                  <a:lnTo>
                    <a:pt x="229" y="463"/>
                  </a:lnTo>
                  <a:lnTo>
                    <a:pt x="232" y="446"/>
                  </a:lnTo>
                  <a:lnTo>
                    <a:pt x="232" y="431"/>
                  </a:lnTo>
                  <a:lnTo>
                    <a:pt x="232" y="414"/>
                  </a:lnTo>
                  <a:lnTo>
                    <a:pt x="229" y="398"/>
                  </a:lnTo>
                  <a:lnTo>
                    <a:pt x="223" y="385"/>
                  </a:lnTo>
                  <a:lnTo>
                    <a:pt x="221" y="378"/>
                  </a:lnTo>
                  <a:lnTo>
                    <a:pt x="216" y="372"/>
                  </a:lnTo>
                  <a:lnTo>
                    <a:pt x="216" y="372"/>
                  </a:lnTo>
                  <a:lnTo>
                    <a:pt x="208" y="361"/>
                  </a:lnTo>
                  <a:lnTo>
                    <a:pt x="198" y="352"/>
                  </a:lnTo>
                  <a:lnTo>
                    <a:pt x="186" y="347"/>
                  </a:lnTo>
                  <a:lnTo>
                    <a:pt x="174" y="342"/>
                  </a:lnTo>
                  <a:lnTo>
                    <a:pt x="159" y="340"/>
                  </a:lnTo>
                  <a:lnTo>
                    <a:pt x="147" y="338"/>
                  </a:lnTo>
                  <a:lnTo>
                    <a:pt x="132" y="340"/>
                  </a:lnTo>
                  <a:lnTo>
                    <a:pt x="118" y="341"/>
                  </a:lnTo>
                  <a:lnTo>
                    <a:pt x="118" y="341"/>
                  </a:lnTo>
                  <a:lnTo>
                    <a:pt x="112" y="348"/>
                  </a:lnTo>
                  <a:lnTo>
                    <a:pt x="108" y="355"/>
                  </a:lnTo>
                  <a:lnTo>
                    <a:pt x="104" y="362"/>
                  </a:lnTo>
                  <a:lnTo>
                    <a:pt x="101" y="371"/>
                  </a:lnTo>
                  <a:lnTo>
                    <a:pt x="97" y="388"/>
                  </a:lnTo>
                  <a:lnTo>
                    <a:pt x="94" y="405"/>
                  </a:lnTo>
                  <a:lnTo>
                    <a:pt x="94" y="425"/>
                  </a:lnTo>
                  <a:lnTo>
                    <a:pt x="94" y="445"/>
                  </a:lnTo>
                  <a:lnTo>
                    <a:pt x="94" y="483"/>
                  </a:lnTo>
                  <a:lnTo>
                    <a:pt x="94" y="483"/>
                  </a:lnTo>
                  <a:lnTo>
                    <a:pt x="94" y="492"/>
                  </a:lnTo>
                  <a:lnTo>
                    <a:pt x="94" y="500"/>
                  </a:lnTo>
                  <a:lnTo>
                    <a:pt x="93" y="510"/>
                  </a:lnTo>
                  <a:lnTo>
                    <a:pt x="90" y="519"/>
                  </a:lnTo>
                  <a:lnTo>
                    <a:pt x="87" y="527"/>
                  </a:lnTo>
                  <a:lnTo>
                    <a:pt x="83" y="535"/>
                  </a:lnTo>
                  <a:lnTo>
                    <a:pt x="77" y="542"/>
                  </a:lnTo>
                  <a:lnTo>
                    <a:pt x="70" y="547"/>
                  </a:lnTo>
                  <a:lnTo>
                    <a:pt x="70" y="547"/>
                  </a:lnTo>
                  <a:lnTo>
                    <a:pt x="61" y="549"/>
                  </a:lnTo>
                  <a:lnTo>
                    <a:pt x="53" y="547"/>
                  </a:lnTo>
                  <a:lnTo>
                    <a:pt x="46" y="547"/>
                  </a:lnTo>
                  <a:lnTo>
                    <a:pt x="38" y="544"/>
                  </a:lnTo>
                  <a:lnTo>
                    <a:pt x="33" y="542"/>
                  </a:lnTo>
                  <a:lnTo>
                    <a:pt x="27" y="537"/>
                  </a:lnTo>
                  <a:lnTo>
                    <a:pt x="23" y="532"/>
                  </a:lnTo>
                  <a:lnTo>
                    <a:pt x="19" y="525"/>
                  </a:lnTo>
                  <a:lnTo>
                    <a:pt x="19" y="525"/>
                  </a:lnTo>
                  <a:lnTo>
                    <a:pt x="19" y="503"/>
                  </a:lnTo>
                  <a:lnTo>
                    <a:pt x="20" y="482"/>
                  </a:lnTo>
                  <a:lnTo>
                    <a:pt x="23" y="459"/>
                  </a:lnTo>
                  <a:lnTo>
                    <a:pt x="26" y="436"/>
                  </a:lnTo>
                  <a:lnTo>
                    <a:pt x="26" y="415"/>
                  </a:lnTo>
                  <a:lnTo>
                    <a:pt x="24" y="405"/>
                  </a:lnTo>
                  <a:lnTo>
                    <a:pt x="21" y="395"/>
                  </a:lnTo>
                  <a:lnTo>
                    <a:pt x="19" y="387"/>
                  </a:lnTo>
                  <a:lnTo>
                    <a:pt x="14" y="377"/>
                  </a:lnTo>
                  <a:lnTo>
                    <a:pt x="7" y="370"/>
                  </a:lnTo>
                  <a:lnTo>
                    <a:pt x="0" y="362"/>
                  </a:lnTo>
                  <a:lnTo>
                    <a:pt x="0" y="362"/>
                  </a:lnTo>
                  <a:lnTo>
                    <a:pt x="0" y="358"/>
                  </a:lnTo>
                  <a:lnTo>
                    <a:pt x="3" y="354"/>
                  </a:lnTo>
                  <a:lnTo>
                    <a:pt x="7" y="348"/>
                  </a:lnTo>
                  <a:lnTo>
                    <a:pt x="16" y="344"/>
                  </a:lnTo>
                  <a:lnTo>
                    <a:pt x="23" y="340"/>
                  </a:lnTo>
                  <a:lnTo>
                    <a:pt x="31" y="337"/>
                  </a:lnTo>
                  <a:lnTo>
                    <a:pt x="37" y="331"/>
                  </a:lnTo>
                  <a:lnTo>
                    <a:pt x="40" y="328"/>
                  </a:lnTo>
                  <a:lnTo>
                    <a:pt x="41" y="324"/>
                  </a:lnTo>
                  <a:lnTo>
                    <a:pt x="43" y="320"/>
                  </a:lnTo>
                  <a:lnTo>
                    <a:pt x="43" y="314"/>
                  </a:lnTo>
                  <a:lnTo>
                    <a:pt x="43" y="314"/>
                  </a:lnTo>
                  <a:lnTo>
                    <a:pt x="51" y="305"/>
                  </a:lnTo>
                  <a:lnTo>
                    <a:pt x="58" y="296"/>
                  </a:lnTo>
                  <a:lnTo>
                    <a:pt x="64" y="286"/>
                  </a:lnTo>
                  <a:lnTo>
                    <a:pt x="67" y="276"/>
                  </a:lnTo>
                  <a:lnTo>
                    <a:pt x="70" y="264"/>
                  </a:lnTo>
                  <a:lnTo>
                    <a:pt x="71" y="253"/>
                  </a:lnTo>
                  <a:lnTo>
                    <a:pt x="71" y="241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5" y="224"/>
                  </a:lnTo>
                  <a:lnTo>
                    <a:pt x="63" y="219"/>
                  </a:lnTo>
                  <a:lnTo>
                    <a:pt x="58" y="205"/>
                  </a:lnTo>
                  <a:lnTo>
                    <a:pt x="57" y="190"/>
                  </a:lnTo>
                  <a:lnTo>
                    <a:pt x="57" y="176"/>
                  </a:lnTo>
                  <a:lnTo>
                    <a:pt x="58" y="160"/>
                  </a:lnTo>
                  <a:lnTo>
                    <a:pt x="57" y="146"/>
                  </a:lnTo>
                  <a:lnTo>
                    <a:pt x="56" y="133"/>
                  </a:lnTo>
                  <a:lnTo>
                    <a:pt x="53" y="126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41" y="91"/>
                  </a:lnTo>
                  <a:lnTo>
                    <a:pt x="37" y="74"/>
                  </a:lnTo>
                  <a:lnTo>
                    <a:pt x="33" y="57"/>
                  </a:lnTo>
                  <a:lnTo>
                    <a:pt x="33" y="41"/>
                  </a:lnTo>
                  <a:lnTo>
                    <a:pt x="33" y="32"/>
                  </a:lnTo>
                  <a:lnTo>
                    <a:pt x="36" y="25"/>
                  </a:lnTo>
                  <a:lnTo>
                    <a:pt x="37" y="18"/>
                  </a:lnTo>
                  <a:lnTo>
                    <a:pt x="41" y="11"/>
                  </a:lnTo>
                  <a:lnTo>
                    <a:pt x="47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3"/>
                  </a:lnTo>
                  <a:lnTo>
                    <a:pt x="71" y="8"/>
                  </a:lnTo>
                  <a:lnTo>
                    <a:pt x="77" y="15"/>
                  </a:lnTo>
                  <a:lnTo>
                    <a:pt x="81" y="24"/>
                  </a:lnTo>
                  <a:lnTo>
                    <a:pt x="84" y="34"/>
                  </a:lnTo>
                  <a:lnTo>
                    <a:pt x="87" y="44"/>
                  </a:lnTo>
                  <a:lnTo>
                    <a:pt x="91" y="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374"/>
            <p:cNvSpPr>
              <a:spLocks/>
            </p:cNvSpPr>
            <p:nvPr/>
          </p:nvSpPr>
          <p:spPr bwMode="auto">
            <a:xfrm>
              <a:off x="7126" y="2317"/>
              <a:ext cx="131" cy="511"/>
            </a:xfrm>
            <a:custGeom>
              <a:avLst/>
              <a:gdLst>
                <a:gd name="T0" fmla="*/ 15 w 131"/>
                <a:gd name="T1" fmla="*/ 7 h 511"/>
                <a:gd name="T2" fmla="*/ 3 w 131"/>
                <a:gd name="T3" fmla="*/ 17 h 511"/>
                <a:gd name="T4" fmla="*/ 0 w 131"/>
                <a:gd name="T5" fmla="*/ 32 h 511"/>
                <a:gd name="T6" fmla="*/ 2 w 131"/>
                <a:gd name="T7" fmla="*/ 63 h 511"/>
                <a:gd name="T8" fmla="*/ 10 w 131"/>
                <a:gd name="T9" fmla="*/ 77 h 511"/>
                <a:gd name="T10" fmla="*/ 22 w 131"/>
                <a:gd name="T11" fmla="*/ 110 h 511"/>
                <a:gd name="T12" fmla="*/ 27 w 131"/>
                <a:gd name="T13" fmla="*/ 143 h 511"/>
                <a:gd name="T14" fmla="*/ 32 w 131"/>
                <a:gd name="T15" fmla="*/ 195 h 511"/>
                <a:gd name="T16" fmla="*/ 36 w 131"/>
                <a:gd name="T17" fmla="*/ 301 h 511"/>
                <a:gd name="T18" fmla="*/ 39 w 131"/>
                <a:gd name="T19" fmla="*/ 335 h 511"/>
                <a:gd name="T20" fmla="*/ 46 w 131"/>
                <a:gd name="T21" fmla="*/ 352 h 511"/>
                <a:gd name="T22" fmla="*/ 43 w 131"/>
                <a:gd name="T23" fmla="*/ 369 h 511"/>
                <a:gd name="T24" fmla="*/ 39 w 131"/>
                <a:gd name="T25" fmla="*/ 387 h 511"/>
                <a:gd name="T26" fmla="*/ 39 w 131"/>
                <a:gd name="T27" fmla="*/ 407 h 511"/>
                <a:gd name="T28" fmla="*/ 43 w 131"/>
                <a:gd name="T29" fmla="*/ 416 h 511"/>
                <a:gd name="T30" fmla="*/ 46 w 131"/>
                <a:gd name="T31" fmla="*/ 436 h 511"/>
                <a:gd name="T32" fmla="*/ 46 w 131"/>
                <a:gd name="T33" fmla="*/ 467 h 511"/>
                <a:gd name="T34" fmla="*/ 47 w 131"/>
                <a:gd name="T35" fmla="*/ 487 h 511"/>
                <a:gd name="T36" fmla="*/ 53 w 131"/>
                <a:gd name="T37" fmla="*/ 494 h 511"/>
                <a:gd name="T38" fmla="*/ 66 w 131"/>
                <a:gd name="T39" fmla="*/ 505 h 511"/>
                <a:gd name="T40" fmla="*/ 83 w 131"/>
                <a:gd name="T41" fmla="*/ 511 h 511"/>
                <a:gd name="T42" fmla="*/ 103 w 131"/>
                <a:gd name="T43" fmla="*/ 511 h 511"/>
                <a:gd name="T44" fmla="*/ 113 w 131"/>
                <a:gd name="T45" fmla="*/ 508 h 511"/>
                <a:gd name="T46" fmla="*/ 124 w 131"/>
                <a:gd name="T47" fmla="*/ 501 h 511"/>
                <a:gd name="T48" fmla="*/ 130 w 131"/>
                <a:gd name="T49" fmla="*/ 491 h 511"/>
                <a:gd name="T50" fmla="*/ 131 w 131"/>
                <a:gd name="T51" fmla="*/ 480 h 511"/>
                <a:gd name="T52" fmla="*/ 126 w 131"/>
                <a:gd name="T53" fmla="*/ 453 h 511"/>
                <a:gd name="T54" fmla="*/ 118 w 131"/>
                <a:gd name="T55" fmla="*/ 426 h 511"/>
                <a:gd name="T56" fmla="*/ 117 w 131"/>
                <a:gd name="T57" fmla="*/ 413 h 511"/>
                <a:gd name="T58" fmla="*/ 116 w 131"/>
                <a:gd name="T59" fmla="*/ 384 h 511"/>
                <a:gd name="T60" fmla="*/ 121 w 131"/>
                <a:gd name="T61" fmla="*/ 299 h 511"/>
                <a:gd name="T62" fmla="*/ 123 w 131"/>
                <a:gd name="T63" fmla="*/ 256 h 511"/>
                <a:gd name="T64" fmla="*/ 118 w 131"/>
                <a:gd name="T65" fmla="*/ 229 h 511"/>
                <a:gd name="T66" fmla="*/ 110 w 131"/>
                <a:gd name="T67" fmla="*/ 204 h 511"/>
                <a:gd name="T68" fmla="*/ 104 w 131"/>
                <a:gd name="T69" fmla="*/ 191 h 511"/>
                <a:gd name="T70" fmla="*/ 97 w 131"/>
                <a:gd name="T71" fmla="*/ 145 h 511"/>
                <a:gd name="T72" fmla="*/ 80 w 131"/>
                <a:gd name="T73" fmla="*/ 81 h 511"/>
                <a:gd name="T74" fmla="*/ 73 w 131"/>
                <a:gd name="T75" fmla="*/ 37 h 511"/>
                <a:gd name="T76" fmla="*/ 73 w 131"/>
                <a:gd name="T77" fmla="*/ 16 h 511"/>
                <a:gd name="T78" fmla="*/ 62 w 131"/>
                <a:gd name="T79" fmla="*/ 3 h 511"/>
                <a:gd name="T80" fmla="*/ 47 w 131"/>
                <a:gd name="T81" fmla="*/ 0 h 511"/>
                <a:gd name="T82" fmla="*/ 30 w 131"/>
                <a:gd name="T83" fmla="*/ 2 h 511"/>
                <a:gd name="T84" fmla="*/ 15 w 131"/>
                <a:gd name="T85" fmla="*/ 7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" h="511">
                  <a:moveTo>
                    <a:pt x="15" y="7"/>
                  </a:moveTo>
                  <a:lnTo>
                    <a:pt x="15" y="7"/>
                  </a:lnTo>
                  <a:lnTo>
                    <a:pt x="9" y="12"/>
                  </a:lnTo>
                  <a:lnTo>
                    <a:pt x="3" y="17"/>
                  </a:lnTo>
                  <a:lnTo>
                    <a:pt x="2" y="23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10" y="77"/>
                  </a:lnTo>
                  <a:lnTo>
                    <a:pt x="16" y="93"/>
                  </a:lnTo>
                  <a:lnTo>
                    <a:pt x="22" y="110"/>
                  </a:lnTo>
                  <a:lnTo>
                    <a:pt x="25" y="126"/>
                  </a:lnTo>
                  <a:lnTo>
                    <a:pt x="27" y="143"/>
                  </a:lnTo>
                  <a:lnTo>
                    <a:pt x="30" y="160"/>
                  </a:lnTo>
                  <a:lnTo>
                    <a:pt x="32" y="195"/>
                  </a:lnTo>
                  <a:lnTo>
                    <a:pt x="33" y="266"/>
                  </a:lnTo>
                  <a:lnTo>
                    <a:pt x="36" y="301"/>
                  </a:lnTo>
                  <a:lnTo>
                    <a:pt x="39" y="335"/>
                  </a:lnTo>
                  <a:lnTo>
                    <a:pt x="39" y="335"/>
                  </a:lnTo>
                  <a:lnTo>
                    <a:pt x="44" y="343"/>
                  </a:lnTo>
                  <a:lnTo>
                    <a:pt x="46" y="352"/>
                  </a:lnTo>
                  <a:lnTo>
                    <a:pt x="46" y="360"/>
                  </a:lnTo>
                  <a:lnTo>
                    <a:pt x="43" y="369"/>
                  </a:lnTo>
                  <a:lnTo>
                    <a:pt x="40" y="377"/>
                  </a:lnTo>
                  <a:lnTo>
                    <a:pt x="39" y="387"/>
                  </a:lnTo>
                  <a:lnTo>
                    <a:pt x="37" y="39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43" y="416"/>
                  </a:lnTo>
                  <a:lnTo>
                    <a:pt x="44" y="426"/>
                  </a:lnTo>
                  <a:lnTo>
                    <a:pt x="46" y="436"/>
                  </a:lnTo>
                  <a:lnTo>
                    <a:pt x="46" y="446"/>
                  </a:lnTo>
                  <a:lnTo>
                    <a:pt x="46" y="467"/>
                  </a:lnTo>
                  <a:lnTo>
                    <a:pt x="46" y="477"/>
                  </a:lnTo>
                  <a:lnTo>
                    <a:pt x="47" y="487"/>
                  </a:lnTo>
                  <a:lnTo>
                    <a:pt x="47" y="487"/>
                  </a:lnTo>
                  <a:lnTo>
                    <a:pt x="53" y="494"/>
                  </a:lnTo>
                  <a:lnTo>
                    <a:pt x="59" y="501"/>
                  </a:lnTo>
                  <a:lnTo>
                    <a:pt x="66" y="505"/>
                  </a:lnTo>
                  <a:lnTo>
                    <a:pt x="74" y="510"/>
                  </a:lnTo>
                  <a:lnTo>
                    <a:pt x="83" y="511"/>
                  </a:lnTo>
                  <a:lnTo>
                    <a:pt x="93" y="511"/>
                  </a:lnTo>
                  <a:lnTo>
                    <a:pt x="103" y="511"/>
                  </a:lnTo>
                  <a:lnTo>
                    <a:pt x="113" y="508"/>
                  </a:lnTo>
                  <a:lnTo>
                    <a:pt x="113" y="508"/>
                  </a:lnTo>
                  <a:lnTo>
                    <a:pt x="118" y="505"/>
                  </a:lnTo>
                  <a:lnTo>
                    <a:pt x="124" y="501"/>
                  </a:lnTo>
                  <a:lnTo>
                    <a:pt x="127" y="497"/>
                  </a:lnTo>
                  <a:lnTo>
                    <a:pt x="130" y="491"/>
                  </a:lnTo>
                  <a:lnTo>
                    <a:pt x="131" y="485"/>
                  </a:lnTo>
                  <a:lnTo>
                    <a:pt x="131" y="480"/>
                  </a:lnTo>
                  <a:lnTo>
                    <a:pt x="130" y="467"/>
                  </a:lnTo>
                  <a:lnTo>
                    <a:pt x="126" y="453"/>
                  </a:lnTo>
                  <a:lnTo>
                    <a:pt x="123" y="439"/>
                  </a:lnTo>
                  <a:lnTo>
                    <a:pt x="118" y="426"/>
                  </a:lnTo>
                  <a:lnTo>
                    <a:pt x="117" y="413"/>
                  </a:lnTo>
                  <a:lnTo>
                    <a:pt x="117" y="413"/>
                  </a:lnTo>
                  <a:lnTo>
                    <a:pt x="116" y="399"/>
                  </a:lnTo>
                  <a:lnTo>
                    <a:pt x="116" y="384"/>
                  </a:lnTo>
                  <a:lnTo>
                    <a:pt x="117" y="356"/>
                  </a:lnTo>
                  <a:lnTo>
                    <a:pt x="121" y="299"/>
                  </a:lnTo>
                  <a:lnTo>
                    <a:pt x="123" y="271"/>
                  </a:lnTo>
                  <a:lnTo>
                    <a:pt x="123" y="256"/>
                  </a:lnTo>
                  <a:lnTo>
                    <a:pt x="121" y="244"/>
                  </a:lnTo>
                  <a:lnTo>
                    <a:pt x="118" y="229"/>
                  </a:lnTo>
                  <a:lnTo>
                    <a:pt x="116" y="217"/>
                  </a:lnTo>
                  <a:lnTo>
                    <a:pt x="110" y="204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1" y="168"/>
                  </a:lnTo>
                  <a:lnTo>
                    <a:pt x="97" y="145"/>
                  </a:lnTo>
                  <a:lnTo>
                    <a:pt x="86" y="103"/>
                  </a:lnTo>
                  <a:lnTo>
                    <a:pt x="80" y="81"/>
                  </a:lnTo>
                  <a:lnTo>
                    <a:pt x="76" y="60"/>
                  </a:lnTo>
                  <a:lnTo>
                    <a:pt x="73" y="37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67" y="9"/>
                  </a:lnTo>
                  <a:lnTo>
                    <a:pt x="62" y="3"/>
                  </a:lnTo>
                  <a:lnTo>
                    <a:pt x="54" y="2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0" y="2"/>
                  </a:lnTo>
                  <a:lnTo>
                    <a:pt x="22" y="5"/>
                  </a:lnTo>
                  <a:lnTo>
                    <a:pt x="15" y="7"/>
                  </a:lnTo>
                  <a:lnTo>
                    <a:pt x="15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375"/>
            <p:cNvSpPr>
              <a:spLocks/>
            </p:cNvSpPr>
            <p:nvPr/>
          </p:nvSpPr>
          <p:spPr bwMode="auto">
            <a:xfrm>
              <a:off x="6983" y="2462"/>
              <a:ext cx="57" cy="35"/>
            </a:xfrm>
            <a:custGeom>
              <a:avLst/>
              <a:gdLst>
                <a:gd name="T0" fmla="*/ 0 w 57"/>
                <a:gd name="T1" fmla="*/ 28 h 35"/>
                <a:gd name="T2" fmla="*/ 0 w 57"/>
                <a:gd name="T3" fmla="*/ 28 h 35"/>
                <a:gd name="T4" fmla="*/ 10 w 57"/>
                <a:gd name="T5" fmla="*/ 30 h 35"/>
                <a:gd name="T6" fmla="*/ 18 w 57"/>
                <a:gd name="T7" fmla="*/ 33 h 35"/>
                <a:gd name="T8" fmla="*/ 28 w 57"/>
                <a:gd name="T9" fmla="*/ 35 h 35"/>
                <a:gd name="T10" fmla="*/ 38 w 57"/>
                <a:gd name="T11" fmla="*/ 32 h 35"/>
                <a:gd name="T12" fmla="*/ 38 w 57"/>
                <a:gd name="T13" fmla="*/ 32 h 35"/>
                <a:gd name="T14" fmla="*/ 45 w 57"/>
                <a:gd name="T15" fmla="*/ 28 h 35"/>
                <a:gd name="T16" fmla="*/ 52 w 57"/>
                <a:gd name="T17" fmla="*/ 19 h 35"/>
                <a:gd name="T18" fmla="*/ 55 w 57"/>
                <a:gd name="T19" fmla="*/ 15 h 35"/>
                <a:gd name="T20" fmla="*/ 57 w 57"/>
                <a:gd name="T21" fmla="*/ 10 h 35"/>
                <a:gd name="T22" fmla="*/ 55 w 57"/>
                <a:gd name="T23" fmla="*/ 5 h 35"/>
                <a:gd name="T24" fmla="*/ 54 w 57"/>
                <a:gd name="T25" fmla="*/ 0 h 35"/>
                <a:gd name="T26" fmla="*/ 54 w 57"/>
                <a:gd name="T27" fmla="*/ 0 h 35"/>
                <a:gd name="T28" fmla="*/ 37 w 57"/>
                <a:gd name="T29" fmla="*/ 2 h 35"/>
                <a:gd name="T30" fmla="*/ 30 w 57"/>
                <a:gd name="T31" fmla="*/ 3 h 35"/>
                <a:gd name="T32" fmla="*/ 21 w 57"/>
                <a:gd name="T33" fmla="*/ 6 h 35"/>
                <a:gd name="T34" fmla="*/ 14 w 57"/>
                <a:gd name="T35" fmla="*/ 9 h 35"/>
                <a:gd name="T36" fmla="*/ 8 w 57"/>
                <a:gd name="T37" fmla="*/ 13 h 35"/>
                <a:gd name="T38" fmla="*/ 4 w 57"/>
                <a:gd name="T39" fmla="*/ 19 h 35"/>
                <a:gd name="T40" fmla="*/ 0 w 57"/>
                <a:gd name="T41" fmla="*/ 28 h 35"/>
                <a:gd name="T42" fmla="*/ 0 w 57"/>
                <a:gd name="T43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5">
                  <a:moveTo>
                    <a:pt x="0" y="28"/>
                  </a:moveTo>
                  <a:lnTo>
                    <a:pt x="0" y="28"/>
                  </a:lnTo>
                  <a:lnTo>
                    <a:pt x="10" y="30"/>
                  </a:lnTo>
                  <a:lnTo>
                    <a:pt x="18" y="33"/>
                  </a:lnTo>
                  <a:lnTo>
                    <a:pt x="28" y="35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5" y="28"/>
                  </a:lnTo>
                  <a:lnTo>
                    <a:pt x="52" y="19"/>
                  </a:lnTo>
                  <a:lnTo>
                    <a:pt x="55" y="15"/>
                  </a:lnTo>
                  <a:lnTo>
                    <a:pt x="57" y="10"/>
                  </a:lnTo>
                  <a:lnTo>
                    <a:pt x="55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8" y="13"/>
                  </a:lnTo>
                  <a:lnTo>
                    <a:pt x="4" y="19"/>
                  </a:lnTo>
                  <a:lnTo>
                    <a:pt x="0" y="28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376"/>
            <p:cNvSpPr>
              <a:spLocks/>
            </p:cNvSpPr>
            <p:nvPr/>
          </p:nvSpPr>
          <p:spPr bwMode="auto">
            <a:xfrm>
              <a:off x="6205" y="2532"/>
              <a:ext cx="251" cy="340"/>
            </a:xfrm>
            <a:custGeom>
              <a:avLst/>
              <a:gdLst>
                <a:gd name="T0" fmla="*/ 207 w 251"/>
                <a:gd name="T1" fmla="*/ 6 h 340"/>
                <a:gd name="T2" fmla="*/ 180 w 251"/>
                <a:gd name="T3" fmla="*/ 2 h 340"/>
                <a:gd name="T4" fmla="*/ 156 w 251"/>
                <a:gd name="T5" fmla="*/ 2 h 340"/>
                <a:gd name="T6" fmla="*/ 133 w 251"/>
                <a:gd name="T7" fmla="*/ 6 h 340"/>
                <a:gd name="T8" fmla="*/ 110 w 251"/>
                <a:gd name="T9" fmla="*/ 16 h 340"/>
                <a:gd name="T10" fmla="*/ 69 w 251"/>
                <a:gd name="T11" fmla="*/ 39 h 340"/>
                <a:gd name="T12" fmla="*/ 28 w 251"/>
                <a:gd name="T13" fmla="*/ 64 h 340"/>
                <a:gd name="T14" fmla="*/ 21 w 251"/>
                <a:gd name="T15" fmla="*/ 73 h 340"/>
                <a:gd name="T16" fmla="*/ 9 w 251"/>
                <a:gd name="T17" fmla="*/ 88 h 340"/>
                <a:gd name="T18" fmla="*/ 4 w 251"/>
                <a:gd name="T19" fmla="*/ 107 h 340"/>
                <a:gd name="T20" fmla="*/ 0 w 251"/>
                <a:gd name="T21" fmla="*/ 137 h 340"/>
                <a:gd name="T22" fmla="*/ 1 w 251"/>
                <a:gd name="T23" fmla="*/ 181 h 340"/>
                <a:gd name="T24" fmla="*/ 2 w 251"/>
                <a:gd name="T25" fmla="*/ 224 h 340"/>
                <a:gd name="T26" fmla="*/ 5 w 251"/>
                <a:gd name="T27" fmla="*/ 235 h 340"/>
                <a:gd name="T28" fmla="*/ 7 w 251"/>
                <a:gd name="T29" fmla="*/ 273 h 340"/>
                <a:gd name="T30" fmla="*/ 11 w 251"/>
                <a:gd name="T31" fmla="*/ 296 h 340"/>
                <a:gd name="T32" fmla="*/ 19 w 251"/>
                <a:gd name="T33" fmla="*/ 312 h 340"/>
                <a:gd name="T34" fmla="*/ 24 w 251"/>
                <a:gd name="T35" fmla="*/ 317 h 340"/>
                <a:gd name="T36" fmla="*/ 42 w 251"/>
                <a:gd name="T37" fmla="*/ 327 h 340"/>
                <a:gd name="T38" fmla="*/ 62 w 251"/>
                <a:gd name="T39" fmla="*/ 334 h 340"/>
                <a:gd name="T40" fmla="*/ 106 w 251"/>
                <a:gd name="T41" fmla="*/ 340 h 340"/>
                <a:gd name="T42" fmla="*/ 153 w 251"/>
                <a:gd name="T43" fmla="*/ 339 h 340"/>
                <a:gd name="T44" fmla="*/ 197 w 251"/>
                <a:gd name="T45" fmla="*/ 332 h 340"/>
                <a:gd name="T46" fmla="*/ 211 w 251"/>
                <a:gd name="T47" fmla="*/ 327 h 340"/>
                <a:gd name="T48" fmla="*/ 237 w 251"/>
                <a:gd name="T49" fmla="*/ 313 h 340"/>
                <a:gd name="T50" fmla="*/ 248 w 251"/>
                <a:gd name="T51" fmla="*/ 305 h 340"/>
                <a:gd name="T52" fmla="*/ 251 w 251"/>
                <a:gd name="T53" fmla="*/ 293 h 340"/>
                <a:gd name="T54" fmla="*/ 247 w 251"/>
                <a:gd name="T55" fmla="*/ 285 h 340"/>
                <a:gd name="T56" fmla="*/ 244 w 251"/>
                <a:gd name="T57" fmla="*/ 283 h 340"/>
                <a:gd name="T58" fmla="*/ 207 w 251"/>
                <a:gd name="T59" fmla="*/ 285 h 340"/>
                <a:gd name="T60" fmla="*/ 173 w 251"/>
                <a:gd name="T61" fmla="*/ 293 h 340"/>
                <a:gd name="T62" fmla="*/ 162 w 251"/>
                <a:gd name="T63" fmla="*/ 296 h 340"/>
                <a:gd name="T64" fmla="*/ 139 w 251"/>
                <a:gd name="T65" fmla="*/ 296 h 340"/>
                <a:gd name="T66" fmla="*/ 118 w 251"/>
                <a:gd name="T67" fmla="*/ 292 h 340"/>
                <a:gd name="T68" fmla="*/ 98 w 251"/>
                <a:gd name="T69" fmla="*/ 283 h 340"/>
                <a:gd name="T70" fmla="*/ 88 w 251"/>
                <a:gd name="T71" fmla="*/ 278 h 340"/>
                <a:gd name="T72" fmla="*/ 78 w 251"/>
                <a:gd name="T73" fmla="*/ 259 h 340"/>
                <a:gd name="T74" fmla="*/ 75 w 251"/>
                <a:gd name="T75" fmla="*/ 243 h 340"/>
                <a:gd name="T76" fmla="*/ 76 w 251"/>
                <a:gd name="T77" fmla="*/ 238 h 340"/>
                <a:gd name="T78" fmla="*/ 75 w 251"/>
                <a:gd name="T79" fmla="*/ 194 h 340"/>
                <a:gd name="T80" fmla="*/ 72 w 251"/>
                <a:gd name="T81" fmla="*/ 148 h 340"/>
                <a:gd name="T82" fmla="*/ 74 w 251"/>
                <a:gd name="T83" fmla="*/ 115 h 340"/>
                <a:gd name="T84" fmla="*/ 79 w 251"/>
                <a:gd name="T85" fmla="*/ 95 h 340"/>
                <a:gd name="T86" fmla="*/ 89 w 251"/>
                <a:gd name="T87" fmla="*/ 77 h 340"/>
                <a:gd name="T88" fmla="*/ 96 w 251"/>
                <a:gd name="T89" fmla="*/ 68 h 340"/>
                <a:gd name="T90" fmla="*/ 103 w 251"/>
                <a:gd name="T91" fmla="*/ 60 h 340"/>
                <a:gd name="T92" fmla="*/ 123 w 251"/>
                <a:gd name="T93" fmla="*/ 51 h 340"/>
                <a:gd name="T94" fmla="*/ 145 w 251"/>
                <a:gd name="T95" fmla="*/ 47 h 340"/>
                <a:gd name="T96" fmla="*/ 166 w 251"/>
                <a:gd name="T97" fmla="*/ 39 h 340"/>
                <a:gd name="T98" fmla="*/ 173 w 251"/>
                <a:gd name="T99" fmla="*/ 31 h 340"/>
                <a:gd name="T100" fmla="*/ 179 w 251"/>
                <a:gd name="T101" fmla="*/ 29 h 340"/>
                <a:gd name="T102" fmla="*/ 199 w 251"/>
                <a:gd name="T103" fmla="*/ 31 h 340"/>
                <a:gd name="T104" fmla="*/ 209 w 251"/>
                <a:gd name="T105" fmla="*/ 30 h 340"/>
                <a:gd name="T106" fmla="*/ 213 w 251"/>
                <a:gd name="T107" fmla="*/ 27 h 340"/>
                <a:gd name="T108" fmla="*/ 207 w 251"/>
                <a:gd name="T109" fmla="*/ 6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1" h="340">
                  <a:moveTo>
                    <a:pt x="207" y="6"/>
                  </a:moveTo>
                  <a:lnTo>
                    <a:pt x="207" y="6"/>
                  </a:lnTo>
                  <a:lnTo>
                    <a:pt x="193" y="3"/>
                  </a:lnTo>
                  <a:lnTo>
                    <a:pt x="180" y="2"/>
                  </a:lnTo>
                  <a:lnTo>
                    <a:pt x="167" y="0"/>
                  </a:lnTo>
                  <a:lnTo>
                    <a:pt x="156" y="2"/>
                  </a:lnTo>
                  <a:lnTo>
                    <a:pt x="145" y="3"/>
                  </a:lnTo>
                  <a:lnTo>
                    <a:pt x="133" y="6"/>
                  </a:lnTo>
                  <a:lnTo>
                    <a:pt x="122" y="10"/>
                  </a:lnTo>
                  <a:lnTo>
                    <a:pt x="110" y="16"/>
                  </a:lnTo>
                  <a:lnTo>
                    <a:pt x="89" y="26"/>
                  </a:lnTo>
                  <a:lnTo>
                    <a:pt x="69" y="39"/>
                  </a:lnTo>
                  <a:lnTo>
                    <a:pt x="49" y="5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1" y="73"/>
                  </a:lnTo>
                  <a:lnTo>
                    <a:pt x="15" y="80"/>
                  </a:lnTo>
                  <a:lnTo>
                    <a:pt x="9" y="88"/>
                  </a:lnTo>
                  <a:lnTo>
                    <a:pt x="7" y="98"/>
                  </a:lnTo>
                  <a:lnTo>
                    <a:pt x="4" y="107"/>
                  </a:lnTo>
                  <a:lnTo>
                    <a:pt x="1" y="117"/>
                  </a:lnTo>
                  <a:lnTo>
                    <a:pt x="0" y="137"/>
                  </a:lnTo>
                  <a:lnTo>
                    <a:pt x="1" y="158"/>
                  </a:lnTo>
                  <a:lnTo>
                    <a:pt x="1" y="181"/>
                  </a:lnTo>
                  <a:lnTo>
                    <a:pt x="2" y="202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5" y="235"/>
                  </a:lnTo>
                  <a:lnTo>
                    <a:pt x="7" y="248"/>
                  </a:lnTo>
                  <a:lnTo>
                    <a:pt x="7" y="273"/>
                  </a:lnTo>
                  <a:lnTo>
                    <a:pt x="8" y="285"/>
                  </a:lnTo>
                  <a:lnTo>
                    <a:pt x="11" y="296"/>
                  </a:lnTo>
                  <a:lnTo>
                    <a:pt x="15" y="307"/>
                  </a:lnTo>
                  <a:lnTo>
                    <a:pt x="19" y="312"/>
                  </a:lnTo>
                  <a:lnTo>
                    <a:pt x="24" y="317"/>
                  </a:lnTo>
                  <a:lnTo>
                    <a:pt x="24" y="317"/>
                  </a:lnTo>
                  <a:lnTo>
                    <a:pt x="32" y="323"/>
                  </a:lnTo>
                  <a:lnTo>
                    <a:pt x="42" y="327"/>
                  </a:lnTo>
                  <a:lnTo>
                    <a:pt x="51" y="332"/>
                  </a:lnTo>
                  <a:lnTo>
                    <a:pt x="62" y="334"/>
                  </a:lnTo>
                  <a:lnTo>
                    <a:pt x="83" y="339"/>
                  </a:lnTo>
                  <a:lnTo>
                    <a:pt x="106" y="340"/>
                  </a:lnTo>
                  <a:lnTo>
                    <a:pt x="130" y="340"/>
                  </a:lnTo>
                  <a:lnTo>
                    <a:pt x="153" y="339"/>
                  </a:lnTo>
                  <a:lnTo>
                    <a:pt x="176" y="336"/>
                  </a:lnTo>
                  <a:lnTo>
                    <a:pt x="197" y="332"/>
                  </a:lnTo>
                  <a:lnTo>
                    <a:pt x="197" y="332"/>
                  </a:lnTo>
                  <a:lnTo>
                    <a:pt x="211" y="327"/>
                  </a:lnTo>
                  <a:lnTo>
                    <a:pt x="224" y="320"/>
                  </a:lnTo>
                  <a:lnTo>
                    <a:pt x="237" y="313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51" y="299"/>
                  </a:lnTo>
                  <a:lnTo>
                    <a:pt x="251" y="293"/>
                  </a:lnTo>
                  <a:lnTo>
                    <a:pt x="250" y="288"/>
                  </a:lnTo>
                  <a:lnTo>
                    <a:pt x="247" y="285"/>
                  </a:lnTo>
                  <a:lnTo>
                    <a:pt x="244" y="283"/>
                  </a:lnTo>
                  <a:lnTo>
                    <a:pt x="244" y="283"/>
                  </a:lnTo>
                  <a:lnTo>
                    <a:pt x="226" y="283"/>
                  </a:lnTo>
                  <a:lnTo>
                    <a:pt x="207" y="285"/>
                  </a:lnTo>
                  <a:lnTo>
                    <a:pt x="190" y="288"/>
                  </a:lnTo>
                  <a:lnTo>
                    <a:pt x="173" y="293"/>
                  </a:lnTo>
                  <a:lnTo>
                    <a:pt x="173" y="293"/>
                  </a:lnTo>
                  <a:lnTo>
                    <a:pt x="162" y="296"/>
                  </a:lnTo>
                  <a:lnTo>
                    <a:pt x="150" y="296"/>
                  </a:lnTo>
                  <a:lnTo>
                    <a:pt x="139" y="296"/>
                  </a:lnTo>
                  <a:lnTo>
                    <a:pt x="128" y="295"/>
                  </a:lnTo>
                  <a:lnTo>
                    <a:pt x="118" y="292"/>
                  </a:lnTo>
                  <a:lnTo>
                    <a:pt x="108" y="288"/>
                  </a:lnTo>
                  <a:lnTo>
                    <a:pt x="98" y="283"/>
                  </a:lnTo>
                  <a:lnTo>
                    <a:pt x="88" y="278"/>
                  </a:lnTo>
                  <a:lnTo>
                    <a:pt x="88" y="278"/>
                  </a:lnTo>
                  <a:lnTo>
                    <a:pt x="82" y="269"/>
                  </a:lnTo>
                  <a:lnTo>
                    <a:pt x="78" y="259"/>
                  </a:lnTo>
                  <a:lnTo>
                    <a:pt x="75" y="249"/>
                  </a:lnTo>
                  <a:lnTo>
                    <a:pt x="75" y="243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6" y="216"/>
                  </a:lnTo>
                  <a:lnTo>
                    <a:pt x="75" y="194"/>
                  </a:lnTo>
                  <a:lnTo>
                    <a:pt x="74" y="171"/>
                  </a:lnTo>
                  <a:lnTo>
                    <a:pt x="72" y="148"/>
                  </a:lnTo>
                  <a:lnTo>
                    <a:pt x="74" y="125"/>
                  </a:lnTo>
                  <a:lnTo>
                    <a:pt x="74" y="115"/>
                  </a:lnTo>
                  <a:lnTo>
                    <a:pt x="76" y="105"/>
                  </a:lnTo>
                  <a:lnTo>
                    <a:pt x="79" y="95"/>
                  </a:lnTo>
                  <a:lnTo>
                    <a:pt x="83" y="86"/>
                  </a:lnTo>
                  <a:lnTo>
                    <a:pt x="89" y="77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101" y="64"/>
                  </a:lnTo>
                  <a:lnTo>
                    <a:pt x="103" y="60"/>
                  </a:lnTo>
                  <a:lnTo>
                    <a:pt x="113" y="54"/>
                  </a:lnTo>
                  <a:lnTo>
                    <a:pt x="123" y="51"/>
                  </a:lnTo>
                  <a:lnTo>
                    <a:pt x="135" y="49"/>
                  </a:lnTo>
                  <a:lnTo>
                    <a:pt x="145" y="47"/>
                  </a:lnTo>
                  <a:lnTo>
                    <a:pt x="156" y="44"/>
                  </a:lnTo>
                  <a:lnTo>
                    <a:pt x="166" y="39"/>
                  </a:lnTo>
                  <a:lnTo>
                    <a:pt x="170" y="36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9" y="29"/>
                  </a:lnTo>
                  <a:lnTo>
                    <a:pt x="186" y="29"/>
                  </a:lnTo>
                  <a:lnTo>
                    <a:pt x="199" y="31"/>
                  </a:lnTo>
                  <a:lnTo>
                    <a:pt x="204" y="31"/>
                  </a:lnTo>
                  <a:lnTo>
                    <a:pt x="209" y="30"/>
                  </a:lnTo>
                  <a:lnTo>
                    <a:pt x="211" y="29"/>
                  </a:lnTo>
                  <a:lnTo>
                    <a:pt x="213" y="27"/>
                  </a:lnTo>
                  <a:lnTo>
                    <a:pt x="213" y="19"/>
                  </a:lnTo>
                  <a:lnTo>
                    <a:pt x="207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377"/>
            <p:cNvSpPr>
              <a:spLocks/>
            </p:cNvSpPr>
            <p:nvPr/>
          </p:nvSpPr>
          <p:spPr bwMode="auto">
            <a:xfrm>
              <a:off x="6930" y="2569"/>
              <a:ext cx="110" cy="295"/>
            </a:xfrm>
            <a:custGeom>
              <a:avLst/>
              <a:gdLst>
                <a:gd name="T0" fmla="*/ 73 w 110"/>
                <a:gd name="T1" fmla="*/ 0 h 295"/>
                <a:gd name="T2" fmla="*/ 73 w 110"/>
                <a:gd name="T3" fmla="*/ 0 h 295"/>
                <a:gd name="T4" fmla="*/ 67 w 110"/>
                <a:gd name="T5" fmla="*/ 2 h 295"/>
                <a:gd name="T6" fmla="*/ 61 w 110"/>
                <a:gd name="T7" fmla="*/ 4 h 295"/>
                <a:gd name="T8" fmla="*/ 57 w 110"/>
                <a:gd name="T9" fmla="*/ 7 h 295"/>
                <a:gd name="T10" fmla="*/ 54 w 110"/>
                <a:gd name="T11" fmla="*/ 12 h 295"/>
                <a:gd name="T12" fmla="*/ 48 w 110"/>
                <a:gd name="T13" fmla="*/ 20 h 295"/>
                <a:gd name="T14" fmla="*/ 43 w 110"/>
                <a:gd name="T15" fmla="*/ 30 h 295"/>
                <a:gd name="T16" fmla="*/ 43 w 110"/>
                <a:gd name="T17" fmla="*/ 30 h 295"/>
                <a:gd name="T18" fmla="*/ 44 w 110"/>
                <a:gd name="T19" fmla="*/ 57 h 295"/>
                <a:gd name="T20" fmla="*/ 41 w 110"/>
                <a:gd name="T21" fmla="*/ 83 h 295"/>
                <a:gd name="T22" fmla="*/ 37 w 110"/>
                <a:gd name="T23" fmla="*/ 108 h 295"/>
                <a:gd name="T24" fmla="*/ 33 w 110"/>
                <a:gd name="T25" fmla="*/ 132 h 295"/>
                <a:gd name="T26" fmla="*/ 26 w 110"/>
                <a:gd name="T27" fmla="*/ 157 h 295"/>
                <a:gd name="T28" fmla="*/ 17 w 110"/>
                <a:gd name="T29" fmla="*/ 181 h 295"/>
                <a:gd name="T30" fmla="*/ 0 w 110"/>
                <a:gd name="T31" fmla="*/ 225 h 295"/>
                <a:gd name="T32" fmla="*/ 0 w 110"/>
                <a:gd name="T33" fmla="*/ 225 h 295"/>
                <a:gd name="T34" fmla="*/ 3 w 110"/>
                <a:gd name="T35" fmla="*/ 245 h 295"/>
                <a:gd name="T36" fmla="*/ 7 w 110"/>
                <a:gd name="T37" fmla="*/ 265 h 295"/>
                <a:gd name="T38" fmla="*/ 11 w 110"/>
                <a:gd name="T39" fmla="*/ 273 h 295"/>
                <a:gd name="T40" fmla="*/ 16 w 110"/>
                <a:gd name="T41" fmla="*/ 280 h 295"/>
                <a:gd name="T42" fmla="*/ 21 w 110"/>
                <a:gd name="T43" fmla="*/ 288 h 295"/>
                <a:gd name="T44" fmla="*/ 28 w 110"/>
                <a:gd name="T45" fmla="*/ 292 h 295"/>
                <a:gd name="T46" fmla="*/ 28 w 110"/>
                <a:gd name="T47" fmla="*/ 292 h 295"/>
                <a:gd name="T48" fmla="*/ 36 w 110"/>
                <a:gd name="T49" fmla="*/ 295 h 295"/>
                <a:gd name="T50" fmla="*/ 44 w 110"/>
                <a:gd name="T51" fmla="*/ 295 h 295"/>
                <a:gd name="T52" fmla="*/ 51 w 110"/>
                <a:gd name="T53" fmla="*/ 295 h 295"/>
                <a:gd name="T54" fmla="*/ 58 w 110"/>
                <a:gd name="T55" fmla="*/ 293 h 295"/>
                <a:gd name="T56" fmla="*/ 65 w 110"/>
                <a:gd name="T57" fmla="*/ 290 h 295"/>
                <a:gd name="T58" fmla="*/ 71 w 110"/>
                <a:gd name="T59" fmla="*/ 286 h 295"/>
                <a:gd name="T60" fmla="*/ 77 w 110"/>
                <a:gd name="T61" fmla="*/ 282 h 295"/>
                <a:gd name="T62" fmla="*/ 81 w 110"/>
                <a:gd name="T63" fmla="*/ 276 h 295"/>
                <a:gd name="T64" fmla="*/ 81 w 110"/>
                <a:gd name="T65" fmla="*/ 276 h 295"/>
                <a:gd name="T66" fmla="*/ 83 w 110"/>
                <a:gd name="T67" fmla="*/ 270 h 295"/>
                <a:gd name="T68" fmla="*/ 84 w 110"/>
                <a:gd name="T69" fmla="*/ 266 h 295"/>
                <a:gd name="T70" fmla="*/ 84 w 110"/>
                <a:gd name="T71" fmla="*/ 262 h 295"/>
                <a:gd name="T72" fmla="*/ 84 w 110"/>
                <a:gd name="T73" fmla="*/ 258 h 295"/>
                <a:gd name="T74" fmla="*/ 81 w 110"/>
                <a:gd name="T75" fmla="*/ 249 h 295"/>
                <a:gd name="T76" fmla="*/ 77 w 110"/>
                <a:gd name="T77" fmla="*/ 242 h 295"/>
                <a:gd name="T78" fmla="*/ 71 w 110"/>
                <a:gd name="T79" fmla="*/ 235 h 295"/>
                <a:gd name="T80" fmla="*/ 68 w 110"/>
                <a:gd name="T81" fmla="*/ 226 h 295"/>
                <a:gd name="T82" fmla="*/ 67 w 110"/>
                <a:gd name="T83" fmla="*/ 222 h 295"/>
                <a:gd name="T84" fmla="*/ 67 w 110"/>
                <a:gd name="T85" fmla="*/ 218 h 295"/>
                <a:gd name="T86" fmla="*/ 68 w 110"/>
                <a:gd name="T87" fmla="*/ 214 h 295"/>
                <a:gd name="T88" fmla="*/ 70 w 110"/>
                <a:gd name="T89" fmla="*/ 209 h 295"/>
                <a:gd name="T90" fmla="*/ 70 w 110"/>
                <a:gd name="T91" fmla="*/ 209 h 295"/>
                <a:gd name="T92" fmla="*/ 81 w 110"/>
                <a:gd name="T93" fmla="*/ 188 h 295"/>
                <a:gd name="T94" fmla="*/ 90 w 110"/>
                <a:gd name="T95" fmla="*/ 167 h 295"/>
                <a:gd name="T96" fmla="*/ 98 w 110"/>
                <a:gd name="T97" fmla="*/ 145 h 295"/>
                <a:gd name="T98" fmla="*/ 102 w 110"/>
                <a:gd name="T99" fmla="*/ 122 h 295"/>
                <a:gd name="T100" fmla="*/ 107 w 110"/>
                <a:gd name="T101" fmla="*/ 98 h 295"/>
                <a:gd name="T102" fmla="*/ 110 w 110"/>
                <a:gd name="T103" fmla="*/ 74 h 295"/>
                <a:gd name="T104" fmla="*/ 110 w 110"/>
                <a:gd name="T105" fmla="*/ 50 h 295"/>
                <a:gd name="T106" fmla="*/ 108 w 110"/>
                <a:gd name="T107" fmla="*/ 24 h 295"/>
                <a:gd name="T108" fmla="*/ 108 w 110"/>
                <a:gd name="T109" fmla="*/ 24 h 295"/>
                <a:gd name="T110" fmla="*/ 105 w 110"/>
                <a:gd name="T111" fmla="*/ 17 h 295"/>
                <a:gd name="T112" fmla="*/ 102 w 110"/>
                <a:gd name="T113" fmla="*/ 13 h 295"/>
                <a:gd name="T114" fmla="*/ 100 w 110"/>
                <a:gd name="T115" fmla="*/ 9 h 295"/>
                <a:gd name="T116" fmla="*/ 95 w 110"/>
                <a:gd name="T117" fmla="*/ 6 h 295"/>
                <a:gd name="T118" fmla="*/ 90 w 110"/>
                <a:gd name="T119" fmla="*/ 3 h 295"/>
                <a:gd name="T120" fmla="*/ 84 w 110"/>
                <a:gd name="T121" fmla="*/ 2 h 295"/>
                <a:gd name="T122" fmla="*/ 73 w 110"/>
                <a:gd name="T123" fmla="*/ 0 h 295"/>
                <a:gd name="T124" fmla="*/ 73 w 110"/>
                <a:gd name="T125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0" h="295">
                  <a:moveTo>
                    <a:pt x="73" y="0"/>
                  </a:moveTo>
                  <a:lnTo>
                    <a:pt x="73" y="0"/>
                  </a:lnTo>
                  <a:lnTo>
                    <a:pt x="67" y="2"/>
                  </a:lnTo>
                  <a:lnTo>
                    <a:pt x="61" y="4"/>
                  </a:lnTo>
                  <a:lnTo>
                    <a:pt x="57" y="7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4" y="57"/>
                  </a:lnTo>
                  <a:lnTo>
                    <a:pt x="41" y="83"/>
                  </a:lnTo>
                  <a:lnTo>
                    <a:pt x="37" y="108"/>
                  </a:lnTo>
                  <a:lnTo>
                    <a:pt x="33" y="132"/>
                  </a:lnTo>
                  <a:lnTo>
                    <a:pt x="26" y="157"/>
                  </a:lnTo>
                  <a:lnTo>
                    <a:pt x="17" y="181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3" y="245"/>
                  </a:lnTo>
                  <a:lnTo>
                    <a:pt x="7" y="265"/>
                  </a:lnTo>
                  <a:lnTo>
                    <a:pt x="11" y="273"/>
                  </a:lnTo>
                  <a:lnTo>
                    <a:pt x="16" y="280"/>
                  </a:lnTo>
                  <a:lnTo>
                    <a:pt x="21" y="288"/>
                  </a:lnTo>
                  <a:lnTo>
                    <a:pt x="28" y="292"/>
                  </a:lnTo>
                  <a:lnTo>
                    <a:pt x="28" y="292"/>
                  </a:lnTo>
                  <a:lnTo>
                    <a:pt x="36" y="295"/>
                  </a:lnTo>
                  <a:lnTo>
                    <a:pt x="44" y="295"/>
                  </a:lnTo>
                  <a:lnTo>
                    <a:pt x="51" y="295"/>
                  </a:lnTo>
                  <a:lnTo>
                    <a:pt x="58" y="293"/>
                  </a:lnTo>
                  <a:lnTo>
                    <a:pt x="65" y="290"/>
                  </a:lnTo>
                  <a:lnTo>
                    <a:pt x="71" y="286"/>
                  </a:lnTo>
                  <a:lnTo>
                    <a:pt x="77" y="282"/>
                  </a:lnTo>
                  <a:lnTo>
                    <a:pt x="81" y="276"/>
                  </a:lnTo>
                  <a:lnTo>
                    <a:pt x="81" y="276"/>
                  </a:lnTo>
                  <a:lnTo>
                    <a:pt x="83" y="270"/>
                  </a:lnTo>
                  <a:lnTo>
                    <a:pt x="84" y="266"/>
                  </a:lnTo>
                  <a:lnTo>
                    <a:pt x="84" y="262"/>
                  </a:lnTo>
                  <a:lnTo>
                    <a:pt x="84" y="258"/>
                  </a:lnTo>
                  <a:lnTo>
                    <a:pt x="81" y="249"/>
                  </a:lnTo>
                  <a:lnTo>
                    <a:pt x="77" y="242"/>
                  </a:lnTo>
                  <a:lnTo>
                    <a:pt x="71" y="235"/>
                  </a:lnTo>
                  <a:lnTo>
                    <a:pt x="68" y="226"/>
                  </a:lnTo>
                  <a:lnTo>
                    <a:pt x="67" y="222"/>
                  </a:lnTo>
                  <a:lnTo>
                    <a:pt x="67" y="218"/>
                  </a:lnTo>
                  <a:lnTo>
                    <a:pt x="68" y="214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81" y="188"/>
                  </a:lnTo>
                  <a:lnTo>
                    <a:pt x="90" y="167"/>
                  </a:lnTo>
                  <a:lnTo>
                    <a:pt x="98" y="145"/>
                  </a:lnTo>
                  <a:lnTo>
                    <a:pt x="102" y="122"/>
                  </a:lnTo>
                  <a:lnTo>
                    <a:pt x="107" y="98"/>
                  </a:lnTo>
                  <a:lnTo>
                    <a:pt x="110" y="74"/>
                  </a:lnTo>
                  <a:lnTo>
                    <a:pt x="110" y="50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5" y="17"/>
                  </a:lnTo>
                  <a:lnTo>
                    <a:pt x="102" y="13"/>
                  </a:lnTo>
                  <a:lnTo>
                    <a:pt x="100" y="9"/>
                  </a:lnTo>
                  <a:lnTo>
                    <a:pt x="95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3" y="0"/>
                  </a:lnTo>
                  <a:lnTo>
                    <a:pt x="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378"/>
            <p:cNvSpPr>
              <a:spLocks/>
            </p:cNvSpPr>
            <p:nvPr/>
          </p:nvSpPr>
          <p:spPr bwMode="auto">
            <a:xfrm>
              <a:off x="7382" y="2317"/>
              <a:ext cx="375" cy="548"/>
            </a:xfrm>
            <a:custGeom>
              <a:avLst/>
              <a:gdLst>
                <a:gd name="T0" fmla="*/ 306 w 375"/>
                <a:gd name="T1" fmla="*/ 3 h 548"/>
                <a:gd name="T2" fmla="*/ 296 w 375"/>
                <a:gd name="T3" fmla="*/ 17 h 548"/>
                <a:gd name="T4" fmla="*/ 292 w 375"/>
                <a:gd name="T5" fmla="*/ 63 h 548"/>
                <a:gd name="T6" fmla="*/ 303 w 375"/>
                <a:gd name="T7" fmla="*/ 214 h 548"/>
                <a:gd name="T8" fmla="*/ 305 w 375"/>
                <a:gd name="T9" fmla="*/ 323 h 548"/>
                <a:gd name="T10" fmla="*/ 295 w 375"/>
                <a:gd name="T11" fmla="*/ 329 h 548"/>
                <a:gd name="T12" fmla="*/ 284 w 375"/>
                <a:gd name="T13" fmla="*/ 325 h 548"/>
                <a:gd name="T14" fmla="*/ 239 w 375"/>
                <a:gd name="T15" fmla="*/ 278 h 548"/>
                <a:gd name="T16" fmla="*/ 235 w 375"/>
                <a:gd name="T17" fmla="*/ 268 h 548"/>
                <a:gd name="T18" fmla="*/ 215 w 375"/>
                <a:gd name="T19" fmla="*/ 258 h 548"/>
                <a:gd name="T20" fmla="*/ 184 w 375"/>
                <a:gd name="T21" fmla="*/ 255 h 548"/>
                <a:gd name="T22" fmla="*/ 167 w 375"/>
                <a:gd name="T23" fmla="*/ 264 h 548"/>
                <a:gd name="T24" fmla="*/ 130 w 375"/>
                <a:gd name="T25" fmla="*/ 268 h 548"/>
                <a:gd name="T26" fmla="*/ 87 w 375"/>
                <a:gd name="T27" fmla="*/ 279 h 548"/>
                <a:gd name="T28" fmla="*/ 27 w 375"/>
                <a:gd name="T29" fmla="*/ 309 h 548"/>
                <a:gd name="T30" fmla="*/ 8 w 375"/>
                <a:gd name="T31" fmla="*/ 363 h 548"/>
                <a:gd name="T32" fmla="*/ 0 w 375"/>
                <a:gd name="T33" fmla="*/ 409 h 548"/>
                <a:gd name="T34" fmla="*/ 6 w 375"/>
                <a:gd name="T35" fmla="*/ 441 h 548"/>
                <a:gd name="T36" fmla="*/ 25 w 375"/>
                <a:gd name="T37" fmla="*/ 480 h 548"/>
                <a:gd name="T38" fmla="*/ 29 w 375"/>
                <a:gd name="T39" fmla="*/ 495 h 548"/>
                <a:gd name="T40" fmla="*/ 40 w 375"/>
                <a:gd name="T41" fmla="*/ 505 h 548"/>
                <a:gd name="T42" fmla="*/ 60 w 375"/>
                <a:gd name="T43" fmla="*/ 508 h 548"/>
                <a:gd name="T44" fmla="*/ 133 w 375"/>
                <a:gd name="T45" fmla="*/ 541 h 548"/>
                <a:gd name="T46" fmla="*/ 192 w 375"/>
                <a:gd name="T47" fmla="*/ 548 h 548"/>
                <a:gd name="T48" fmla="*/ 222 w 375"/>
                <a:gd name="T49" fmla="*/ 544 h 548"/>
                <a:gd name="T50" fmla="*/ 241 w 375"/>
                <a:gd name="T51" fmla="*/ 532 h 548"/>
                <a:gd name="T52" fmla="*/ 261 w 375"/>
                <a:gd name="T53" fmla="*/ 508 h 548"/>
                <a:gd name="T54" fmla="*/ 278 w 375"/>
                <a:gd name="T55" fmla="*/ 508 h 548"/>
                <a:gd name="T56" fmla="*/ 301 w 375"/>
                <a:gd name="T57" fmla="*/ 522 h 548"/>
                <a:gd name="T58" fmla="*/ 325 w 375"/>
                <a:gd name="T59" fmla="*/ 544 h 548"/>
                <a:gd name="T60" fmla="*/ 336 w 375"/>
                <a:gd name="T61" fmla="*/ 547 h 548"/>
                <a:gd name="T62" fmla="*/ 363 w 375"/>
                <a:gd name="T63" fmla="*/ 538 h 548"/>
                <a:gd name="T64" fmla="*/ 375 w 375"/>
                <a:gd name="T65" fmla="*/ 525 h 548"/>
                <a:gd name="T66" fmla="*/ 370 w 375"/>
                <a:gd name="T67" fmla="*/ 504 h 548"/>
                <a:gd name="T68" fmla="*/ 356 w 375"/>
                <a:gd name="T69" fmla="*/ 464 h 548"/>
                <a:gd name="T70" fmla="*/ 355 w 375"/>
                <a:gd name="T71" fmla="*/ 443 h 548"/>
                <a:gd name="T72" fmla="*/ 365 w 375"/>
                <a:gd name="T73" fmla="*/ 325 h 548"/>
                <a:gd name="T74" fmla="*/ 363 w 375"/>
                <a:gd name="T75" fmla="*/ 204 h 548"/>
                <a:gd name="T76" fmla="*/ 356 w 375"/>
                <a:gd name="T77" fmla="*/ 126 h 548"/>
                <a:gd name="T78" fmla="*/ 345 w 375"/>
                <a:gd name="T79" fmla="*/ 42 h 548"/>
                <a:gd name="T80" fmla="*/ 336 w 375"/>
                <a:gd name="T81" fmla="*/ 10 h 548"/>
                <a:gd name="T82" fmla="*/ 318 w 375"/>
                <a:gd name="T83" fmla="*/ 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548">
                  <a:moveTo>
                    <a:pt x="311" y="0"/>
                  </a:moveTo>
                  <a:lnTo>
                    <a:pt x="311" y="0"/>
                  </a:lnTo>
                  <a:lnTo>
                    <a:pt x="306" y="3"/>
                  </a:lnTo>
                  <a:lnTo>
                    <a:pt x="303" y="5"/>
                  </a:lnTo>
                  <a:lnTo>
                    <a:pt x="299" y="10"/>
                  </a:lnTo>
                  <a:lnTo>
                    <a:pt x="296" y="17"/>
                  </a:lnTo>
                  <a:lnTo>
                    <a:pt x="292" y="23"/>
                  </a:lnTo>
                  <a:lnTo>
                    <a:pt x="292" y="23"/>
                  </a:lnTo>
                  <a:lnTo>
                    <a:pt x="292" y="63"/>
                  </a:lnTo>
                  <a:lnTo>
                    <a:pt x="293" y="101"/>
                  </a:lnTo>
                  <a:lnTo>
                    <a:pt x="301" y="177"/>
                  </a:lnTo>
                  <a:lnTo>
                    <a:pt x="303" y="214"/>
                  </a:lnTo>
                  <a:lnTo>
                    <a:pt x="306" y="251"/>
                  </a:lnTo>
                  <a:lnTo>
                    <a:pt x="306" y="288"/>
                  </a:lnTo>
                  <a:lnTo>
                    <a:pt x="305" y="323"/>
                  </a:lnTo>
                  <a:lnTo>
                    <a:pt x="305" y="323"/>
                  </a:lnTo>
                  <a:lnTo>
                    <a:pt x="299" y="329"/>
                  </a:lnTo>
                  <a:lnTo>
                    <a:pt x="295" y="329"/>
                  </a:lnTo>
                  <a:lnTo>
                    <a:pt x="292" y="330"/>
                  </a:lnTo>
                  <a:lnTo>
                    <a:pt x="292" y="330"/>
                  </a:lnTo>
                  <a:lnTo>
                    <a:pt x="284" y="325"/>
                  </a:lnTo>
                  <a:lnTo>
                    <a:pt x="276" y="320"/>
                  </a:lnTo>
                  <a:lnTo>
                    <a:pt x="264" y="308"/>
                  </a:lnTo>
                  <a:lnTo>
                    <a:pt x="239" y="278"/>
                  </a:lnTo>
                  <a:lnTo>
                    <a:pt x="239" y="273"/>
                  </a:lnTo>
                  <a:lnTo>
                    <a:pt x="239" y="273"/>
                  </a:lnTo>
                  <a:lnTo>
                    <a:pt x="235" y="268"/>
                  </a:lnTo>
                  <a:lnTo>
                    <a:pt x="228" y="264"/>
                  </a:lnTo>
                  <a:lnTo>
                    <a:pt x="222" y="261"/>
                  </a:lnTo>
                  <a:lnTo>
                    <a:pt x="215" y="258"/>
                  </a:lnTo>
                  <a:lnTo>
                    <a:pt x="208" y="255"/>
                  </a:lnTo>
                  <a:lnTo>
                    <a:pt x="200" y="255"/>
                  </a:lnTo>
                  <a:lnTo>
                    <a:pt x="184" y="255"/>
                  </a:lnTo>
                  <a:lnTo>
                    <a:pt x="184" y="255"/>
                  </a:lnTo>
                  <a:lnTo>
                    <a:pt x="175" y="261"/>
                  </a:lnTo>
                  <a:lnTo>
                    <a:pt x="167" y="264"/>
                  </a:lnTo>
                  <a:lnTo>
                    <a:pt x="158" y="266"/>
                  </a:lnTo>
                  <a:lnTo>
                    <a:pt x="150" y="266"/>
                  </a:lnTo>
                  <a:lnTo>
                    <a:pt x="13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87" y="279"/>
                  </a:lnTo>
                  <a:lnTo>
                    <a:pt x="63" y="291"/>
                  </a:lnTo>
                  <a:lnTo>
                    <a:pt x="39" y="302"/>
                  </a:lnTo>
                  <a:lnTo>
                    <a:pt x="27" y="309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8" y="363"/>
                  </a:lnTo>
                  <a:lnTo>
                    <a:pt x="3" y="386"/>
                  </a:lnTo>
                  <a:lnTo>
                    <a:pt x="0" y="409"/>
                  </a:lnTo>
                  <a:lnTo>
                    <a:pt x="0" y="409"/>
                  </a:lnTo>
                  <a:lnTo>
                    <a:pt x="0" y="421"/>
                  </a:lnTo>
                  <a:lnTo>
                    <a:pt x="2" y="431"/>
                  </a:lnTo>
                  <a:lnTo>
                    <a:pt x="6" y="441"/>
                  </a:lnTo>
                  <a:lnTo>
                    <a:pt x="10" y="451"/>
                  </a:lnTo>
                  <a:lnTo>
                    <a:pt x="20" y="470"/>
                  </a:lnTo>
                  <a:lnTo>
                    <a:pt x="25" y="480"/>
                  </a:lnTo>
                  <a:lnTo>
                    <a:pt x="27" y="490"/>
                  </a:lnTo>
                  <a:lnTo>
                    <a:pt x="27" y="490"/>
                  </a:lnTo>
                  <a:lnTo>
                    <a:pt x="29" y="495"/>
                  </a:lnTo>
                  <a:lnTo>
                    <a:pt x="32" y="500"/>
                  </a:lnTo>
                  <a:lnTo>
                    <a:pt x="36" y="503"/>
                  </a:lnTo>
                  <a:lnTo>
                    <a:pt x="40" y="505"/>
                  </a:lnTo>
                  <a:lnTo>
                    <a:pt x="50" y="508"/>
                  </a:lnTo>
                  <a:lnTo>
                    <a:pt x="60" y="508"/>
                  </a:lnTo>
                  <a:lnTo>
                    <a:pt x="60" y="508"/>
                  </a:lnTo>
                  <a:lnTo>
                    <a:pt x="96" y="527"/>
                  </a:lnTo>
                  <a:lnTo>
                    <a:pt x="114" y="534"/>
                  </a:lnTo>
                  <a:lnTo>
                    <a:pt x="133" y="541"/>
                  </a:lnTo>
                  <a:lnTo>
                    <a:pt x="151" y="545"/>
                  </a:lnTo>
                  <a:lnTo>
                    <a:pt x="171" y="548"/>
                  </a:lnTo>
                  <a:lnTo>
                    <a:pt x="192" y="548"/>
                  </a:lnTo>
                  <a:lnTo>
                    <a:pt x="215" y="547"/>
                  </a:lnTo>
                  <a:lnTo>
                    <a:pt x="215" y="547"/>
                  </a:lnTo>
                  <a:lnTo>
                    <a:pt x="222" y="544"/>
                  </a:lnTo>
                  <a:lnTo>
                    <a:pt x="229" y="541"/>
                  </a:lnTo>
                  <a:lnTo>
                    <a:pt x="235" y="537"/>
                  </a:lnTo>
                  <a:lnTo>
                    <a:pt x="241" y="532"/>
                  </a:lnTo>
                  <a:lnTo>
                    <a:pt x="249" y="521"/>
                  </a:lnTo>
                  <a:lnTo>
                    <a:pt x="261" y="508"/>
                  </a:lnTo>
                  <a:lnTo>
                    <a:pt x="261" y="508"/>
                  </a:lnTo>
                  <a:lnTo>
                    <a:pt x="266" y="507"/>
                  </a:lnTo>
                  <a:lnTo>
                    <a:pt x="274" y="507"/>
                  </a:lnTo>
                  <a:lnTo>
                    <a:pt x="278" y="508"/>
                  </a:lnTo>
                  <a:lnTo>
                    <a:pt x="284" y="510"/>
                  </a:lnTo>
                  <a:lnTo>
                    <a:pt x="292" y="515"/>
                  </a:lnTo>
                  <a:lnTo>
                    <a:pt x="301" y="522"/>
                  </a:lnTo>
                  <a:lnTo>
                    <a:pt x="308" y="531"/>
                  </a:lnTo>
                  <a:lnTo>
                    <a:pt x="316" y="538"/>
                  </a:lnTo>
                  <a:lnTo>
                    <a:pt x="325" y="544"/>
                  </a:lnTo>
                  <a:lnTo>
                    <a:pt x="330" y="545"/>
                  </a:lnTo>
                  <a:lnTo>
                    <a:pt x="336" y="547"/>
                  </a:lnTo>
                  <a:lnTo>
                    <a:pt x="336" y="547"/>
                  </a:lnTo>
                  <a:lnTo>
                    <a:pt x="348" y="545"/>
                  </a:lnTo>
                  <a:lnTo>
                    <a:pt x="359" y="541"/>
                  </a:lnTo>
                  <a:lnTo>
                    <a:pt x="363" y="538"/>
                  </a:lnTo>
                  <a:lnTo>
                    <a:pt x="369" y="535"/>
                  </a:lnTo>
                  <a:lnTo>
                    <a:pt x="372" y="531"/>
                  </a:lnTo>
                  <a:lnTo>
                    <a:pt x="375" y="525"/>
                  </a:lnTo>
                  <a:lnTo>
                    <a:pt x="375" y="525"/>
                  </a:lnTo>
                  <a:lnTo>
                    <a:pt x="373" y="515"/>
                  </a:lnTo>
                  <a:lnTo>
                    <a:pt x="370" y="504"/>
                  </a:lnTo>
                  <a:lnTo>
                    <a:pt x="363" y="484"/>
                  </a:lnTo>
                  <a:lnTo>
                    <a:pt x="359" y="474"/>
                  </a:lnTo>
                  <a:lnTo>
                    <a:pt x="356" y="464"/>
                  </a:lnTo>
                  <a:lnTo>
                    <a:pt x="355" y="454"/>
                  </a:lnTo>
                  <a:lnTo>
                    <a:pt x="355" y="443"/>
                  </a:lnTo>
                  <a:lnTo>
                    <a:pt x="355" y="443"/>
                  </a:lnTo>
                  <a:lnTo>
                    <a:pt x="359" y="404"/>
                  </a:lnTo>
                  <a:lnTo>
                    <a:pt x="363" y="366"/>
                  </a:lnTo>
                  <a:lnTo>
                    <a:pt x="365" y="325"/>
                  </a:lnTo>
                  <a:lnTo>
                    <a:pt x="366" y="285"/>
                  </a:lnTo>
                  <a:lnTo>
                    <a:pt x="365" y="244"/>
                  </a:lnTo>
                  <a:lnTo>
                    <a:pt x="363" y="204"/>
                  </a:lnTo>
                  <a:lnTo>
                    <a:pt x="360" y="164"/>
                  </a:lnTo>
                  <a:lnTo>
                    <a:pt x="356" y="126"/>
                  </a:lnTo>
                  <a:lnTo>
                    <a:pt x="356" y="126"/>
                  </a:lnTo>
                  <a:lnTo>
                    <a:pt x="352" y="97"/>
                  </a:lnTo>
                  <a:lnTo>
                    <a:pt x="348" y="70"/>
                  </a:lnTo>
                  <a:lnTo>
                    <a:pt x="345" y="42"/>
                  </a:lnTo>
                  <a:lnTo>
                    <a:pt x="339" y="13"/>
                  </a:lnTo>
                  <a:lnTo>
                    <a:pt x="339" y="13"/>
                  </a:lnTo>
                  <a:lnTo>
                    <a:pt x="336" y="10"/>
                  </a:lnTo>
                  <a:lnTo>
                    <a:pt x="333" y="7"/>
                  </a:lnTo>
                  <a:lnTo>
                    <a:pt x="326" y="5"/>
                  </a:lnTo>
                  <a:lnTo>
                    <a:pt x="318" y="3"/>
                  </a:lnTo>
                  <a:lnTo>
                    <a:pt x="311" y="0"/>
                  </a:lnTo>
                  <a:lnTo>
                    <a:pt x="3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379"/>
            <p:cNvSpPr>
              <a:spLocks/>
            </p:cNvSpPr>
            <p:nvPr/>
          </p:nvSpPr>
          <p:spPr bwMode="auto">
            <a:xfrm>
              <a:off x="7461" y="2618"/>
              <a:ext cx="166" cy="203"/>
            </a:xfrm>
            <a:custGeom>
              <a:avLst/>
              <a:gdLst>
                <a:gd name="T0" fmla="*/ 143 w 166"/>
                <a:gd name="T1" fmla="*/ 25 h 203"/>
                <a:gd name="T2" fmla="*/ 143 w 166"/>
                <a:gd name="T3" fmla="*/ 25 h 203"/>
                <a:gd name="T4" fmla="*/ 146 w 166"/>
                <a:gd name="T5" fmla="*/ 41 h 203"/>
                <a:gd name="T6" fmla="*/ 150 w 166"/>
                <a:gd name="T7" fmla="*/ 55 h 203"/>
                <a:gd name="T8" fmla="*/ 153 w 166"/>
                <a:gd name="T9" fmla="*/ 62 h 203"/>
                <a:gd name="T10" fmla="*/ 156 w 166"/>
                <a:gd name="T11" fmla="*/ 69 h 203"/>
                <a:gd name="T12" fmla="*/ 160 w 166"/>
                <a:gd name="T13" fmla="*/ 75 h 203"/>
                <a:gd name="T14" fmla="*/ 166 w 166"/>
                <a:gd name="T15" fmla="*/ 81 h 203"/>
                <a:gd name="T16" fmla="*/ 166 w 166"/>
                <a:gd name="T17" fmla="*/ 81 h 203"/>
                <a:gd name="T18" fmla="*/ 165 w 166"/>
                <a:gd name="T19" fmla="*/ 102 h 203"/>
                <a:gd name="T20" fmla="*/ 162 w 166"/>
                <a:gd name="T21" fmla="*/ 125 h 203"/>
                <a:gd name="T22" fmla="*/ 153 w 166"/>
                <a:gd name="T23" fmla="*/ 169 h 203"/>
                <a:gd name="T24" fmla="*/ 153 w 166"/>
                <a:gd name="T25" fmla="*/ 169 h 203"/>
                <a:gd name="T26" fmla="*/ 146 w 166"/>
                <a:gd name="T27" fmla="*/ 180 h 203"/>
                <a:gd name="T28" fmla="*/ 136 w 166"/>
                <a:gd name="T29" fmla="*/ 189 h 203"/>
                <a:gd name="T30" fmla="*/ 126 w 166"/>
                <a:gd name="T31" fmla="*/ 197 h 203"/>
                <a:gd name="T32" fmla="*/ 113 w 166"/>
                <a:gd name="T33" fmla="*/ 202 h 203"/>
                <a:gd name="T34" fmla="*/ 113 w 166"/>
                <a:gd name="T35" fmla="*/ 202 h 203"/>
                <a:gd name="T36" fmla="*/ 99 w 166"/>
                <a:gd name="T37" fmla="*/ 203 h 203"/>
                <a:gd name="T38" fmla="*/ 85 w 166"/>
                <a:gd name="T39" fmla="*/ 202 h 203"/>
                <a:gd name="T40" fmla="*/ 71 w 166"/>
                <a:gd name="T41" fmla="*/ 199 h 203"/>
                <a:gd name="T42" fmla="*/ 58 w 166"/>
                <a:gd name="T43" fmla="*/ 193 h 203"/>
                <a:gd name="T44" fmla="*/ 47 w 166"/>
                <a:gd name="T45" fmla="*/ 187 h 203"/>
                <a:gd name="T46" fmla="*/ 35 w 166"/>
                <a:gd name="T47" fmla="*/ 179 h 203"/>
                <a:gd name="T48" fmla="*/ 25 w 166"/>
                <a:gd name="T49" fmla="*/ 169 h 203"/>
                <a:gd name="T50" fmla="*/ 18 w 166"/>
                <a:gd name="T51" fmla="*/ 157 h 203"/>
                <a:gd name="T52" fmla="*/ 18 w 166"/>
                <a:gd name="T53" fmla="*/ 157 h 203"/>
                <a:gd name="T54" fmla="*/ 11 w 166"/>
                <a:gd name="T55" fmla="*/ 146 h 203"/>
                <a:gd name="T56" fmla="*/ 5 w 166"/>
                <a:gd name="T57" fmla="*/ 132 h 203"/>
                <a:gd name="T58" fmla="*/ 1 w 166"/>
                <a:gd name="T59" fmla="*/ 116 h 203"/>
                <a:gd name="T60" fmla="*/ 0 w 166"/>
                <a:gd name="T61" fmla="*/ 102 h 203"/>
                <a:gd name="T62" fmla="*/ 0 w 166"/>
                <a:gd name="T63" fmla="*/ 86 h 203"/>
                <a:gd name="T64" fmla="*/ 1 w 166"/>
                <a:gd name="T65" fmla="*/ 71 h 203"/>
                <a:gd name="T66" fmla="*/ 5 w 166"/>
                <a:gd name="T67" fmla="*/ 56 h 203"/>
                <a:gd name="T68" fmla="*/ 12 w 166"/>
                <a:gd name="T69" fmla="*/ 44 h 203"/>
                <a:gd name="T70" fmla="*/ 12 w 166"/>
                <a:gd name="T71" fmla="*/ 44 h 203"/>
                <a:gd name="T72" fmla="*/ 20 w 166"/>
                <a:gd name="T73" fmla="*/ 32 h 203"/>
                <a:gd name="T74" fmla="*/ 30 w 166"/>
                <a:gd name="T75" fmla="*/ 24 h 203"/>
                <a:gd name="T76" fmla="*/ 41 w 166"/>
                <a:gd name="T77" fmla="*/ 17 h 203"/>
                <a:gd name="T78" fmla="*/ 54 w 166"/>
                <a:gd name="T79" fmla="*/ 9 h 203"/>
                <a:gd name="T80" fmla="*/ 68 w 166"/>
                <a:gd name="T81" fmla="*/ 5 h 203"/>
                <a:gd name="T82" fmla="*/ 82 w 166"/>
                <a:gd name="T83" fmla="*/ 2 h 203"/>
                <a:gd name="T84" fmla="*/ 96 w 166"/>
                <a:gd name="T85" fmla="*/ 0 h 203"/>
                <a:gd name="T86" fmla="*/ 109 w 166"/>
                <a:gd name="T87" fmla="*/ 0 h 203"/>
                <a:gd name="T88" fmla="*/ 109 w 166"/>
                <a:gd name="T89" fmla="*/ 0 h 203"/>
                <a:gd name="T90" fmla="*/ 121 w 166"/>
                <a:gd name="T91" fmla="*/ 4 h 203"/>
                <a:gd name="T92" fmla="*/ 129 w 166"/>
                <a:gd name="T93" fmla="*/ 9 h 203"/>
                <a:gd name="T94" fmla="*/ 138 w 166"/>
                <a:gd name="T95" fmla="*/ 17 h 203"/>
                <a:gd name="T96" fmla="*/ 143 w 166"/>
                <a:gd name="T97" fmla="*/ 25 h 203"/>
                <a:gd name="T98" fmla="*/ 143 w 166"/>
                <a:gd name="T99" fmla="*/ 2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6" h="203">
                  <a:moveTo>
                    <a:pt x="143" y="25"/>
                  </a:moveTo>
                  <a:lnTo>
                    <a:pt x="143" y="25"/>
                  </a:lnTo>
                  <a:lnTo>
                    <a:pt x="146" y="41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6" y="69"/>
                  </a:lnTo>
                  <a:lnTo>
                    <a:pt x="160" y="75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5" y="102"/>
                  </a:lnTo>
                  <a:lnTo>
                    <a:pt x="162" y="125"/>
                  </a:lnTo>
                  <a:lnTo>
                    <a:pt x="153" y="169"/>
                  </a:lnTo>
                  <a:lnTo>
                    <a:pt x="153" y="169"/>
                  </a:lnTo>
                  <a:lnTo>
                    <a:pt x="146" y="180"/>
                  </a:lnTo>
                  <a:lnTo>
                    <a:pt x="136" y="189"/>
                  </a:lnTo>
                  <a:lnTo>
                    <a:pt x="126" y="197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99" y="203"/>
                  </a:lnTo>
                  <a:lnTo>
                    <a:pt x="85" y="202"/>
                  </a:lnTo>
                  <a:lnTo>
                    <a:pt x="71" y="199"/>
                  </a:lnTo>
                  <a:lnTo>
                    <a:pt x="58" y="193"/>
                  </a:lnTo>
                  <a:lnTo>
                    <a:pt x="47" y="187"/>
                  </a:lnTo>
                  <a:lnTo>
                    <a:pt x="35" y="179"/>
                  </a:lnTo>
                  <a:lnTo>
                    <a:pt x="25" y="169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1" y="146"/>
                  </a:lnTo>
                  <a:lnTo>
                    <a:pt x="5" y="132"/>
                  </a:lnTo>
                  <a:lnTo>
                    <a:pt x="1" y="116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1" y="71"/>
                  </a:lnTo>
                  <a:lnTo>
                    <a:pt x="5" y="5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20" y="32"/>
                  </a:lnTo>
                  <a:lnTo>
                    <a:pt x="30" y="24"/>
                  </a:lnTo>
                  <a:lnTo>
                    <a:pt x="41" y="17"/>
                  </a:lnTo>
                  <a:lnTo>
                    <a:pt x="54" y="9"/>
                  </a:lnTo>
                  <a:lnTo>
                    <a:pt x="68" y="5"/>
                  </a:lnTo>
                  <a:lnTo>
                    <a:pt x="82" y="2"/>
                  </a:lnTo>
                  <a:lnTo>
                    <a:pt x="9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21" y="4"/>
                  </a:lnTo>
                  <a:lnTo>
                    <a:pt x="129" y="9"/>
                  </a:lnTo>
                  <a:lnTo>
                    <a:pt x="138" y="17"/>
                  </a:lnTo>
                  <a:lnTo>
                    <a:pt x="143" y="25"/>
                  </a:lnTo>
                  <a:lnTo>
                    <a:pt x="143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380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381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382"/>
            <p:cNvSpPr>
              <a:spLocks noEditPoints="1"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  <a:gd name="T18" fmla="*/ 200 w 535"/>
                <a:gd name="T19" fmla="*/ 322 h 541"/>
                <a:gd name="T20" fmla="*/ 299 w 535"/>
                <a:gd name="T21" fmla="*/ 322 h 541"/>
                <a:gd name="T22" fmla="*/ 252 w 535"/>
                <a:gd name="T23" fmla="*/ 137 h 541"/>
                <a:gd name="T24" fmla="*/ 200 w 535"/>
                <a:gd name="T25" fmla="*/ 32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  <a:close/>
                  <a:moveTo>
                    <a:pt x="200" y="322"/>
                  </a:moveTo>
                  <a:lnTo>
                    <a:pt x="299" y="322"/>
                  </a:lnTo>
                  <a:lnTo>
                    <a:pt x="252" y="137"/>
                  </a:lnTo>
                  <a:lnTo>
                    <a:pt x="200" y="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383"/>
            <p:cNvSpPr>
              <a:spLocks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384"/>
            <p:cNvSpPr>
              <a:spLocks/>
            </p:cNvSpPr>
            <p:nvPr/>
          </p:nvSpPr>
          <p:spPr bwMode="auto">
            <a:xfrm>
              <a:off x="6986" y="1551"/>
              <a:ext cx="99" cy="185"/>
            </a:xfrm>
            <a:custGeom>
              <a:avLst/>
              <a:gdLst>
                <a:gd name="T0" fmla="*/ 0 w 99"/>
                <a:gd name="T1" fmla="*/ 185 h 185"/>
                <a:gd name="T2" fmla="*/ 99 w 99"/>
                <a:gd name="T3" fmla="*/ 185 h 185"/>
                <a:gd name="T4" fmla="*/ 52 w 99"/>
                <a:gd name="T5" fmla="*/ 0 h 185"/>
                <a:gd name="T6" fmla="*/ 0 w 99"/>
                <a:gd name="T7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85">
                  <a:moveTo>
                    <a:pt x="0" y="185"/>
                  </a:moveTo>
                  <a:lnTo>
                    <a:pt x="99" y="185"/>
                  </a:lnTo>
                  <a:lnTo>
                    <a:pt x="52" y="0"/>
                  </a:lnTo>
                  <a:lnTo>
                    <a:pt x="0" y="18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385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386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 387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  <a:gd name="T52" fmla="*/ 166 w 166"/>
                <a:gd name="T53" fmla="*/ 5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  <a:lnTo>
                    <a:pt x="166" y="54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388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303" y="6330832"/>
            <a:ext cx="571500" cy="365125"/>
          </a:xfrm>
        </p:spPr>
        <p:txBody>
          <a:bodyPr/>
          <a:lstStyle/>
          <a:p>
            <a:fld id="{AEE12407-35E7-4E87-8757-FD495B6490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060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26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2192000" cy="11811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72411"/>
            <a:ext cx="10515600" cy="1325563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1180742"/>
          </a:xfrm>
          <a:prstGeom prst="rect">
            <a:avLst/>
          </a:prstGeom>
        </p:spPr>
      </p:pic>
      <p:grpSp>
        <p:nvGrpSpPr>
          <p:cNvPr id="8" name="Group 363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11500627" y="6215063"/>
            <a:ext cx="585788" cy="538162"/>
            <a:chOff x="5907" y="1132"/>
            <a:chExt cx="2151" cy="1976"/>
          </a:xfrm>
        </p:grpSpPr>
        <p:sp>
          <p:nvSpPr>
            <p:cNvPr id="9" name="Freeform 364"/>
            <p:cNvSpPr>
              <a:spLocks/>
            </p:cNvSpPr>
            <p:nvPr/>
          </p:nvSpPr>
          <p:spPr bwMode="auto">
            <a:xfrm>
              <a:off x="5966" y="2117"/>
              <a:ext cx="2028" cy="0"/>
            </a:xfrm>
            <a:custGeom>
              <a:avLst/>
              <a:gdLst>
                <a:gd name="T0" fmla="*/ 0 w 2028"/>
                <a:gd name="T1" fmla="*/ 2028 w 2028"/>
                <a:gd name="T2" fmla="*/ 0 w 202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28">
                  <a:moveTo>
                    <a:pt x="0" y="0"/>
                  </a:moveTo>
                  <a:lnTo>
                    <a:pt x="202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Line 365"/>
            <p:cNvSpPr>
              <a:spLocks noChangeShapeType="1"/>
            </p:cNvSpPr>
            <p:nvPr/>
          </p:nvSpPr>
          <p:spPr bwMode="auto">
            <a:xfrm>
              <a:off x="5966" y="2117"/>
              <a:ext cx="202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Rectangle 366"/>
            <p:cNvSpPr>
              <a:spLocks noChangeArrowheads="1"/>
            </p:cNvSpPr>
            <p:nvPr/>
          </p:nvSpPr>
          <p:spPr bwMode="auto">
            <a:xfrm>
              <a:off x="5968" y="1194"/>
              <a:ext cx="2030" cy="1853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Freeform 367"/>
            <p:cNvSpPr>
              <a:spLocks noEditPoints="1"/>
            </p:cNvSpPr>
            <p:nvPr/>
          </p:nvSpPr>
          <p:spPr bwMode="auto">
            <a:xfrm>
              <a:off x="5907" y="1132"/>
              <a:ext cx="2151" cy="1976"/>
            </a:xfrm>
            <a:custGeom>
              <a:avLst/>
              <a:gdLst>
                <a:gd name="T0" fmla="*/ 0 w 2151"/>
                <a:gd name="T1" fmla="*/ 1976 h 1976"/>
                <a:gd name="T2" fmla="*/ 2151 w 2151"/>
                <a:gd name="T3" fmla="*/ 1976 h 1976"/>
                <a:gd name="T4" fmla="*/ 2151 w 2151"/>
                <a:gd name="T5" fmla="*/ 0 h 1976"/>
                <a:gd name="T6" fmla="*/ 0 w 2151"/>
                <a:gd name="T7" fmla="*/ 0 h 1976"/>
                <a:gd name="T8" fmla="*/ 0 w 2151"/>
                <a:gd name="T9" fmla="*/ 1976 h 1976"/>
                <a:gd name="T10" fmla="*/ 123 w 2151"/>
                <a:gd name="T11" fmla="*/ 1854 h 1976"/>
                <a:gd name="T12" fmla="*/ 123 w 2151"/>
                <a:gd name="T13" fmla="*/ 1854 h 1976"/>
                <a:gd name="T14" fmla="*/ 123 w 2151"/>
                <a:gd name="T15" fmla="*/ 1046 h 1976"/>
                <a:gd name="T16" fmla="*/ 2030 w 2151"/>
                <a:gd name="T17" fmla="*/ 1046 h 1976"/>
                <a:gd name="T18" fmla="*/ 2030 w 2151"/>
                <a:gd name="T19" fmla="*/ 1046 h 1976"/>
                <a:gd name="T20" fmla="*/ 2030 w 2151"/>
                <a:gd name="T21" fmla="*/ 1854 h 1976"/>
                <a:gd name="T22" fmla="*/ 2030 w 2151"/>
                <a:gd name="T23" fmla="*/ 1854 h 1976"/>
                <a:gd name="T24" fmla="*/ 123 w 2151"/>
                <a:gd name="T25" fmla="*/ 1854 h 1976"/>
                <a:gd name="T26" fmla="*/ 123 w 2151"/>
                <a:gd name="T27" fmla="*/ 1854 h 1976"/>
                <a:gd name="T28" fmla="*/ 2030 w 2151"/>
                <a:gd name="T29" fmla="*/ 123 h 1976"/>
                <a:gd name="T30" fmla="*/ 2030 w 2151"/>
                <a:gd name="T31" fmla="*/ 123 h 1976"/>
                <a:gd name="T32" fmla="*/ 2030 w 2151"/>
                <a:gd name="T33" fmla="*/ 924 h 1976"/>
                <a:gd name="T34" fmla="*/ 123 w 2151"/>
                <a:gd name="T35" fmla="*/ 924 h 1976"/>
                <a:gd name="T36" fmla="*/ 123 w 2151"/>
                <a:gd name="T37" fmla="*/ 924 h 1976"/>
                <a:gd name="T38" fmla="*/ 123 w 2151"/>
                <a:gd name="T39" fmla="*/ 123 h 1976"/>
                <a:gd name="T40" fmla="*/ 123 w 2151"/>
                <a:gd name="T41" fmla="*/ 123 h 1976"/>
                <a:gd name="T42" fmla="*/ 2030 w 2151"/>
                <a:gd name="T43" fmla="*/ 123 h 1976"/>
                <a:gd name="T44" fmla="*/ 2030 w 2151"/>
                <a:gd name="T45" fmla="*/ 123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51" h="1976">
                  <a:moveTo>
                    <a:pt x="0" y="1976"/>
                  </a:moveTo>
                  <a:lnTo>
                    <a:pt x="2151" y="1976"/>
                  </a:lnTo>
                  <a:lnTo>
                    <a:pt x="2151" y="0"/>
                  </a:lnTo>
                  <a:lnTo>
                    <a:pt x="0" y="0"/>
                  </a:lnTo>
                  <a:lnTo>
                    <a:pt x="0" y="1976"/>
                  </a:lnTo>
                  <a:close/>
                  <a:moveTo>
                    <a:pt x="123" y="1854"/>
                  </a:moveTo>
                  <a:lnTo>
                    <a:pt x="123" y="1854"/>
                  </a:lnTo>
                  <a:lnTo>
                    <a:pt x="123" y="1046"/>
                  </a:lnTo>
                  <a:lnTo>
                    <a:pt x="2030" y="1046"/>
                  </a:lnTo>
                  <a:lnTo>
                    <a:pt x="2030" y="1046"/>
                  </a:lnTo>
                  <a:lnTo>
                    <a:pt x="2030" y="1854"/>
                  </a:lnTo>
                  <a:lnTo>
                    <a:pt x="2030" y="1854"/>
                  </a:lnTo>
                  <a:lnTo>
                    <a:pt x="123" y="1854"/>
                  </a:lnTo>
                  <a:lnTo>
                    <a:pt x="123" y="1854"/>
                  </a:lnTo>
                  <a:close/>
                  <a:moveTo>
                    <a:pt x="2030" y="123"/>
                  </a:moveTo>
                  <a:lnTo>
                    <a:pt x="2030" y="123"/>
                  </a:lnTo>
                  <a:lnTo>
                    <a:pt x="2030" y="924"/>
                  </a:lnTo>
                  <a:lnTo>
                    <a:pt x="123" y="924"/>
                  </a:lnTo>
                  <a:lnTo>
                    <a:pt x="123" y="924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2030" y="123"/>
                  </a:lnTo>
                  <a:lnTo>
                    <a:pt x="2030" y="123"/>
                  </a:lnTo>
                  <a:close/>
                </a:path>
              </a:pathLst>
            </a:custGeom>
            <a:solidFill>
              <a:srgbClr val="EF3E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Freeform 368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64 h 587"/>
                <a:gd name="T34" fmla="*/ 953 w 1552"/>
                <a:gd name="T35" fmla="*/ 227 h 587"/>
                <a:gd name="T36" fmla="*/ 960 w 1552"/>
                <a:gd name="T37" fmla="*/ 419 h 587"/>
                <a:gd name="T38" fmla="*/ 968 w 1552"/>
                <a:gd name="T39" fmla="*/ 519 h 587"/>
                <a:gd name="T40" fmla="*/ 1034 w 1552"/>
                <a:gd name="T41" fmla="*/ 540 h 587"/>
                <a:gd name="T42" fmla="*/ 1039 w 1552"/>
                <a:gd name="T43" fmla="*/ 458 h 587"/>
                <a:gd name="T44" fmla="*/ 1039 w 1552"/>
                <a:gd name="T45" fmla="*/ 261 h 587"/>
                <a:gd name="T46" fmla="*/ 994 w 1552"/>
                <a:gd name="T47" fmla="*/ 69 h 587"/>
                <a:gd name="T48" fmla="*/ 936 w 1552"/>
                <a:gd name="T49" fmla="*/ 39 h 587"/>
                <a:gd name="T50" fmla="*/ 830 w 1552"/>
                <a:gd name="T51" fmla="*/ 196 h 587"/>
                <a:gd name="T52" fmla="*/ 786 w 1552"/>
                <a:gd name="T53" fmla="*/ 190 h 587"/>
                <a:gd name="T54" fmla="*/ 145 w 1552"/>
                <a:gd name="T55" fmla="*/ 250 h 587"/>
                <a:gd name="T56" fmla="*/ 15 w 1552"/>
                <a:gd name="T57" fmla="*/ 327 h 587"/>
                <a:gd name="T58" fmla="*/ 2 w 1552"/>
                <a:gd name="T59" fmla="*/ 471 h 587"/>
                <a:gd name="T60" fmla="*/ 32 w 1552"/>
                <a:gd name="T61" fmla="*/ 570 h 587"/>
                <a:gd name="T62" fmla="*/ 197 w 1552"/>
                <a:gd name="T63" fmla="*/ 579 h 587"/>
                <a:gd name="T64" fmla="*/ 244 w 1552"/>
                <a:gd name="T65" fmla="*/ 530 h 587"/>
                <a:gd name="T66" fmla="*/ 128 w 1552"/>
                <a:gd name="T67" fmla="*/ 542 h 587"/>
                <a:gd name="T68" fmla="*/ 76 w 1552"/>
                <a:gd name="T69" fmla="*/ 485 h 587"/>
                <a:gd name="T70" fmla="*/ 83 w 1552"/>
                <a:gd name="T71" fmla="*/ 333 h 587"/>
                <a:gd name="T72" fmla="*/ 156 w 1552"/>
                <a:gd name="T73" fmla="*/ 291 h 587"/>
                <a:gd name="T74" fmla="*/ 211 w 1552"/>
                <a:gd name="T75" fmla="*/ 276 h 587"/>
                <a:gd name="T76" fmla="*/ 773 w 1552"/>
                <a:gd name="T77" fmla="*/ 304 h 587"/>
                <a:gd name="T78" fmla="*/ 725 w 1552"/>
                <a:gd name="T79" fmla="*/ 509 h 587"/>
                <a:gd name="T80" fmla="*/ 776 w 1552"/>
                <a:gd name="T81" fmla="*/ 579 h 587"/>
                <a:gd name="T82" fmla="*/ 809 w 1552"/>
                <a:gd name="T83" fmla="*/ 542 h 587"/>
                <a:gd name="T84" fmla="*/ 806 w 1552"/>
                <a:gd name="T85" fmla="*/ 472 h 587"/>
                <a:gd name="T86" fmla="*/ 827 w 1552"/>
                <a:gd name="T87" fmla="*/ 297 h 587"/>
                <a:gd name="T88" fmla="*/ 1480 w 1552"/>
                <a:gd name="T89" fmla="*/ 37 h 587"/>
                <a:gd name="T90" fmla="*/ 1483 w 1552"/>
                <a:gd name="T91" fmla="*/ 320 h 587"/>
                <a:gd name="T92" fmla="*/ 1416 w 1552"/>
                <a:gd name="T93" fmla="*/ 310 h 587"/>
                <a:gd name="T94" fmla="*/ 1361 w 1552"/>
                <a:gd name="T95" fmla="*/ 287 h 587"/>
                <a:gd name="T96" fmla="*/ 1216 w 1552"/>
                <a:gd name="T97" fmla="*/ 334 h 587"/>
                <a:gd name="T98" fmla="*/ 1183 w 1552"/>
                <a:gd name="T99" fmla="*/ 473 h 587"/>
                <a:gd name="T100" fmla="*/ 1227 w 1552"/>
                <a:gd name="T101" fmla="*/ 540 h 587"/>
                <a:gd name="T102" fmla="*/ 1392 w 1552"/>
                <a:gd name="T103" fmla="*/ 579 h 587"/>
                <a:gd name="T104" fmla="*/ 1455 w 1552"/>
                <a:gd name="T105" fmla="*/ 540 h 587"/>
                <a:gd name="T106" fmla="*/ 1525 w 1552"/>
                <a:gd name="T107" fmla="*/ 577 h 587"/>
                <a:gd name="T108" fmla="*/ 1536 w 1552"/>
                <a:gd name="T109" fmla="*/ 506 h 587"/>
                <a:gd name="T110" fmla="*/ 1540 w 1552"/>
                <a:gd name="T111" fmla="*/ 236 h 587"/>
                <a:gd name="T112" fmla="*/ 1510 w 1552"/>
                <a:gd name="T113" fmla="*/ 39 h 587"/>
                <a:gd name="T114" fmla="*/ 1412 w 1552"/>
                <a:gd name="T115" fmla="*/ 402 h 587"/>
                <a:gd name="T116" fmla="*/ 1382 w 1552"/>
                <a:gd name="T117" fmla="*/ 530 h 587"/>
                <a:gd name="T118" fmla="*/ 1274 w 1552"/>
                <a:gd name="T119" fmla="*/ 490 h 587"/>
                <a:gd name="T120" fmla="*/ 1268 w 1552"/>
                <a:gd name="T121" fmla="*/ 377 h 587"/>
                <a:gd name="T122" fmla="*/ 1377 w 1552"/>
                <a:gd name="T123" fmla="*/ 337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noFill/>
            <a:ln w="0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369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370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371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  <a:gd name="T42" fmla="*/ 0 w 57"/>
                <a:gd name="T43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372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79 h 587"/>
                <a:gd name="T34" fmla="*/ 954 w 1552"/>
                <a:gd name="T35" fmla="*/ 298 h 587"/>
                <a:gd name="T36" fmla="*/ 958 w 1552"/>
                <a:gd name="T37" fmla="*/ 429 h 587"/>
                <a:gd name="T38" fmla="*/ 968 w 1552"/>
                <a:gd name="T39" fmla="*/ 519 h 587"/>
                <a:gd name="T40" fmla="*/ 1039 w 1552"/>
                <a:gd name="T41" fmla="*/ 537 h 587"/>
                <a:gd name="T42" fmla="*/ 1038 w 1552"/>
                <a:gd name="T43" fmla="*/ 445 h 587"/>
                <a:gd name="T44" fmla="*/ 1037 w 1552"/>
                <a:gd name="T45" fmla="*/ 249 h 587"/>
                <a:gd name="T46" fmla="*/ 994 w 1552"/>
                <a:gd name="T47" fmla="*/ 48 h 587"/>
                <a:gd name="T48" fmla="*/ 936 w 1552"/>
                <a:gd name="T49" fmla="*/ 39 h 587"/>
                <a:gd name="T50" fmla="*/ 833 w 1552"/>
                <a:gd name="T51" fmla="*/ 192 h 587"/>
                <a:gd name="T52" fmla="*/ 782 w 1552"/>
                <a:gd name="T53" fmla="*/ 196 h 587"/>
                <a:gd name="T54" fmla="*/ 133 w 1552"/>
                <a:gd name="T55" fmla="*/ 253 h 587"/>
                <a:gd name="T56" fmla="*/ 9 w 1552"/>
                <a:gd name="T57" fmla="*/ 335 h 587"/>
                <a:gd name="T58" fmla="*/ 5 w 1552"/>
                <a:gd name="T59" fmla="*/ 482 h 587"/>
                <a:gd name="T60" fmla="*/ 42 w 1552"/>
                <a:gd name="T61" fmla="*/ 574 h 587"/>
                <a:gd name="T62" fmla="*/ 211 w 1552"/>
                <a:gd name="T63" fmla="*/ 574 h 587"/>
                <a:gd name="T64" fmla="*/ 244 w 1552"/>
                <a:gd name="T65" fmla="*/ 530 h 587"/>
                <a:gd name="T66" fmla="*/ 118 w 1552"/>
                <a:gd name="T67" fmla="*/ 539 h 587"/>
                <a:gd name="T68" fmla="*/ 76 w 1552"/>
                <a:gd name="T69" fmla="*/ 485 h 587"/>
                <a:gd name="T70" fmla="*/ 89 w 1552"/>
                <a:gd name="T71" fmla="*/ 324 h 587"/>
                <a:gd name="T72" fmla="*/ 166 w 1552"/>
                <a:gd name="T73" fmla="*/ 286 h 587"/>
                <a:gd name="T74" fmla="*/ 213 w 1552"/>
                <a:gd name="T75" fmla="*/ 274 h 587"/>
                <a:gd name="T76" fmla="*/ 768 w 1552"/>
                <a:gd name="T77" fmla="*/ 314 h 587"/>
                <a:gd name="T78" fmla="*/ 728 w 1552"/>
                <a:gd name="T79" fmla="*/ 529 h 587"/>
                <a:gd name="T80" fmla="*/ 783 w 1552"/>
                <a:gd name="T81" fmla="*/ 577 h 587"/>
                <a:gd name="T82" fmla="*/ 806 w 1552"/>
                <a:gd name="T83" fmla="*/ 533 h 587"/>
                <a:gd name="T84" fmla="*/ 815 w 1552"/>
                <a:gd name="T85" fmla="*/ 451 h 587"/>
                <a:gd name="T86" fmla="*/ 825 w 1552"/>
                <a:gd name="T87" fmla="*/ 293 h 587"/>
                <a:gd name="T88" fmla="*/ 1476 w 1552"/>
                <a:gd name="T89" fmla="*/ 42 h 587"/>
                <a:gd name="T90" fmla="*/ 1482 w 1552"/>
                <a:gd name="T91" fmla="*/ 355 h 587"/>
                <a:gd name="T92" fmla="*/ 1416 w 1552"/>
                <a:gd name="T93" fmla="*/ 305 h 587"/>
                <a:gd name="T94" fmla="*/ 1352 w 1552"/>
                <a:gd name="T95" fmla="*/ 293 h 587"/>
                <a:gd name="T96" fmla="*/ 1204 w 1552"/>
                <a:gd name="T97" fmla="*/ 341 h 587"/>
                <a:gd name="T98" fmla="*/ 1187 w 1552"/>
                <a:gd name="T99" fmla="*/ 483 h 587"/>
                <a:gd name="T100" fmla="*/ 1237 w 1552"/>
                <a:gd name="T101" fmla="*/ 540 h 587"/>
                <a:gd name="T102" fmla="*/ 1399 w 1552"/>
                <a:gd name="T103" fmla="*/ 576 h 587"/>
                <a:gd name="T104" fmla="*/ 1461 w 1552"/>
                <a:gd name="T105" fmla="*/ 542 h 587"/>
                <a:gd name="T106" fmla="*/ 1536 w 1552"/>
                <a:gd name="T107" fmla="*/ 573 h 587"/>
                <a:gd name="T108" fmla="*/ 1533 w 1552"/>
                <a:gd name="T109" fmla="*/ 496 h 587"/>
                <a:gd name="T110" fmla="*/ 1537 w 1552"/>
                <a:gd name="T111" fmla="*/ 196 h 587"/>
                <a:gd name="T112" fmla="*/ 1503 w 1552"/>
                <a:gd name="T113" fmla="*/ 37 h 587"/>
                <a:gd name="T114" fmla="*/ 1416 w 1552"/>
                <a:gd name="T115" fmla="*/ 408 h 587"/>
                <a:gd name="T116" fmla="*/ 1369 w 1552"/>
                <a:gd name="T117" fmla="*/ 535 h 587"/>
                <a:gd name="T118" fmla="*/ 1274 w 1552"/>
                <a:gd name="T119" fmla="*/ 490 h 587"/>
                <a:gd name="T120" fmla="*/ 1276 w 1552"/>
                <a:gd name="T121" fmla="*/ 365 h 587"/>
                <a:gd name="T122" fmla="*/ 1385 w 1552"/>
                <a:gd name="T123" fmla="*/ 34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373"/>
            <p:cNvSpPr>
              <a:spLocks/>
            </p:cNvSpPr>
            <p:nvPr/>
          </p:nvSpPr>
          <p:spPr bwMode="auto">
            <a:xfrm>
              <a:off x="6526" y="2285"/>
              <a:ext cx="299" cy="549"/>
            </a:xfrm>
            <a:custGeom>
              <a:avLst/>
              <a:gdLst>
                <a:gd name="T0" fmla="*/ 97 w 299"/>
                <a:gd name="T1" fmla="*/ 84 h 549"/>
                <a:gd name="T2" fmla="*/ 114 w 299"/>
                <a:gd name="T3" fmla="*/ 197 h 549"/>
                <a:gd name="T4" fmla="*/ 125 w 299"/>
                <a:gd name="T5" fmla="*/ 241 h 549"/>
                <a:gd name="T6" fmla="*/ 118 w 299"/>
                <a:gd name="T7" fmla="*/ 280 h 549"/>
                <a:gd name="T8" fmla="*/ 122 w 299"/>
                <a:gd name="T9" fmla="*/ 304 h 549"/>
                <a:gd name="T10" fmla="*/ 196 w 299"/>
                <a:gd name="T11" fmla="*/ 301 h 549"/>
                <a:gd name="T12" fmla="*/ 243 w 299"/>
                <a:gd name="T13" fmla="*/ 310 h 549"/>
                <a:gd name="T14" fmla="*/ 272 w 299"/>
                <a:gd name="T15" fmla="*/ 325 h 549"/>
                <a:gd name="T16" fmla="*/ 292 w 299"/>
                <a:gd name="T17" fmla="*/ 355 h 549"/>
                <a:gd name="T18" fmla="*/ 297 w 299"/>
                <a:gd name="T19" fmla="*/ 421 h 549"/>
                <a:gd name="T20" fmla="*/ 296 w 299"/>
                <a:gd name="T21" fmla="*/ 489 h 549"/>
                <a:gd name="T22" fmla="*/ 286 w 299"/>
                <a:gd name="T23" fmla="*/ 519 h 549"/>
                <a:gd name="T24" fmla="*/ 276 w 299"/>
                <a:gd name="T25" fmla="*/ 535 h 549"/>
                <a:gd name="T26" fmla="*/ 258 w 299"/>
                <a:gd name="T27" fmla="*/ 546 h 549"/>
                <a:gd name="T28" fmla="*/ 236 w 299"/>
                <a:gd name="T29" fmla="*/ 547 h 549"/>
                <a:gd name="T30" fmla="*/ 223 w 299"/>
                <a:gd name="T31" fmla="*/ 540 h 549"/>
                <a:gd name="T32" fmla="*/ 218 w 299"/>
                <a:gd name="T33" fmla="*/ 523 h 549"/>
                <a:gd name="T34" fmla="*/ 225 w 299"/>
                <a:gd name="T35" fmla="*/ 493 h 549"/>
                <a:gd name="T36" fmla="*/ 232 w 299"/>
                <a:gd name="T37" fmla="*/ 446 h 549"/>
                <a:gd name="T38" fmla="*/ 229 w 299"/>
                <a:gd name="T39" fmla="*/ 398 h 549"/>
                <a:gd name="T40" fmla="*/ 216 w 299"/>
                <a:gd name="T41" fmla="*/ 372 h 549"/>
                <a:gd name="T42" fmla="*/ 198 w 299"/>
                <a:gd name="T43" fmla="*/ 352 h 549"/>
                <a:gd name="T44" fmla="*/ 159 w 299"/>
                <a:gd name="T45" fmla="*/ 340 h 549"/>
                <a:gd name="T46" fmla="*/ 118 w 299"/>
                <a:gd name="T47" fmla="*/ 341 h 549"/>
                <a:gd name="T48" fmla="*/ 108 w 299"/>
                <a:gd name="T49" fmla="*/ 355 h 549"/>
                <a:gd name="T50" fmla="*/ 97 w 299"/>
                <a:gd name="T51" fmla="*/ 388 h 549"/>
                <a:gd name="T52" fmla="*/ 94 w 299"/>
                <a:gd name="T53" fmla="*/ 445 h 549"/>
                <a:gd name="T54" fmla="*/ 94 w 299"/>
                <a:gd name="T55" fmla="*/ 492 h 549"/>
                <a:gd name="T56" fmla="*/ 90 w 299"/>
                <a:gd name="T57" fmla="*/ 519 h 549"/>
                <a:gd name="T58" fmla="*/ 77 w 299"/>
                <a:gd name="T59" fmla="*/ 542 h 549"/>
                <a:gd name="T60" fmla="*/ 61 w 299"/>
                <a:gd name="T61" fmla="*/ 549 h 549"/>
                <a:gd name="T62" fmla="*/ 38 w 299"/>
                <a:gd name="T63" fmla="*/ 544 h 549"/>
                <a:gd name="T64" fmla="*/ 23 w 299"/>
                <a:gd name="T65" fmla="*/ 532 h 549"/>
                <a:gd name="T66" fmla="*/ 19 w 299"/>
                <a:gd name="T67" fmla="*/ 503 h 549"/>
                <a:gd name="T68" fmla="*/ 26 w 299"/>
                <a:gd name="T69" fmla="*/ 436 h 549"/>
                <a:gd name="T70" fmla="*/ 21 w 299"/>
                <a:gd name="T71" fmla="*/ 395 h 549"/>
                <a:gd name="T72" fmla="*/ 7 w 299"/>
                <a:gd name="T73" fmla="*/ 370 h 549"/>
                <a:gd name="T74" fmla="*/ 0 w 299"/>
                <a:gd name="T75" fmla="*/ 358 h 549"/>
                <a:gd name="T76" fmla="*/ 16 w 299"/>
                <a:gd name="T77" fmla="*/ 344 h 549"/>
                <a:gd name="T78" fmla="*/ 37 w 299"/>
                <a:gd name="T79" fmla="*/ 331 h 549"/>
                <a:gd name="T80" fmla="*/ 43 w 299"/>
                <a:gd name="T81" fmla="*/ 320 h 549"/>
                <a:gd name="T82" fmla="*/ 51 w 299"/>
                <a:gd name="T83" fmla="*/ 305 h 549"/>
                <a:gd name="T84" fmla="*/ 67 w 299"/>
                <a:gd name="T85" fmla="*/ 276 h 549"/>
                <a:gd name="T86" fmla="*/ 71 w 299"/>
                <a:gd name="T87" fmla="*/ 241 h 549"/>
                <a:gd name="T88" fmla="*/ 65 w 299"/>
                <a:gd name="T89" fmla="*/ 224 h 549"/>
                <a:gd name="T90" fmla="*/ 57 w 299"/>
                <a:gd name="T91" fmla="*/ 190 h 549"/>
                <a:gd name="T92" fmla="*/ 57 w 299"/>
                <a:gd name="T93" fmla="*/ 146 h 549"/>
                <a:gd name="T94" fmla="*/ 50 w 299"/>
                <a:gd name="T95" fmla="*/ 121 h 549"/>
                <a:gd name="T96" fmla="*/ 37 w 299"/>
                <a:gd name="T97" fmla="*/ 74 h 549"/>
                <a:gd name="T98" fmla="*/ 33 w 299"/>
                <a:gd name="T99" fmla="*/ 32 h 549"/>
                <a:gd name="T100" fmla="*/ 41 w 299"/>
                <a:gd name="T101" fmla="*/ 11 h 549"/>
                <a:gd name="T102" fmla="*/ 54 w 299"/>
                <a:gd name="T103" fmla="*/ 0 h 549"/>
                <a:gd name="T104" fmla="*/ 77 w 299"/>
                <a:gd name="T105" fmla="*/ 15 h 549"/>
                <a:gd name="T106" fmla="*/ 87 w 299"/>
                <a:gd name="T107" fmla="*/ 44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9" h="549">
                  <a:moveTo>
                    <a:pt x="91" y="62"/>
                  </a:moveTo>
                  <a:lnTo>
                    <a:pt x="91" y="62"/>
                  </a:lnTo>
                  <a:lnTo>
                    <a:pt x="97" y="84"/>
                  </a:lnTo>
                  <a:lnTo>
                    <a:pt x="102" y="105"/>
                  </a:lnTo>
                  <a:lnTo>
                    <a:pt x="108" y="152"/>
                  </a:lnTo>
                  <a:lnTo>
                    <a:pt x="114" y="197"/>
                  </a:lnTo>
                  <a:lnTo>
                    <a:pt x="118" y="219"/>
                  </a:lnTo>
                  <a:lnTo>
                    <a:pt x="125" y="241"/>
                  </a:lnTo>
                  <a:lnTo>
                    <a:pt x="125" y="241"/>
                  </a:lnTo>
                  <a:lnTo>
                    <a:pt x="121" y="256"/>
                  </a:lnTo>
                  <a:lnTo>
                    <a:pt x="118" y="273"/>
                  </a:lnTo>
                  <a:lnTo>
                    <a:pt x="118" y="280"/>
                  </a:lnTo>
                  <a:lnTo>
                    <a:pt x="118" y="288"/>
                  </a:lnTo>
                  <a:lnTo>
                    <a:pt x="120" y="296"/>
                  </a:lnTo>
                  <a:lnTo>
                    <a:pt x="122" y="304"/>
                  </a:lnTo>
                  <a:lnTo>
                    <a:pt x="122" y="304"/>
                  </a:lnTo>
                  <a:lnTo>
                    <a:pt x="171" y="301"/>
                  </a:lnTo>
                  <a:lnTo>
                    <a:pt x="196" y="301"/>
                  </a:lnTo>
                  <a:lnTo>
                    <a:pt x="221" y="304"/>
                  </a:lnTo>
                  <a:lnTo>
                    <a:pt x="232" y="305"/>
                  </a:lnTo>
                  <a:lnTo>
                    <a:pt x="243" y="310"/>
                  </a:lnTo>
                  <a:lnTo>
                    <a:pt x="253" y="314"/>
                  </a:lnTo>
                  <a:lnTo>
                    <a:pt x="263" y="318"/>
                  </a:lnTo>
                  <a:lnTo>
                    <a:pt x="272" y="325"/>
                  </a:lnTo>
                  <a:lnTo>
                    <a:pt x="279" y="334"/>
                  </a:lnTo>
                  <a:lnTo>
                    <a:pt x="286" y="344"/>
                  </a:lnTo>
                  <a:lnTo>
                    <a:pt x="292" y="355"/>
                  </a:lnTo>
                  <a:lnTo>
                    <a:pt x="292" y="355"/>
                  </a:lnTo>
                  <a:lnTo>
                    <a:pt x="296" y="398"/>
                  </a:lnTo>
                  <a:lnTo>
                    <a:pt x="297" y="421"/>
                  </a:lnTo>
                  <a:lnTo>
                    <a:pt x="299" y="445"/>
                  </a:lnTo>
                  <a:lnTo>
                    <a:pt x="299" y="468"/>
                  </a:lnTo>
                  <a:lnTo>
                    <a:pt x="296" y="489"/>
                  </a:lnTo>
                  <a:lnTo>
                    <a:pt x="293" y="499"/>
                  </a:lnTo>
                  <a:lnTo>
                    <a:pt x="290" y="510"/>
                  </a:lnTo>
                  <a:lnTo>
                    <a:pt x="286" y="519"/>
                  </a:lnTo>
                  <a:lnTo>
                    <a:pt x="280" y="529"/>
                  </a:lnTo>
                  <a:lnTo>
                    <a:pt x="280" y="529"/>
                  </a:lnTo>
                  <a:lnTo>
                    <a:pt x="276" y="535"/>
                  </a:lnTo>
                  <a:lnTo>
                    <a:pt x="270" y="539"/>
                  </a:lnTo>
                  <a:lnTo>
                    <a:pt x="263" y="543"/>
                  </a:lnTo>
                  <a:lnTo>
                    <a:pt x="258" y="546"/>
                  </a:lnTo>
                  <a:lnTo>
                    <a:pt x="250" y="547"/>
                  </a:lnTo>
                  <a:lnTo>
                    <a:pt x="243" y="547"/>
                  </a:lnTo>
                  <a:lnTo>
                    <a:pt x="236" y="547"/>
                  </a:lnTo>
                  <a:lnTo>
                    <a:pt x="229" y="546"/>
                  </a:lnTo>
                  <a:lnTo>
                    <a:pt x="229" y="546"/>
                  </a:lnTo>
                  <a:lnTo>
                    <a:pt x="223" y="540"/>
                  </a:lnTo>
                  <a:lnTo>
                    <a:pt x="221" y="536"/>
                  </a:lnTo>
                  <a:lnTo>
                    <a:pt x="219" y="530"/>
                  </a:lnTo>
                  <a:lnTo>
                    <a:pt x="218" y="523"/>
                  </a:lnTo>
                  <a:lnTo>
                    <a:pt x="219" y="512"/>
                  </a:lnTo>
                  <a:lnTo>
                    <a:pt x="221" y="499"/>
                  </a:lnTo>
                  <a:lnTo>
                    <a:pt x="225" y="493"/>
                  </a:lnTo>
                  <a:lnTo>
                    <a:pt x="225" y="493"/>
                  </a:lnTo>
                  <a:lnTo>
                    <a:pt x="229" y="463"/>
                  </a:lnTo>
                  <a:lnTo>
                    <a:pt x="232" y="446"/>
                  </a:lnTo>
                  <a:lnTo>
                    <a:pt x="232" y="431"/>
                  </a:lnTo>
                  <a:lnTo>
                    <a:pt x="232" y="414"/>
                  </a:lnTo>
                  <a:lnTo>
                    <a:pt x="229" y="398"/>
                  </a:lnTo>
                  <a:lnTo>
                    <a:pt x="223" y="385"/>
                  </a:lnTo>
                  <a:lnTo>
                    <a:pt x="221" y="378"/>
                  </a:lnTo>
                  <a:lnTo>
                    <a:pt x="216" y="372"/>
                  </a:lnTo>
                  <a:lnTo>
                    <a:pt x="216" y="372"/>
                  </a:lnTo>
                  <a:lnTo>
                    <a:pt x="208" y="361"/>
                  </a:lnTo>
                  <a:lnTo>
                    <a:pt x="198" y="352"/>
                  </a:lnTo>
                  <a:lnTo>
                    <a:pt x="186" y="347"/>
                  </a:lnTo>
                  <a:lnTo>
                    <a:pt x="174" y="342"/>
                  </a:lnTo>
                  <a:lnTo>
                    <a:pt x="159" y="340"/>
                  </a:lnTo>
                  <a:lnTo>
                    <a:pt x="147" y="338"/>
                  </a:lnTo>
                  <a:lnTo>
                    <a:pt x="132" y="340"/>
                  </a:lnTo>
                  <a:lnTo>
                    <a:pt x="118" y="341"/>
                  </a:lnTo>
                  <a:lnTo>
                    <a:pt x="118" y="341"/>
                  </a:lnTo>
                  <a:lnTo>
                    <a:pt x="112" y="348"/>
                  </a:lnTo>
                  <a:lnTo>
                    <a:pt x="108" y="355"/>
                  </a:lnTo>
                  <a:lnTo>
                    <a:pt x="104" y="362"/>
                  </a:lnTo>
                  <a:lnTo>
                    <a:pt x="101" y="371"/>
                  </a:lnTo>
                  <a:lnTo>
                    <a:pt x="97" y="388"/>
                  </a:lnTo>
                  <a:lnTo>
                    <a:pt x="94" y="405"/>
                  </a:lnTo>
                  <a:lnTo>
                    <a:pt x="94" y="425"/>
                  </a:lnTo>
                  <a:lnTo>
                    <a:pt x="94" y="445"/>
                  </a:lnTo>
                  <a:lnTo>
                    <a:pt x="94" y="483"/>
                  </a:lnTo>
                  <a:lnTo>
                    <a:pt x="94" y="483"/>
                  </a:lnTo>
                  <a:lnTo>
                    <a:pt x="94" y="492"/>
                  </a:lnTo>
                  <a:lnTo>
                    <a:pt x="94" y="500"/>
                  </a:lnTo>
                  <a:lnTo>
                    <a:pt x="93" y="510"/>
                  </a:lnTo>
                  <a:lnTo>
                    <a:pt x="90" y="519"/>
                  </a:lnTo>
                  <a:lnTo>
                    <a:pt x="87" y="527"/>
                  </a:lnTo>
                  <a:lnTo>
                    <a:pt x="83" y="535"/>
                  </a:lnTo>
                  <a:lnTo>
                    <a:pt x="77" y="542"/>
                  </a:lnTo>
                  <a:lnTo>
                    <a:pt x="70" y="547"/>
                  </a:lnTo>
                  <a:lnTo>
                    <a:pt x="70" y="547"/>
                  </a:lnTo>
                  <a:lnTo>
                    <a:pt x="61" y="549"/>
                  </a:lnTo>
                  <a:lnTo>
                    <a:pt x="53" y="547"/>
                  </a:lnTo>
                  <a:lnTo>
                    <a:pt x="46" y="547"/>
                  </a:lnTo>
                  <a:lnTo>
                    <a:pt x="38" y="544"/>
                  </a:lnTo>
                  <a:lnTo>
                    <a:pt x="33" y="542"/>
                  </a:lnTo>
                  <a:lnTo>
                    <a:pt x="27" y="537"/>
                  </a:lnTo>
                  <a:lnTo>
                    <a:pt x="23" y="532"/>
                  </a:lnTo>
                  <a:lnTo>
                    <a:pt x="19" y="525"/>
                  </a:lnTo>
                  <a:lnTo>
                    <a:pt x="19" y="525"/>
                  </a:lnTo>
                  <a:lnTo>
                    <a:pt x="19" y="503"/>
                  </a:lnTo>
                  <a:lnTo>
                    <a:pt x="20" y="482"/>
                  </a:lnTo>
                  <a:lnTo>
                    <a:pt x="23" y="459"/>
                  </a:lnTo>
                  <a:lnTo>
                    <a:pt x="26" y="436"/>
                  </a:lnTo>
                  <a:lnTo>
                    <a:pt x="26" y="415"/>
                  </a:lnTo>
                  <a:lnTo>
                    <a:pt x="24" y="405"/>
                  </a:lnTo>
                  <a:lnTo>
                    <a:pt x="21" y="395"/>
                  </a:lnTo>
                  <a:lnTo>
                    <a:pt x="19" y="387"/>
                  </a:lnTo>
                  <a:lnTo>
                    <a:pt x="14" y="377"/>
                  </a:lnTo>
                  <a:lnTo>
                    <a:pt x="7" y="370"/>
                  </a:lnTo>
                  <a:lnTo>
                    <a:pt x="0" y="362"/>
                  </a:lnTo>
                  <a:lnTo>
                    <a:pt x="0" y="362"/>
                  </a:lnTo>
                  <a:lnTo>
                    <a:pt x="0" y="358"/>
                  </a:lnTo>
                  <a:lnTo>
                    <a:pt x="3" y="354"/>
                  </a:lnTo>
                  <a:lnTo>
                    <a:pt x="7" y="348"/>
                  </a:lnTo>
                  <a:lnTo>
                    <a:pt x="16" y="344"/>
                  </a:lnTo>
                  <a:lnTo>
                    <a:pt x="23" y="340"/>
                  </a:lnTo>
                  <a:lnTo>
                    <a:pt x="31" y="337"/>
                  </a:lnTo>
                  <a:lnTo>
                    <a:pt x="37" y="331"/>
                  </a:lnTo>
                  <a:lnTo>
                    <a:pt x="40" y="328"/>
                  </a:lnTo>
                  <a:lnTo>
                    <a:pt x="41" y="324"/>
                  </a:lnTo>
                  <a:lnTo>
                    <a:pt x="43" y="320"/>
                  </a:lnTo>
                  <a:lnTo>
                    <a:pt x="43" y="314"/>
                  </a:lnTo>
                  <a:lnTo>
                    <a:pt x="43" y="314"/>
                  </a:lnTo>
                  <a:lnTo>
                    <a:pt x="51" y="305"/>
                  </a:lnTo>
                  <a:lnTo>
                    <a:pt x="58" y="296"/>
                  </a:lnTo>
                  <a:lnTo>
                    <a:pt x="64" y="286"/>
                  </a:lnTo>
                  <a:lnTo>
                    <a:pt x="67" y="276"/>
                  </a:lnTo>
                  <a:lnTo>
                    <a:pt x="70" y="264"/>
                  </a:lnTo>
                  <a:lnTo>
                    <a:pt x="71" y="253"/>
                  </a:lnTo>
                  <a:lnTo>
                    <a:pt x="71" y="241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5" y="224"/>
                  </a:lnTo>
                  <a:lnTo>
                    <a:pt x="63" y="219"/>
                  </a:lnTo>
                  <a:lnTo>
                    <a:pt x="58" y="205"/>
                  </a:lnTo>
                  <a:lnTo>
                    <a:pt x="57" y="190"/>
                  </a:lnTo>
                  <a:lnTo>
                    <a:pt x="57" y="176"/>
                  </a:lnTo>
                  <a:lnTo>
                    <a:pt x="58" y="160"/>
                  </a:lnTo>
                  <a:lnTo>
                    <a:pt x="57" y="146"/>
                  </a:lnTo>
                  <a:lnTo>
                    <a:pt x="56" y="133"/>
                  </a:lnTo>
                  <a:lnTo>
                    <a:pt x="53" y="126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41" y="91"/>
                  </a:lnTo>
                  <a:lnTo>
                    <a:pt x="37" y="74"/>
                  </a:lnTo>
                  <a:lnTo>
                    <a:pt x="33" y="57"/>
                  </a:lnTo>
                  <a:lnTo>
                    <a:pt x="33" y="41"/>
                  </a:lnTo>
                  <a:lnTo>
                    <a:pt x="33" y="32"/>
                  </a:lnTo>
                  <a:lnTo>
                    <a:pt x="36" y="25"/>
                  </a:lnTo>
                  <a:lnTo>
                    <a:pt x="37" y="18"/>
                  </a:lnTo>
                  <a:lnTo>
                    <a:pt x="41" y="11"/>
                  </a:lnTo>
                  <a:lnTo>
                    <a:pt x="47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3"/>
                  </a:lnTo>
                  <a:lnTo>
                    <a:pt x="71" y="8"/>
                  </a:lnTo>
                  <a:lnTo>
                    <a:pt x="77" y="15"/>
                  </a:lnTo>
                  <a:lnTo>
                    <a:pt x="81" y="24"/>
                  </a:lnTo>
                  <a:lnTo>
                    <a:pt x="84" y="34"/>
                  </a:lnTo>
                  <a:lnTo>
                    <a:pt x="87" y="44"/>
                  </a:lnTo>
                  <a:lnTo>
                    <a:pt x="91" y="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374"/>
            <p:cNvSpPr>
              <a:spLocks/>
            </p:cNvSpPr>
            <p:nvPr/>
          </p:nvSpPr>
          <p:spPr bwMode="auto">
            <a:xfrm>
              <a:off x="7126" y="2317"/>
              <a:ext cx="131" cy="511"/>
            </a:xfrm>
            <a:custGeom>
              <a:avLst/>
              <a:gdLst>
                <a:gd name="T0" fmla="*/ 15 w 131"/>
                <a:gd name="T1" fmla="*/ 7 h 511"/>
                <a:gd name="T2" fmla="*/ 3 w 131"/>
                <a:gd name="T3" fmla="*/ 17 h 511"/>
                <a:gd name="T4" fmla="*/ 0 w 131"/>
                <a:gd name="T5" fmla="*/ 32 h 511"/>
                <a:gd name="T6" fmla="*/ 2 w 131"/>
                <a:gd name="T7" fmla="*/ 63 h 511"/>
                <a:gd name="T8" fmla="*/ 10 w 131"/>
                <a:gd name="T9" fmla="*/ 77 h 511"/>
                <a:gd name="T10" fmla="*/ 22 w 131"/>
                <a:gd name="T11" fmla="*/ 110 h 511"/>
                <a:gd name="T12" fmla="*/ 27 w 131"/>
                <a:gd name="T13" fmla="*/ 143 h 511"/>
                <a:gd name="T14" fmla="*/ 32 w 131"/>
                <a:gd name="T15" fmla="*/ 195 h 511"/>
                <a:gd name="T16" fmla="*/ 36 w 131"/>
                <a:gd name="T17" fmla="*/ 301 h 511"/>
                <a:gd name="T18" fmla="*/ 39 w 131"/>
                <a:gd name="T19" fmla="*/ 335 h 511"/>
                <a:gd name="T20" fmla="*/ 46 w 131"/>
                <a:gd name="T21" fmla="*/ 352 h 511"/>
                <a:gd name="T22" fmla="*/ 43 w 131"/>
                <a:gd name="T23" fmla="*/ 369 h 511"/>
                <a:gd name="T24" fmla="*/ 39 w 131"/>
                <a:gd name="T25" fmla="*/ 387 h 511"/>
                <a:gd name="T26" fmla="*/ 39 w 131"/>
                <a:gd name="T27" fmla="*/ 407 h 511"/>
                <a:gd name="T28" fmla="*/ 43 w 131"/>
                <a:gd name="T29" fmla="*/ 416 h 511"/>
                <a:gd name="T30" fmla="*/ 46 w 131"/>
                <a:gd name="T31" fmla="*/ 436 h 511"/>
                <a:gd name="T32" fmla="*/ 46 w 131"/>
                <a:gd name="T33" fmla="*/ 467 h 511"/>
                <a:gd name="T34" fmla="*/ 47 w 131"/>
                <a:gd name="T35" fmla="*/ 487 h 511"/>
                <a:gd name="T36" fmla="*/ 53 w 131"/>
                <a:gd name="T37" fmla="*/ 494 h 511"/>
                <a:gd name="T38" fmla="*/ 66 w 131"/>
                <a:gd name="T39" fmla="*/ 505 h 511"/>
                <a:gd name="T40" fmla="*/ 83 w 131"/>
                <a:gd name="T41" fmla="*/ 511 h 511"/>
                <a:gd name="T42" fmla="*/ 103 w 131"/>
                <a:gd name="T43" fmla="*/ 511 h 511"/>
                <a:gd name="T44" fmla="*/ 113 w 131"/>
                <a:gd name="T45" fmla="*/ 508 h 511"/>
                <a:gd name="T46" fmla="*/ 124 w 131"/>
                <a:gd name="T47" fmla="*/ 501 h 511"/>
                <a:gd name="T48" fmla="*/ 130 w 131"/>
                <a:gd name="T49" fmla="*/ 491 h 511"/>
                <a:gd name="T50" fmla="*/ 131 w 131"/>
                <a:gd name="T51" fmla="*/ 480 h 511"/>
                <a:gd name="T52" fmla="*/ 126 w 131"/>
                <a:gd name="T53" fmla="*/ 453 h 511"/>
                <a:gd name="T54" fmla="*/ 118 w 131"/>
                <a:gd name="T55" fmla="*/ 426 h 511"/>
                <a:gd name="T56" fmla="*/ 117 w 131"/>
                <a:gd name="T57" fmla="*/ 413 h 511"/>
                <a:gd name="T58" fmla="*/ 116 w 131"/>
                <a:gd name="T59" fmla="*/ 384 h 511"/>
                <a:gd name="T60" fmla="*/ 121 w 131"/>
                <a:gd name="T61" fmla="*/ 299 h 511"/>
                <a:gd name="T62" fmla="*/ 123 w 131"/>
                <a:gd name="T63" fmla="*/ 256 h 511"/>
                <a:gd name="T64" fmla="*/ 118 w 131"/>
                <a:gd name="T65" fmla="*/ 229 h 511"/>
                <a:gd name="T66" fmla="*/ 110 w 131"/>
                <a:gd name="T67" fmla="*/ 204 h 511"/>
                <a:gd name="T68" fmla="*/ 104 w 131"/>
                <a:gd name="T69" fmla="*/ 191 h 511"/>
                <a:gd name="T70" fmla="*/ 97 w 131"/>
                <a:gd name="T71" fmla="*/ 145 h 511"/>
                <a:gd name="T72" fmla="*/ 80 w 131"/>
                <a:gd name="T73" fmla="*/ 81 h 511"/>
                <a:gd name="T74" fmla="*/ 73 w 131"/>
                <a:gd name="T75" fmla="*/ 37 h 511"/>
                <a:gd name="T76" fmla="*/ 73 w 131"/>
                <a:gd name="T77" fmla="*/ 16 h 511"/>
                <a:gd name="T78" fmla="*/ 62 w 131"/>
                <a:gd name="T79" fmla="*/ 3 h 511"/>
                <a:gd name="T80" fmla="*/ 47 w 131"/>
                <a:gd name="T81" fmla="*/ 0 h 511"/>
                <a:gd name="T82" fmla="*/ 30 w 131"/>
                <a:gd name="T83" fmla="*/ 2 h 511"/>
                <a:gd name="T84" fmla="*/ 15 w 131"/>
                <a:gd name="T85" fmla="*/ 7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" h="511">
                  <a:moveTo>
                    <a:pt x="15" y="7"/>
                  </a:moveTo>
                  <a:lnTo>
                    <a:pt x="15" y="7"/>
                  </a:lnTo>
                  <a:lnTo>
                    <a:pt x="9" y="12"/>
                  </a:lnTo>
                  <a:lnTo>
                    <a:pt x="3" y="17"/>
                  </a:lnTo>
                  <a:lnTo>
                    <a:pt x="2" y="23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10" y="77"/>
                  </a:lnTo>
                  <a:lnTo>
                    <a:pt x="16" y="93"/>
                  </a:lnTo>
                  <a:lnTo>
                    <a:pt x="22" y="110"/>
                  </a:lnTo>
                  <a:lnTo>
                    <a:pt x="25" y="126"/>
                  </a:lnTo>
                  <a:lnTo>
                    <a:pt x="27" y="143"/>
                  </a:lnTo>
                  <a:lnTo>
                    <a:pt x="30" y="160"/>
                  </a:lnTo>
                  <a:lnTo>
                    <a:pt x="32" y="195"/>
                  </a:lnTo>
                  <a:lnTo>
                    <a:pt x="33" y="266"/>
                  </a:lnTo>
                  <a:lnTo>
                    <a:pt x="36" y="301"/>
                  </a:lnTo>
                  <a:lnTo>
                    <a:pt x="39" y="335"/>
                  </a:lnTo>
                  <a:lnTo>
                    <a:pt x="39" y="335"/>
                  </a:lnTo>
                  <a:lnTo>
                    <a:pt x="44" y="343"/>
                  </a:lnTo>
                  <a:lnTo>
                    <a:pt x="46" y="352"/>
                  </a:lnTo>
                  <a:lnTo>
                    <a:pt x="46" y="360"/>
                  </a:lnTo>
                  <a:lnTo>
                    <a:pt x="43" y="369"/>
                  </a:lnTo>
                  <a:lnTo>
                    <a:pt x="40" y="377"/>
                  </a:lnTo>
                  <a:lnTo>
                    <a:pt x="39" y="387"/>
                  </a:lnTo>
                  <a:lnTo>
                    <a:pt x="37" y="39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43" y="416"/>
                  </a:lnTo>
                  <a:lnTo>
                    <a:pt x="44" y="426"/>
                  </a:lnTo>
                  <a:lnTo>
                    <a:pt x="46" y="436"/>
                  </a:lnTo>
                  <a:lnTo>
                    <a:pt x="46" y="446"/>
                  </a:lnTo>
                  <a:lnTo>
                    <a:pt x="46" y="467"/>
                  </a:lnTo>
                  <a:lnTo>
                    <a:pt x="46" y="477"/>
                  </a:lnTo>
                  <a:lnTo>
                    <a:pt x="47" y="487"/>
                  </a:lnTo>
                  <a:lnTo>
                    <a:pt x="47" y="487"/>
                  </a:lnTo>
                  <a:lnTo>
                    <a:pt x="53" y="494"/>
                  </a:lnTo>
                  <a:lnTo>
                    <a:pt x="59" y="501"/>
                  </a:lnTo>
                  <a:lnTo>
                    <a:pt x="66" y="505"/>
                  </a:lnTo>
                  <a:lnTo>
                    <a:pt x="74" y="510"/>
                  </a:lnTo>
                  <a:lnTo>
                    <a:pt x="83" y="511"/>
                  </a:lnTo>
                  <a:lnTo>
                    <a:pt x="93" y="511"/>
                  </a:lnTo>
                  <a:lnTo>
                    <a:pt x="103" y="511"/>
                  </a:lnTo>
                  <a:lnTo>
                    <a:pt x="113" y="508"/>
                  </a:lnTo>
                  <a:lnTo>
                    <a:pt x="113" y="508"/>
                  </a:lnTo>
                  <a:lnTo>
                    <a:pt x="118" y="505"/>
                  </a:lnTo>
                  <a:lnTo>
                    <a:pt x="124" y="501"/>
                  </a:lnTo>
                  <a:lnTo>
                    <a:pt x="127" y="497"/>
                  </a:lnTo>
                  <a:lnTo>
                    <a:pt x="130" y="491"/>
                  </a:lnTo>
                  <a:lnTo>
                    <a:pt x="131" y="485"/>
                  </a:lnTo>
                  <a:lnTo>
                    <a:pt x="131" y="480"/>
                  </a:lnTo>
                  <a:lnTo>
                    <a:pt x="130" y="467"/>
                  </a:lnTo>
                  <a:lnTo>
                    <a:pt x="126" y="453"/>
                  </a:lnTo>
                  <a:lnTo>
                    <a:pt x="123" y="439"/>
                  </a:lnTo>
                  <a:lnTo>
                    <a:pt x="118" y="426"/>
                  </a:lnTo>
                  <a:lnTo>
                    <a:pt x="117" y="413"/>
                  </a:lnTo>
                  <a:lnTo>
                    <a:pt x="117" y="413"/>
                  </a:lnTo>
                  <a:lnTo>
                    <a:pt x="116" y="399"/>
                  </a:lnTo>
                  <a:lnTo>
                    <a:pt x="116" y="384"/>
                  </a:lnTo>
                  <a:lnTo>
                    <a:pt x="117" y="356"/>
                  </a:lnTo>
                  <a:lnTo>
                    <a:pt x="121" y="299"/>
                  </a:lnTo>
                  <a:lnTo>
                    <a:pt x="123" y="271"/>
                  </a:lnTo>
                  <a:lnTo>
                    <a:pt x="123" y="256"/>
                  </a:lnTo>
                  <a:lnTo>
                    <a:pt x="121" y="244"/>
                  </a:lnTo>
                  <a:lnTo>
                    <a:pt x="118" y="229"/>
                  </a:lnTo>
                  <a:lnTo>
                    <a:pt x="116" y="217"/>
                  </a:lnTo>
                  <a:lnTo>
                    <a:pt x="110" y="204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1" y="168"/>
                  </a:lnTo>
                  <a:lnTo>
                    <a:pt x="97" y="145"/>
                  </a:lnTo>
                  <a:lnTo>
                    <a:pt x="86" y="103"/>
                  </a:lnTo>
                  <a:lnTo>
                    <a:pt x="80" y="81"/>
                  </a:lnTo>
                  <a:lnTo>
                    <a:pt x="76" y="60"/>
                  </a:lnTo>
                  <a:lnTo>
                    <a:pt x="73" y="37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67" y="9"/>
                  </a:lnTo>
                  <a:lnTo>
                    <a:pt x="62" y="3"/>
                  </a:lnTo>
                  <a:lnTo>
                    <a:pt x="54" y="2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0" y="2"/>
                  </a:lnTo>
                  <a:lnTo>
                    <a:pt x="22" y="5"/>
                  </a:lnTo>
                  <a:lnTo>
                    <a:pt x="15" y="7"/>
                  </a:lnTo>
                  <a:lnTo>
                    <a:pt x="15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375"/>
            <p:cNvSpPr>
              <a:spLocks/>
            </p:cNvSpPr>
            <p:nvPr/>
          </p:nvSpPr>
          <p:spPr bwMode="auto">
            <a:xfrm>
              <a:off x="6983" y="2462"/>
              <a:ext cx="57" cy="35"/>
            </a:xfrm>
            <a:custGeom>
              <a:avLst/>
              <a:gdLst>
                <a:gd name="T0" fmla="*/ 0 w 57"/>
                <a:gd name="T1" fmla="*/ 28 h 35"/>
                <a:gd name="T2" fmla="*/ 0 w 57"/>
                <a:gd name="T3" fmla="*/ 28 h 35"/>
                <a:gd name="T4" fmla="*/ 10 w 57"/>
                <a:gd name="T5" fmla="*/ 30 h 35"/>
                <a:gd name="T6" fmla="*/ 18 w 57"/>
                <a:gd name="T7" fmla="*/ 33 h 35"/>
                <a:gd name="T8" fmla="*/ 28 w 57"/>
                <a:gd name="T9" fmla="*/ 35 h 35"/>
                <a:gd name="T10" fmla="*/ 38 w 57"/>
                <a:gd name="T11" fmla="*/ 32 h 35"/>
                <a:gd name="T12" fmla="*/ 38 w 57"/>
                <a:gd name="T13" fmla="*/ 32 h 35"/>
                <a:gd name="T14" fmla="*/ 45 w 57"/>
                <a:gd name="T15" fmla="*/ 28 h 35"/>
                <a:gd name="T16" fmla="*/ 52 w 57"/>
                <a:gd name="T17" fmla="*/ 19 h 35"/>
                <a:gd name="T18" fmla="*/ 55 w 57"/>
                <a:gd name="T19" fmla="*/ 15 h 35"/>
                <a:gd name="T20" fmla="*/ 57 w 57"/>
                <a:gd name="T21" fmla="*/ 10 h 35"/>
                <a:gd name="T22" fmla="*/ 55 w 57"/>
                <a:gd name="T23" fmla="*/ 5 h 35"/>
                <a:gd name="T24" fmla="*/ 54 w 57"/>
                <a:gd name="T25" fmla="*/ 0 h 35"/>
                <a:gd name="T26" fmla="*/ 54 w 57"/>
                <a:gd name="T27" fmla="*/ 0 h 35"/>
                <a:gd name="T28" fmla="*/ 37 w 57"/>
                <a:gd name="T29" fmla="*/ 2 h 35"/>
                <a:gd name="T30" fmla="*/ 30 w 57"/>
                <a:gd name="T31" fmla="*/ 3 h 35"/>
                <a:gd name="T32" fmla="*/ 21 w 57"/>
                <a:gd name="T33" fmla="*/ 6 h 35"/>
                <a:gd name="T34" fmla="*/ 14 w 57"/>
                <a:gd name="T35" fmla="*/ 9 h 35"/>
                <a:gd name="T36" fmla="*/ 8 w 57"/>
                <a:gd name="T37" fmla="*/ 13 h 35"/>
                <a:gd name="T38" fmla="*/ 4 w 57"/>
                <a:gd name="T39" fmla="*/ 19 h 35"/>
                <a:gd name="T40" fmla="*/ 0 w 57"/>
                <a:gd name="T41" fmla="*/ 28 h 35"/>
                <a:gd name="T42" fmla="*/ 0 w 57"/>
                <a:gd name="T43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5">
                  <a:moveTo>
                    <a:pt x="0" y="28"/>
                  </a:moveTo>
                  <a:lnTo>
                    <a:pt x="0" y="28"/>
                  </a:lnTo>
                  <a:lnTo>
                    <a:pt x="10" y="30"/>
                  </a:lnTo>
                  <a:lnTo>
                    <a:pt x="18" y="33"/>
                  </a:lnTo>
                  <a:lnTo>
                    <a:pt x="28" y="35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5" y="28"/>
                  </a:lnTo>
                  <a:lnTo>
                    <a:pt x="52" y="19"/>
                  </a:lnTo>
                  <a:lnTo>
                    <a:pt x="55" y="15"/>
                  </a:lnTo>
                  <a:lnTo>
                    <a:pt x="57" y="10"/>
                  </a:lnTo>
                  <a:lnTo>
                    <a:pt x="55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8" y="13"/>
                  </a:lnTo>
                  <a:lnTo>
                    <a:pt x="4" y="19"/>
                  </a:lnTo>
                  <a:lnTo>
                    <a:pt x="0" y="28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376"/>
            <p:cNvSpPr>
              <a:spLocks/>
            </p:cNvSpPr>
            <p:nvPr/>
          </p:nvSpPr>
          <p:spPr bwMode="auto">
            <a:xfrm>
              <a:off x="6205" y="2532"/>
              <a:ext cx="251" cy="340"/>
            </a:xfrm>
            <a:custGeom>
              <a:avLst/>
              <a:gdLst>
                <a:gd name="T0" fmla="*/ 207 w 251"/>
                <a:gd name="T1" fmla="*/ 6 h 340"/>
                <a:gd name="T2" fmla="*/ 180 w 251"/>
                <a:gd name="T3" fmla="*/ 2 h 340"/>
                <a:gd name="T4" fmla="*/ 156 w 251"/>
                <a:gd name="T5" fmla="*/ 2 h 340"/>
                <a:gd name="T6" fmla="*/ 133 w 251"/>
                <a:gd name="T7" fmla="*/ 6 h 340"/>
                <a:gd name="T8" fmla="*/ 110 w 251"/>
                <a:gd name="T9" fmla="*/ 16 h 340"/>
                <a:gd name="T10" fmla="*/ 69 w 251"/>
                <a:gd name="T11" fmla="*/ 39 h 340"/>
                <a:gd name="T12" fmla="*/ 28 w 251"/>
                <a:gd name="T13" fmla="*/ 64 h 340"/>
                <a:gd name="T14" fmla="*/ 21 w 251"/>
                <a:gd name="T15" fmla="*/ 73 h 340"/>
                <a:gd name="T16" fmla="*/ 9 w 251"/>
                <a:gd name="T17" fmla="*/ 88 h 340"/>
                <a:gd name="T18" fmla="*/ 4 w 251"/>
                <a:gd name="T19" fmla="*/ 107 h 340"/>
                <a:gd name="T20" fmla="*/ 0 w 251"/>
                <a:gd name="T21" fmla="*/ 137 h 340"/>
                <a:gd name="T22" fmla="*/ 1 w 251"/>
                <a:gd name="T23" fmla="*/ 181 h 340"/>
                <a:gd name="T24" fmla="*/ 2 w 251"/>
                <a:gd name="T25" fmla="*/ 224 h 340"/>
                <a:gd name="T26" fmla="*/ 5 w 251"/>
                <a:gd name="T27" fmla="*/ 235 h 340"/>
                <a:gd name="T28" fmla="*/ 7 w 251"/>
                <a:gd name="T29" fmla="*/ 273 h 340"/>
                <a:gd name="T30" fmla="*/ 11 w 251"/>
                <a:gd name="T31" fmla="*/ 296 h 340"/>
                <a:gd name="T32" fmla="*/ 19 w 251"/>
                <a:gd name="T33" fmla="*/ 312 h 340"/>
                <a:gd name="T34" fmla="*/ 24 w 251"/>
                <a:gd name="T35" fmla="*/ 317 h 340"/>
                <a:gd name="T36" fmla="*/ 42 w 251"/>
                <a:gd name="T37" fmla="*/ 327 h 340"/>
                <a:gd name="T38" fmla="*/ 62 w 251"/>
                <a:gd name="T39" fmla="*/ 334 h 340"/>
                <a:gd name="T40" fmla="*/ 106 w 251"/>
                <a:gd name="T41" fmla="*/ 340 h 340"/>
                <a:gd name="T42" fmla="*/ 153 w 251"/>
                <a:gd name="T43" fmla="*/ 339 h 340"/>
                <a:gd name="T44" fmla="*/ 197 w 251"/>
                <a:gd name="T45" fmla="*/ 332 h 340"/>
                <a:gd name="T46" fmla="*/ 211 w 251"/>
                <a:gd name="T47" fmla="*/ 327 h 340"/>
                <a:gd name="T48" fmla="*/ 237 w 251"/>
                <a:gd name="T49" fmla="*/ 313 h 340"/>
                <a:gd name="T50" fmla="*/ 248 w 251"/>
                <a:gd name="T51" fmla="*/ 305 h 340"/>
                <a:gd name="T52" fmla="*/ 251 w 251"/>
                <a:gd name="T53" fmla="*/ 293 h 340"/>
                <a:gd name="T54" fmla="*/ 247 w 251"/>
                <a:gd name="T55" fmla="*/ 285 h 340"/>
                <a:gd name="T56" fmla="*/ 244 w 251"/>
                <a:gd name="T57" fmla="*/ 283 h 340"/>
                <a:gd name="T58" fmla="*/ 207 w 251"/>
                <a:gd name="T59" fmla="*/ 285 h 340"/>
                <a:gd name="T60" fmla="*/ 173 w 251"/>
                <a:gd name="T61" fmla="*/ 293 h 340"/>
                <a:gd name="T62" fmla="*/ 162 w 251"/>
                <a:gd name="T63" fmla="*/ 296 h 340"/>
                <a:gd name="T64" fmla="*/ 139 w 251"/>
                <a:gd name="T65" fmla="*/ 296 h 340"/>
                <a:gd name="T66" fmla="*/ 118 w 251"/>
                <a:gd name="T67" fmla="*/ 292 h 340"/>
                <a:gd name="T68" fmla="*/ 98 w 251"/>
                <a:gd name="T69" fmla="*/ 283 h 340"/>
                <a:gd name="T70" fmla="*/ 88 w 251"/>
                <a:gd name="T71" fmla="*/ 278 h 340"/>
                <a:gd name="T72" fmla="*/ 78 w 251"/>
                <a:gd name="T73" fmla="*/ 259 h 340"/>
                <a:gd name="T74" fmla="*/ 75 w 251"/>
                <a:gd name="T75" fmla="*/ 243 h 340"/>
                <a:gd name="T76" fmla="*/ 76 w 251"/>
                <a:gd name="T77" fmla="*/ 238 h 340"/>
                <a:gd name="T78" fmla="*/ 75 w 251"/>
                <a:gd name="T79" fmla="*/ 194 h 340"/>
                <a:gd name="T80" fmla="*/ 72 w 251"/>
                <a:gd name="T81" fmla="*/ 148 h 340"/>
                <a:gd name="T82" fmla="*/ 74 w 251"/>
                <a:gd name="T83" fmla="*/ 115 h 340"/>
                <a:gd name="T84" fmla="*/ 79 w 251"/>
                <a:gd name="T85" fmla="*/ 95 h 340"/>
                <a:gd name="T86" fmla="*/ 89 w 251"/>
                <a:gd name="T87" fmla="*/ 77 h 340"/>
                <a:gd name="T88" fmla="*/ 96 w 251"/>
                <a:gd name="T89" fmla="*/ 68 h 340"/>
                <a:gd name="T90" fmla="*/ 103 w 251"/>
                <a:gd name="T91" fmla="*/ 60 h 340"/>
                <a:gd name="T92" fmla="*/ 123 w 251"/>
                <a:gd name="T93" fmla="*/ 51 h 340"/>
                <a:gd name="T94" fmla="*/ 145 w 251"/>
                <a:gd name="T95" fmla="*/ 47 h 340"/>
                <a:gd name="T96" fmla="*/ 166 w 251"/>
                <a:gd name="T97" fmla="*/ 39 h 340"/>
                <a:gd name="T98" fmla="*/ 173 w 251"/>
                <a:gd name="T99" fmla="*/ 31 h 340"/>
                <a:gd name="T100" fmla="*/ 179 w 251"/>
                <a:gd name="T101" fmla="*/ 29 h 340"/>
                <a:gd name="T102" fmla="*/ 199 w 251"/>
                <a:gd name="T103" fmla="*/ 31 h 340"/>
                <a:gd name="T104" fmla="*/ 209 w 251"/>
                <a:gd name="T105" fmla="*/ 30 h 340"/>
                <a:gd name="T106" fmla="*/ 213 w 251"/>
                <a:gd name="T107" fmla="*/ 27 h 340"/>
                <a:gd name="T108" fmla="*/ 207 w 251"/>
                <a:gd name="T109" fmla="*/ 6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1" h="340">
                  <a:moveTo>
                    <a:pt x="207" y="6"/>
                  </a:moveTo>
                  <a:lnTo>
                    <a:pt x="207" y="6"/>
                  </a:lnTo>
                  <a:lnTo>
                    <a:pt x="193" y="3"/>
                  </a:lnTo>
                  <a:lnTo>
                    <a:pt x="180" y="2"/>
                  </a:lnTo>
                  <a:lnTo>
                    <a:pt x="167" y="0"/>
                  </a:lnTo>
                  <a:lnTo>
                    <a:pt x="156" y="2"/>
                  </a:lnTo>
                  <a:lnTo>
                    <a:pt x="145" y="3"/>
                  </a:lnTo>
                  <a:lnTo>
                    <a:pt x="133" y="6"/>
                  </a:lnTo>
                  <a:lnTo>
                    <a:pt x="122" y="10"/>
                  </a:lnTo>
                  <a:lnTo>
                    <a:pt x="110" y="16"/>
                  </a:lnTo>
                  <a:lnTo>
                    <a:pt x="89" y="26"/>
                  </a:lnTo>
                  <a:lnTo>
                    <a:pt x="69" y="39"/>
                  </a:lnTo>
                  <a:lnTo>
                    <a:pt x="49" y="5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1" y="73"/>
                  </a:lnTo>
                  <a:lnTo>
                    <a:pt x="15" y="80"/>
                  </a:lnTo>
                  <a:lnTo>
                    <a:pt x="9" y="88"/>
                  </a:lnTo>
                  <a:lnTo>
                    <a:pt x="7" y="98"/>
                  </a:lnTo>
                  <a:lnTo>
                    <a:pt x="4" y="107"/>
                  </a:lnTo>
                  <a:lnTo>
                    <a:pt x="1" y="117"/>
                  </a:lnTo>
                  <a:lnTo>
                    <a:pt x="0" y="137"/>
                  </a:lnTo>
                  <a:lnTo>
                    <a:pt x="1" y="158"/>
                  </a:lnTo>
                  <a:lnTo>
                    <a:pt x="1" y="181"/>
                  </a:lnTo>
                  <a:lnTo>
                    <a:pt x="2" y="202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5" y="235"/>
                  </a:lnTo>
                  <a:lnTo>
                    <a:pt x="7" y="248"/>
                  </a:lnTo>
                  <a:lnTo>
                    <a:pt x="7" y="273"/>
                  </a:lnTo>
                  <a:lnTo>
                    <a:pt x="8" y="285"/>
                  </a:lnTo>
                  <a:lnTo>
                    <a:pt x="11" y="296"/>
                  </a:lnTo>
                  <a:lnTo>
                    <a:pt x="15" y="307"/>
                  </a:lnTo>
                  <a:lnTo>
                    <a:pt x="19" y="312"/>
                  </a:lnTo>
                  <a:lnTo>
                    <a:pt x="24" y="317"/>
                  </a:lnTo>
                  <a:lnTo>
                    <a:pt x="24" y="317"/>
                  </a:lnTo>
                  <a:lnTo>
                    <a:pt x="32" y="323"/>
                  </a:lnTo>
                  <a:lnTo>
                    <a:pt x="42" y="327"/>
                  </a:lnTo>
                  <a:lnTo>
                    <a:pt x="51" y="332"/>
                  </a:lnTo>
                  <a:lnTo>
                    <a:pt x="62" y="334"/>
                  </a:lnTo>
                  <a:lnTo>
                    <a:pt x="83" y="339"/>
                  </a:lnTo>
                  <a:lnTo>
                    <a:pt x="106" y="340"/>
                  </a:lnTo>
                  <a:lnTo>
                    <a:pt x="130" y="340"/>
                  </a:lnTo>
                  <a:lnTo>
                    <a:pt x="153" y="339"/>
                  </a:lnTo>
                  <a:lnTo>
                    <a:pt x="176" y="336"/>
                  </a:lnTo>
                  <a:lnTo>
                    <a:pt x="197" y="332"/>
                  </a:lnTo>
                  <a:lnTo>
                    <a:pt x="197" y="332"/>
                  </a:lnTo>
                  <a:lnTo>
                    <a:pt x="211" y="327"/>
                  </a:lnTo>
                  <a:lnTo>
                    <a:pt x="224" y="320"/>
                  </a:lnTo>
                  <a:lnTo>
                    <a:pt x="237" y="313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51" y="299"/>
                  </a:lnTo>
                  <a:lnTo>
                    <a:pt x="251" y="293"/>
                  </a:lnTo>
                  <a:lnTo>
                    <a:pt x="250" y="288"/>
                  </a:lnTo>
                  <a:lnTo>
                    <a:pt x="247" y="285"/>
                  </a:lnTo>
                  <a:lnTo>
                    <a:pt x="244" y="283"/>
                  </a:lnTo>
                  <a:lnTo>
                    <a:pt x="244" y="283"/>
                  </a:lnTo>
                  <a:lnTo>
                    <a:pt x="226" y="283"/>
                  </a:lnTo>
                  <a:lnTo>
                    <a:pt x="207" y="285"/>
                  </a:lnTo>
                  <a:lnTo>
                    <a:pt x="190" y="288"/>
                  </a:lnTo>
                  <a:lnTo>
                    <a:pt x="173" y="293"/>
                  </a:lnTo>
                  <a:lnTo>
                    <a:pt x="173" y="293"/>
                  </a:lnTo>
                  <a:lnTo>
                    <a:pt x="162" y="296"/>
                  </a:lnTo>
                  <a:lnTo>
                    <a:pt x="150" y="296"/>
                  </a:lnTo>
                  <a:lnTo>
                    <a:pt x="139" y="296"/>
                  </a:lnTo>
                  <a:lnTo>
                    <a:pt x="128" y="295"/>
                  </a:lnTo>
                  <a:lnTo>
                    <a:pt x="118" y="292"/>
                  </a:lnTo>
                  <a:lnTo>
                    <a:pt x="108" y="288"/>
                  </a:lnTo>
                  <a:lnTo>
                    <a:pt x="98" y="283"/>
                  </a:lnTo>
                  <a:lnTo>
                    <a:pt x="88" y="278"/>
                  </a:lnTo>
                  <a:lnTo>
                    <a:pt x="88" y="278"/>
                  </a:lnTo>
                  <a:lnTo>
                    <a:pt x="82" y="269"/>
                  </a:lnTo>
                  <a:lnTo>
                    <a:pt x="78" y="259"/>
                  </a:lnTo>
                  <a:lnTo>
                    <a:pt x="75" y="249"/>
                  </a:lnTo>
                  <a:lnTo>
                    <a:pt x="75" y="243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6" y="216"/>
                  </a:lnTo>
                  <a:lnTo>
                    <a:pt x="75" y="194"/>
                  </a:lnTo>
                  <a:lnTo>
                    <a:pt x="74" y="171"/>
                  </a:lnTo>
                  <a:lnTo>
                    <a:pt x="72" y="148"/>
                  </a:lnTo>
                  <a:lnTo>
                    <a:pt x="74" y="125"/>
                  </a:lnTo>
                  <a:lnTo>
                    <a:pt x="74" y="115"/>
                  </a:lnTo>
                  <a:lnTo>
                    <a:pt x="76" y="105"/>
                  </a:lnTo>
                  <a:lnTo>
                    <a:pt x="79" y="95"/>
                  </a:lnTo>
                  <a:lnTo>
                    <a:pt x="83" y="86"/>
                  </a:lnTo>
                  <a:lnTo>
                    <a:pt x="89" y="77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101" y="64"/>
                  </a:lnTo>
                  <a:lnTo>
                    <a:pt x="103" y="60"/>
                  </a:lnTo>
                  <a:lnTo>
                    <a:pt x="113" y="54"/>
                  </a:lnTo>
                  <a:lnTo>
                    <a:pt x="123" y="51"/>
                  </a:lnTo>
                  <a:lnTo>
                    <a:pt x="135" y="49"/>
                  </a:lnTo>
                  <a:lnTo>
                    <a:pt x="145" y="47"/>
                  </a:lnTo>
                  <a:lnTo>
                    <a:pt x="156" y="44"/>
                  </a:lnTo>
                  <a:lnTo>
                    <a:pt x="166" y="39"/>
                  </a:lnTo>
                  <a:lnTo>
                    <a:pt x="170" y="36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9" y="29"/>
                  </a:lnTo>
                  <a:lnTo>
                    <a:pt x="186" y="29"/>
                  </a:lnTo>
                  <a:lnTo>
                    <a:pt x="199" y="31"/>
                  </a:lnTo>
                  <a:lnTo>
                    <a:pt x="204" y="31"/>
                  </a:lnTo>
                  <a:lnTo>
                    <a:pt x="209" y="30"/>
                  </a:lnTo>
                  <a:lnTo>
                    <a:pt x="211" y="29"/>
                  </a:lnTo>
                  <a:lnTo>
                    <a:pt x="213" y="27"/>
                  </a:lnTo>
                  <a:lnTo>
                    <a:pt x="213" y="19"/>
                  </a:lnTo>
                  <a:lnTo>
                    <a:pt x="207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377"/>
            <p:cNvSpPr>
              <a:spLocks/>
            </p:cNvSpPr>
            <p:nvPr/>
          </p:nvSpPr>
          <p:spPr bwMode="auto">
            <a:xfrm>
              <a:off x="6930" y="2569"/>
              <a:ext cx="110" cy="295"/>
            </a:xfrm>
            <a:custGeom>
              <a:avLst/>
              <a:gdLst>
                <a:gd name="T0" fmla="*/ 73 w 110"/>
                <a:gd name="T1" fmla="*/ 0 h 295"/>
                <a:gd name="T2" fmla="*/ 73 w 110"/>
                <a:gd name="T3" fmla="*/ 0 h 295"/>
                <a:gd name="T4" fmla="*/ 67 w 110"/>
                <a:gd name="T5" fmla="*/ 2 h 295"/>
                <a:gd name="T6" fmla="*/ 61 w 110"/>
                <a:gd name="T7" fmla="*/ 4 h 295"/>
                <a:gd name="T8" fmla="*/ 57 w 110"/>
                <a:gd name="T9" fmla="*/ 7 h 295"/>
                <a:gd name="T10" fmla="*/ 54 w 110"/>
                <a:gd name="T11" fmla="*/ 12 h 295"/>
                <a:gd name="T12" fmla="*/ 48 w 110"/>
                <a:gd name="T13" fmla="*/ 20 h 295"/>
                <a:gd name="T14" fmla="*/ 43 w 110"/>
                <a:gd name="T15" fmla="*/ 30 h 295"/>
                <a:gd name="T16" fmla="*/ 43 w 110"/>
                <a:gd name="T17" fmla="*/ 30 h 295"/>
                <a:gd name="T18" fmla="*/ 44 w 110"/>
                <a:gd name="T19" fmla="*/ 57 h 295"/>
                <a:gd name="T20" fmla="*/ 41 w 110"/>
                <a:gd name="T21" fmla="*/ 83 h 295"/>
                <a:gd name="T22" fmla="*/ 37 w 110"/>
                <a:gd name="T23" fmla="*/ 108 h 295"/>
                <a:gd name="T24" fmla="*/ 33 w 110"/>
                <a:gd name="T25" fmla="*/ 132 h 295"/>
                <a:gd name="T26" fmla="*/ 26 w 110"/>
                <a:gd name="T27" fmla="*/ 157 h 295"/>
                <a:gd name="T28" fmla="*/ 17 w 110"/>
                <a:gd name="T29" fmla="*/ 181 h 295"/>
                <a:gd name="T30" fmla="*/ 0 w 110"/>
                <a:gd name="T31" fmla="*/ 225 h 295"/>
                <a:gd name="T32" fmla="*/ 0 w 110"/>
                <a:gd name="T33" fmla="*/ 225 h 295"/>
                <a:gd name="T34" fmla="*/ 3 w 110"/>
                <a:gd name="T35" fmla="*/ 245 h 295"/>
                <a:gd name="T36" fmla="*/ 7 w 110"/>
                <a:gd name="T37" fmla="*/ 265 h 295"/>
                <a:gd name="T38" fmla="*/ 11 w 110"/>
                <a:gd name="T39" fmla="*/ 273 h 295"/>
                <a:gd name="T40" fmla="*/ 16 w 110"/>
                <a:gd name="T41" fmla="*/ 280 h 295"/>
                <a:gd name="T42" fmla="*/ 21 w 110"/>
                <a:gd name="T43" fmla="*/ 288 h 295"/>
                <a:gd name="T44" fmla="*/ 28 w 110"/>
                <a:gd name="T45" fmla="*/ 292 h 295"/>
                <a:gd name="T46" fmla="*/ 28 w 110"/>
                <a:gd name="T47" fmla="*/ 292 h 295"/>
                <a:gd name="T48" fmla="*/ 36 w 110"/>
                <a:gd name="T49" fmla="*/ 295 h 295"/>
                <a:gd name="T50" fmla="*/ 44 w 110"/>
                <a:gd name="T51" fmla="*/ 295 h 295"/>
                <a:gd name="T52" fmla="*/ 51 w 110"/>
                <a:gd name="T53" fmla="*/ 295 h 295"/>
                <a:gd name="T54" fmla="*/ 58 w 110"/>
                <a:gd name="T55" fmla="*/ 293 h 295"/>
                <a:gd name="T56" fmla="*/ 65 w 110"/>
                <a:gd name="T57" fmla="*/ 290 h 295"/>
                <a:gd name="T58" fmla="*/ 71 w 110"/>
                <a:gd name="T59" fmla="*/ 286 h 295"/>
                <a:gd name="T60" fmla="*/ 77 w 110"/>
                <a:gd name="T61" fmla="*/ 282 h 295"/>
                <a:gd name="T62" fmla="*/ 81 w 110"/>
                <a:gd name="T63" fmla="*/ 276 h 295"/>
                <a:gd name="T64" fmla="*/ 81 w 110"/>
                <a:gd name="T65" fmla="*/ 276 h 295"/>
                <a:gd name="T66" fmla="*/ 83 w 110"/>
                <a:gd name="T67" fmla="*/ 270 h 295"/>
                <a:gd name="T68" fmla="*/ 84 w 110"/>
                <a:gd name="T69" fmla="*/ 266 h 295"/>
                <a:gd name="T70" fmla="*/ 84 w 110"/>
                <a:gd name="T71" fmla="*/ 262 h 295"/>
                <a:gd name="T72" fmla="*/ 84 w 110"/>
                <a:gd name="T73" fmla="*/ 258 h 295"/>
                <a:gd name="T74" fmla="*/ 81 w 110"/>
                <a:gd name="T75" fmla="*/ 249 h 295"/>
                <a:gd name="T76" fmla="*/ 77 w 110"/>
                <a:gd name="T77" fmla="*/ 242 h 295"/>
                <a:gd name="T78" fmla="*/ 71 w 110"/>
                <a:gd name="T79" fmla="*/ 235 h 295"/>
                <a:gd name="T80" fmla="*/ 68 w 110"/>
                <a:gd name="T81" fmla="*/ 226 h 295"/>
                <a:gd name="T82" fmla="*/ 67 w 110"/>
                <a:gd name="T83" fmla="*/ 222 h 295"/>
                <a:gd name="T84" fmla="*/ 67 w 110"/>
                <a:gd name="T85" fmla="*/ 218 h 295"/>
                <a:gd name="T86" fmla="*/ 68 w 110"/>
                <a:gd name="T87" fmla="*/ 214 h 295"/>
                <a:gd name="T88" fmla="*/ 70 w 110"/>
                <a:gd name="T89" fmla="*/ 209 h 295"/>
                <a:gd name="T90" fmla="*/ 70 w 110"/>
                <a:gd name="T91" fmla="*/ 209 h 295"/>
                <a:gd name="T92" fmla="*/ 81 w 110"/>
                <a:gd name="T93" fmla="*/ 188 h 295"/>
                <a:gd name="T94" fmla="*/ 90 w 110"/>
                <a:gd name="T95" fmla="*/ 167 h 295"/>
                <a:gd name="T96" fmla="*/ 98 w 110"/>
                <a:gd name="T97" fmla="*/ 145 h 295"/>
                <a:gd name="T98" fmla="*/ 102 w 110"/>
                <a:gd name="T99" fmla="*/ 122 h 295"/>
                <a:gd name="T100" fmla="*/ 107 w 110"/>
                <a:gd name="T101" fmla="*/ 98 h 295"/>
                <a:gd name="T102" fmla="*/ 110 w 110"/>
                <a:gd name="T103" fmla="*/ 74 h 295"/>
                <a:gd name="T104" fmla="*/ 110 w 110"/>
                <a:gd name="T105" fmla="*/ 50 h 295"/>
                <a:gd name="T106" fmla="*/ 108 w 110"/>
                <a:gd name="T107" fmla="*/ 24 h 295"/>
                <a:gd name="T108" fmla="*/ 108 w 110"/>
                <a:gd name="T109" fmla="*/ 24 h 295"/>
                <a:gd name="T110" fmla="*/ 105 w 110"/>
                <a:gd name="T111" fmla="*/ 17 h 295"/>
                <a:gd name="T112" fmla="*/ 102 w 110"/>
                <a:gd name="T113" fmla="*/ 13 h 295"/>
                <a:gd name="T114" fmla="*/ 100 w 110"/>
                <a:gd name="T115" fmla="*/ 9 h 295"/>
                <a:gd name="T116" fmla="*/ 95 w 110"/>
                <a:gd name="T117" fmla="*/ 6 h 295"/>
                <a:gd name="T118" fmla="*/ 90 w 110"/>
                <a:gd name="T119" fmla="*/ 3 h 295"/>
                <a:gd name="T120" fmla="*/ 84 w 110"/>
                <a:gd name="T121" fmla="*/ 2 h 295"/>
                <a:gd name="T122" fmla="*/ 73 w 110"/>
                <a:gd name="T123" fmla="*/ 0 h 295"/>
                <a:gd name="T124" fmla="*/ 73 w 110"/>
                <a:gd name="T125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0" h="295">
                  <a:moveTo>
                    <a:pt x="73" y="0"/>
                  </a:moveTo>
                  <a:lnTo>
                    <a:pt x="73" y="0"/>
                  </a:lnTo>
                  <a:lnTo>
                    <a:pt x="67" y="2"/>
                  </a:lnTo>
                  <a:lnTo>
                    <a:pt x="61" y="4"/>
                  </a:lnTo>
                  <a:lnTo>
                    <a:pt x="57" y="7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4" y="57"/>
                  </a:lnTo>
                  <a:lnTo>
                    <a:pt x="41" y="83"/>
                  </a:lnTo>
                  <a:lnTo>
                    <a:pt x="37" y="108"/>
                  </a:lnTo>
                  <a:lnTo>
                    <a:pt x="33" y="132"/>
                  </a:lnTo>
                  <a:lnTo>
                    <a:pt x="26" y="157"/>
                  </a:lnTo>
                  <a:lnTo>
                    <a:pt x="17" y="181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3" y="245"/>
                  </a:lnTo>
                  <a:lnTo>
                    <a:pt x="7" y="265"/>
                  </a:lnTo>
                  <a:lnTo>
                    <a:pt x="11" y="273"/>
                  </a:lnTo>
                  <a:lnTo>
                    <a:pt x="16" y="280"/>
                  </a:lnTo>
                  <a:lnTo>
                    <a:pt x="21" y="288"/>
                  </a:lnTo>
                  <a:lnTo>
                    <a:pt x="28" y="292"/>
                  </a:lnTo>
                  <a:lnTo>
                    <a:pt x="28" y="292"/>
                  </a:lnTo>
                  <a:lnTo>
                    <a:pt x="36" y="295"/>
                  </a:lnTo>
                  <a:lnTo>
                    <a:pt x="44" y="295"/>
                  </a:lnTo>
                  <a:lnTo>
                    <a:pt x="51" y="295"/>
                  </a:lnTo>
                  <a:lnTo>
                    <a:pt x="58" y="293"/>
                  </a:lnTo>
                  <a:lnTo>
                    <a:pt x="65" y="290"/>
                  </a:lnTo>
                  <a:lnTo>
                    <a:pt x="71" y="286"/>
                  </a:lnTo>
                  <a:lnTo>
                    <a:pt x="77" y="282"/>
                  </a:lnTo>
                  <a:lnTo>
                    <a:pt x="81" y="276"/>
                  </a:lnTo>
                  <a:lnTo>
                    <a:pt x="81" y="276"/>
                  </a:lnTo>
                  <a:lnTo>
                    <a:pt x="83" y="270"/>
                  </a:lnTo>
                  <a:lnTo>
                    <a:pt x="84" y="266"/>
                  </a:lnTo>
                  <a:lnTo>
                    <a:pt x="84" y="262"/>
                  </a:lnTo>
                  <a:lnTo>
                    <a:pt x="84" y="258"/>
                  </a:lnTo>
                  <a:lnTo>
                    <a:pt x="81" y="249"/>
                  </a:lnTo>
                  <a:lnTo>
                    <a:pt x="77" y="242"/>
                  </a:lnTo>
                  <a:lnTo>
                    <a:pt x="71" y="235"/>
                  </a:lnTo>
                  <a:lnTo>
                    <a:pt x="68" y="226"/>
                  </a:lnTo>
                  <a:lnTo>
                    <a:pt x="67" y="222"/>
                  </a:lnTo>
                  <a:lnTo>
                    <a:pt x="67" y="218"/>
                  </a:lnTo>
                  <a:lnTo>
                    <a:pt x="68" y="214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81" y="188"/>
                  </a:lnTo>
                  <a:lnTo>
                    <a:pt x="90" y="167"/>
                  </a:lnTo>
                  <a:lnTo>
                    <a:pt x="98" y="145"/>
                  </a:lnTo>
                  <a:lnTo>
                    <a:pt x="102" y="122"/>
                  </a:lnTo>
                  <a:lnTo>
                    <a:pt x="107" y="98"/>
                  </a:lnTo>
                  <a:lnTo>
                    <a:pt x="110" y="74"/>
                  </a:lnTo>
                  <a:lnTo>
                    <a:pt x="110" y="50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5" y="17"/>
                  </a:lnTo>
                  <a:lnTo>
                    <a:pt x="102" y="13"/>
                  </a:lnTo>
                  <a:lnTo>
                    <a:pt x="100" y="9"/>
                  </a:lnTo>
                  <a:lnTo>
                    <a:pt x="95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3" y="0"/>
                  </a:lnTo>
                  <a:lnTo>
                    <a:pt x="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378"/>
            <p:cNvSpPr>
              <a:spLocks/>
            </p:cNvSpPr>
            <p:nvPr/>
          </p:nvSpPr>
          <p:spPr bwMode="auto">
            <a:xfrm>
              <a:off x="7382" y="2317"/>
              <a:ext cx="375" cy="548"/>
            </a:xfrm>
            <a:custGeom>
              <a:avLst/>
              <a:gdLst>
                <a:gd name="T0" fmla="*/ 306 w 375"/>
                <a:gd name="T1" fmla="*/ 3 h 548"/>
                <a:gd name="T2" fmla="*/ 296 w 375"/>
                <a:gd name="T3" fmla="*/ 17 h 548"/>
                <a:gd name="T4" fmla="*/ 292 w 375"/>
                <a:gd name="T5" fmla="*/ 63 h 548"/>
                <a:gd name="T6" fmla="*/ 303 w 375"/>
                <a:gd name="T7" fmla="*/ 214 h 548"/>
                <a:gd name="T8" fmla="*/ 305 w 375"/>
                <a:gd name="T9" fmla="*/ 323 h 548"/>
                <a:gd name="T10" fmla="*/ 295 w 375"/>
                <a:gd name="T11" fmla="*/ 329 h 548"/>
                <a:gd name="T12" fmla="*/ 284 w 375"/>
                <a:gd name="T13" fmla="*/ 325 h 548"/>
                <a:gd name="T14" fmla="*/ 239 w 375"/>
                <a:gd name="T15" fmla="*/ 278 h 548"/>
                <a:gd name="T16" fmla="*/ 235 w 375"/>
                <a:gd name="T17" fmla="*/ 268 h 548"/>
                <a:gd name="T18" fmla="*/ 215 w 375"/>
                <a:gd name="T19" fmla="*/ 258 h 548"/>
                <a:gd name="T20" fmla="*/ 184 w 375"/>
                <a:gd name="T21" fmla="*/ 255 h 548"/>
                <a:gd name="T22" fmla="*/ 167 w 375"/>
                <a:gd name="T23" fmla="*/ 264 h 548"/>
                <a:gd name="T24" fmla="*/ 130 w 375"/>
                <a:gd name="T25" fmla="*/ 268 h 548"/>
                <a:gd name="T26" fmla="*/ 87 w 375"/>
                <a:gd name="T27" fmla="*/ 279 h 548"/>
                <a:gd name="T28" fmla="*/ 27 w 375"/>
                <a:gd name="T29" fmla="*/ 309 h 548"/>
                <a:gd name="T30" fmla="*/ 8 w 375"/>
                <a:gd name="T31" fmla="*/ 363 h 548"/>
                <a:gd name="T32" fmla="*/ 0 w 375"/>
                <a:gd name="T33" fmla="*/ 409 h 548"/>
                <a:gd name="T34" fmla="*/ 6 w 375"/>
                <a:gd name="T35" fmla="*/ 441 h 548"/>
                <a:gd name="T36" fmla="*/ 25 w 375"/>
                <a:gd name="T37" fmla="*/ 480 h 548"/>
                <a:gd name="T38" fmla="*/ 29 w 375"/>
                <a:gd name="T39" fmla="*/ 495 h 548"/>
                <a:gd name="T40" fmla="*/ 40 w 375"/>
                <a:gd name="T41" fmla="*/ 505 h 548"/>
                <a:gd name="T42" fmla="*/ 60 w 375"/>
                <a:gd name="T43" fmla="*/ 508 h 548"/>
                <a:gd name="T44" fmla="*/ 133 w 375"/>
                <a:gd name="T45" fmla="*/ 541 h 548"/>
                <a:gd name="T46" fmla="*/ 192 w 375"/>
                <a:gd name="T47" fmla="*/ 548 h 548"/>
                <a:gd name="T48" fmla="*/ 222 w 375"/>
                <a:gd name="T49" fmla="*/ 544 h 548"/>
                <a:gd name="T50" fmla="*/ 241 w 375"/>
                <a:gd name="T51" fmla="*/ 532 h 548"/>
                <a:gd name="T52" fmla="*/ 261 w 375"/>
                <a:gd name="T53" fmla="*/ 508 h 548"/>
                <a:gd name="T54" fmla="*/ 278 w 375"/>
                <a:gd name="T55" fmla="*/ 508 h 548"/>
                <a:gd name="T56" fmla="*/ 301 w 375"/>
                <a:gd name="T57" fmla="*/ 522 h 548"/>
                <a:gd name="T58" fmla="*/ 325 w 375"/>
                <a:gd name="T59" fmla="*/ 544 h 548"/>
                <a:gd name="T60" fmla="*/ 336 w 375"/>
                <a:gd name="T61" fmla="*/ 547 h 548"/>
                <a:gd name="T62" fmla="*/ 363 w 375"/>
                <a:gd name="T63" fmla="*/ 538 h 548"/>
                <a:gd name="T64" fmla="*/ 375 w 375"/>
                <a:gd name="T65" fmla="*/ 525 h 548"/>
                <a:gd name="T66" fmla="*/ 370 w 375"/>
                <a:gd name="T67" fmla="*/ 504 h 548"/>
                <a:gd name="T68" fmla="*/ 356 w 375"/>
                <a:gd name="T69" fmla="*/ 464 h 548"/>
                <a:gd name="T70" fmla="*/ 355 w 375"/>
                <a:gd name="T71" fmla="*/ 443 h 548"/>
                <a:gd name="T72" fmla="*/ 365 w 375"/>
                <a:gd name="T73" fmla="*/ 325 h 548"/>
                <a:gd name="T74" fmla="*/ 363 w 375"/>
                <a:gd name="T75" fmla="*/ 204 h 548"/>
                <a:gd name="T76" fmla="*/ 356 w 375"/>
                <a:gd name="T77" fmla="*/ 126 h 548"/>
                <a:gd name="T78" fmla="*/ 345 w 375"/>
                <a:gd name="T79" fmla="*/ 42 h 548"/>
                <a:gd name="T80" fmla="*/ 336 w 375"/>
                <a:gd name="T81" fmla="*/ 10 h 548"/>
                <a:gd name="T82" fmla="*/ 318 w 375"/>
                <a:gd name="T83" fmla="*/ 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548">
                  <a:moveTo>
                    <a:pt x="311" y="0"/>
                  </a:moveTo>
                  <a:lnTo>
                    <a:pt x="311" y="0"/>
                  </a:lnTo>
                  <a:lnTo>
                    <a:pt x="306" y="3"/>
                  </a:lnTo>
                  <a:lnTo>
                    <a:pt x="303" y="5"/>
                  </a:lnTo>
                  <a:lnTo>
                    <a:pt x="299" y="10"/>
                  </a:lnTo>
                  <a:lnTo>
                    <a:pt x="296" y="17"/>
                  </a:lnTo>
                  <a:lnTo>
                    <a:pt x="292" y="23"/>
                  </a:lnTo>
                  <a:lnTo>
                    <a:pt x="292" y="23"/>
                  </a:lnTo>
                  <a:lnTo>
                    <a:pt x="292" y="63"/>
                  </a:lnTo>
                  <a:lnTo>
                    <a:pt x="293" y="101"/>
                  </a:lnTo>
                  <a:lnTo>
                    <a:pt x="301" y="177"/>
                  </a:lnTo>
                  <a:lnTo>
                    <a:pt x="303" y="214"/>
                  </a:lnTo>
                  <a:lnTo>
                    <a:pt x="306" y="251"/>
                  </a:lnTo>
                  <a:lnTo>
                    <a:pt x="306" y="288"/>
                  </a:lnTo>
                  <a:lnTo>
                    <a:pt x="305" y="323"/>
                  </a:lnTo>
                  <a:lnTo>
                    <a:pt x="305" y="323"/>
                  </a:lnTo>
                  <a:lnTo>
                    <a:pt x="299" y="329"/>
                  </a:lnTo>
                  <a:lnTo>
                    <a:pt x="295" y="329"/>
                  </a:lnTo>
                  <a:lnTo>
                    <a:pt x="292" y="330"/>
                  </a:lnTo>
                  <a:lnTo>
                    <a:pt x="292" y="330"/>
                  </a:lnTo>
                  <a:lnTo>
                    <a:pt x="284" y="325"/>
                  </a:lnTo>
                  <a:lnTo>
                    <a:pt x="276" y="320"/>
                  </a:lnTo>
                  <a:lnTo>
                    <a:pt x="264" y="308"/>
                  </a:lnTo>
                  <a:lnTo>
                    <a:pt x="239" y="278"/>
                  </a:lnTo>
                  <a:lnTo>
                    <a:pt x="239" y="273"/>
                  </a:lnTo>
                  <a:lnTo>
                    <a:pt x="239" y="273"/>
                  </a:lnTo>
                  <a:lnTo>
                    <a:pt x="235" y="268"/>
                  </a:lnTo>
                  <a:lnTo>
                    <a:pt x="228" y="264"/>
                  </a:lnTo>
                  <a:lnTo>
                    <a:pt x="222" y="261"/>
                  </a:lnTo>
                  <a:lnTo>
                    <a:pt x="215" y="258"/>
                  </a:lnTo>
                  <a:lnTo>
                    <a:pt x="208" y="255"/>
                  </a:lnTo>
                  <a:lnTo>
                    <a:pt x="200" y="255"/>
                  </a:lnTo>
                  <a:lnTo>
                    <a:pt x="184" y="255"/>
                  </a:lnTo>
                  <a:lnTo>
                    <a:pt x="184" y="255"/>
                  </a:lnTo>
                  <a:lnTo>
                    <a:pt x="175" y="261"/>
                  </a:lnTo>
                  <a:lnTo>
                    <a:pt x="167" y="264"/>
                  </a:lnTo>
                  <a:lnTo>
                    <a:pt x="158" y="266"/>
                  </a:lnTo>
                  <a:lnTo>
                    <a:pt x="150" y="266"/>
                  </a:lnTo>
                  <a:lnTo>
                    <a:pt x="13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87" y="279"/>
                  </a:lnTo>
                  <a:lnTo>
                    <a:pt x="63" y="291"/>
                  </a:lnTo>
                  <a:lnTo>
                    <a:pt x="39" y="302"/>
                  </a:lnTo>
                  <a:lnTo>
                    <a:pt x="27" y="309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8" y="363"/>
                  </a:lnTo>
                  <a:lnTo>
                    <a:pt x="3" y="386"/>
                  </a:lnTo>
                  <a:lnTo>
                    <a:pt x="0" y="409"/>
                  </a:lnTo>
                  <a:lnTo>
                    <a:pt x="0" y="409"/>
                  </a:lnTo>
                  <a:lnTo>
                    <a:pt x="0" y="421"/>
                  </a:lnTo>
                  <a:lnTo>
                    <a:pt x="2" y="431"/>
                  </a:lnTo>
                  <a:lnTo>
                    <a:pt x="6" y="441"/>
                  </a:lnTo>
                  <a:lnTo>
                    <a:pt x="10" y="451"/>
                  </a:lnTo>
                  <a:lnTo>
                    <a:pt x="20" y="470"/>
                  </a:lnTo>
                  <a:lnTo>
                    <a:pt x="25" y="480"/>
                  </a:lnTo>
                  <a:lnTo>
                    <a:pt x="27" y="490"/>
                  </a:lnTo>
                  <a:lnTo>
                    <a:pt x="27" y="490"/>
                  </a:lnTo>
                  <a:lnTo>
                    <a:pt x="29" y="495"/>
                  </a:lnTo>
                  <a:lnTo>
                    <a:pt x="32" y="500"/>
                  </a:lnTo>
                  <a:lnTo>
                    <a:pt x="36" y="503"/>
                  </a:lnTo>
                  <a:lnTo>
                    <a:pt x="40" y="505"/>
                  </a:lnTo>
                  <a:lnTo>
                    <a:pt x="50" y="508"/>
                  </a:lnTo>
                  <a:lnTo>
                    <a:pt x="60" y="508"/>
                  </a:lnTo>
                  <a:lnTo>
                    <a:pt x="60" y="508"/>
                  </a:lnTo>
                  <a:lnTo>
                    <a:pt x="96" y="527"/>
                  </a:lnTo>
                  <a:lnTo>
                    <a:pt x="114" y="534"/>
                  </a:lnTo>
                  <a:lnTo>
                    <a:pt x="133" y="541"/>
                  </a:lnTo>
                  <a:lnTo>
                    <a:pt x="151" y="545"/>
                  </a:lnTo>
                  <a:lnTo>
                    <a:pt x="171" y="548"/>
                  </a:lnTo>
                  <a:lnTo>
                    <a:pt x="192" y="548"/>
                  </a:lnTo>
                  <a:lnTo>
                    <a:pt x="215" y="547"/>
                  </a:lnTo>
                  <a:lnTo>
                    <a:pt x="215" y="547"/>
                  </a:lnTo>
                  <a:lnTo>
                    <a:pt x="222" y="544"/>
                  </a:lnTo>
                  <a:lnTo>
                    <a:pt x="229" y="541"/>
                  </a:lnTo>
                  <a:lnTo>
                    <a:pt x="235" y="537"/>
                  </a:lnTo>
                  <a:lnTo>
                    <a:pt x="241" y="532"/>
                  </a:lnTo>
                  <a:lnTo>
                    <a:pt x="249" y="521"/>
                  </a:lnTo>
                  <a:lnTo>
                    <a:pt x="261" y="508"/>
                  </a:lnTo>
                  <a:lnTo>
                    <a:pt x="261" y="508"/>
                  </a:lnTo>
                  <a:lnTo>
                    <a:pt x="266" y="507"/>
                  </a:lnTo>
                  <a:lnTo>
                    <a:pt x="274" y="507"/>
                  </a:lnTo>
                  <a:lnTo>
                    <a:pt x="278" y="508"/>
                  </a:lnTo>
                  <a:lnTo>
                    <a:pt x="284" y="510"/>
                  </a:lnTo>
                  <a:lnTo>
                    <a:pt x="292" y="515"/>
                  </a:lnTo>
                  <a:lnTo>
                    <a:pt x="301" y="522"/>
                  </a:lnTo>
                  <a:lnTo>
                    <a:pt x="308" y="531"/>
                  </a:lnTo>
                  <a:lnTo>
                    <a:pt x="316" y="538"/>
                  </a:lnTo>
                  <a:lnTo>
                    <a:pt x="325" y="544"/>
                  </a:lnTo>
                  <a:lnTo>
                    <a:pt x="330" y="545"/>
                  </a:lnTo>
                  <a:lnTo>
                    <a:pt x="336" y="547"/>
                  </a:lnTo>
                  <a:lnTo>
                    <a:pt x="336" y="547"/>
                  </a:lnTo>
                  <a:lnTo>
                    <a:pt x="348" y="545"/>
                  </a:lnTo>
                  <a:lnTo>
                    <a:pt x="359" y="541"/>
                  </a:lnTo>
                  <a:lnTo>
                    <a:pt x="363" y="538"/>
                  </a:lnTo>
                  <a:lnTo>
                    <a:pt x="369" y="535"/>
                  </a:lnTo>
                  <a:lnTo>
                    <a:pt x="372" y="531"/>
                  </a:lnTo>
                  <a:lnTo>
                    <a:pt x="375" y="525"/>
                  </a:lnTo>
                  <a:lnTo>
                    <a:pt x="375" y="525"/>
                  </a:lnTo>
                  <a:lnTo>
                    <a:pt x="373" y="515"/>
                  </a:lnTo>
                  <a:lnTo>
                    <a:pt x="370" y="504"/>
                  </a:lnTo>
                  <a:lnTo>
                    <a:pt x="363" y="484"/>
                  </a:lnTo>
                  <a:lnTo>
                    <a:pt x="359" y="474"/>
                  </a:lnTo>
                  <a:lnTo>
                    <a:pt x="356" y="464"/>
                  </a:lnTo>
                  <a:lnTo>
                    <a:pt x="355" y="454"/>
                  </a:lnTo>
                  <a:lnTo>
                    <a:pt x="355" y="443"/>
                  </a:lnTo>
                  <a:lnTo>
                    <a:pt x="355" y="443"/>
                  </a:lnTo>
                  <a:lnTo>
                    <a:pt x="359" y="404"/>
                  </a:lnTo>
                  <a:lnTo>
                    <a:pt x="363" y="366"/>
                  </a:lnTo>
                  <a:lnTo>
                    <a:pt x="365" y="325"/>
                  </a:lnTo>
                  <a:lnTo>
                    <a:pt x="366" y="285"/>
                  </a:lnTo>
                  <a:lnTo>
                    <a:pt x="365" y="244"/>
                  </a:lnTo>
                  <a:lnTo>
                    <a:pt x="363" y="204"/>
                  </a:lnTo>
                  <a:lnTo>
                    <a:pt x="360" y="164"/>
                  </a:lnTo>
                  <a:lnTo>
                    <a:pt x="356" y="126"/>
                  </a:lnTo>
                  <a:lnTo>
                    <a:pt x="356" y="126"/>
                  </a:lnTo>
                  <a:lnTo>
                    <a:pt x="352" y="97"/>
                  </a:lnTo>
                  <a:lnTo>
                    <a:pt x="348" y="70"/>
                  </a:lnTo>
                  <a:lnTo>
                    <a:pt x="345" y="42"/>
                  </a:lnTo>
                  <a:lnTo>
                    <a:pt x="339" y="13"/>
                  </a:lnTo>
                  <a:lnTo>
                    <a:pt x="339" y="13"/>
                  </a:lnTo>
                  <a:lnTo>
                    <a:pt x="336" y="10"/>
                  </a:lnTo>
                  <a:lnTo>
                    <a:pt x="333" y="7"/>
                  </a:lnTo>
                  <a:lnTo>
                    <a:pt x="326" y="5"/>
                  </a:lnTo>
                  <a:lnTo>
                    <a:pt x="318" y="3"/>
                  </a:lnTo>
                  <a:lnTo>
                    <a:pt x="311" y="0"/>
                  </a:lnTo>
                  <a:lnTo>
                    <a:pt x="3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379"/>
            <p:cNvSpPr>
              <a:spLocks/>
            </p:cNvSpPr>
            <p:nvPr/>
          </p:nvSpPr>
          <p:spPr bwMode="auto">
            <a:xfrm>
              <a:off x="7461" y="2618"/>
              <a:ext cx="166" cy="203"/>
            </a:xfrm>
            <a:custGeom>
              <a:avLst/>
              <a:gdLst>
                <a:gd name="T0" fmla="*/ 143 w 166"/>
                <a:gd name="T1" fmla="*/ 25 h 203"/>
                <a:gd name="T2" fmla="*/ 143 w 166"/>
                <a:gd name="T3" fmla="*/ 25 h 203"/>
                <a:gd name="T4" fmla="*/ 146 w 166"/>
                <a:gd name="T5" fmla="*/ 41 h 203"/>
                <a:gd name="T6" fmla="*/ 150 w 166"/>
                <a:gd name="T7" fmla="*/ 55 h 203"/>
                <a:gd name="T8" fmla="*/ 153 w 166"/>
                <a:gd name="T9" fmla="*/ 62 h 203"/>
                <a:gd name="T10" fmla="*/ 156 w 166"/>
                <a:gd name="T11" fmla="*/ 69 h 203"/>
                <a:gd name="T12" fmla="*/ 160 w 166"/>
                <a:gd name="T13" fmla="*/ 75 h 203"/>
                <a:gd name="T14" fmla="*/ 166 w 166"/>
                <a:gd name="T15" fmla="*/ 81 h 203"/>
                <a:gd name="T16" fmla="*/ 166 w 166"/>
                <a:gd name="T17" fmla="*/ 81 h 203"/>
                <a:gd name="T18" fmla="*/ 165 w 166"/>
                <a:gd name="T19" fmla="*/ 102 h 203"/>
                <a:gd name="T20" fmla="*/ 162 w 166"/>
                <a:gd name="T21" fmla="*/ 125 h 203"/>
                <a:gd name="T22" fmla="*/ 153 w 166"/>
                <a:gd name="T23" fmla="*/ 169 h 203"/>
                <a:gd name="T24" fmla="*/ 153 w 166"/>
                <a:gd name="T25" fmla="*/ 169 h 203"/>
                <a:gd name="T26" fmla="*/ 146 w 166"/>
                <a:gd name="T27" fmla="*/ 180 h 203"/>
                <a:gd name="T28" fmla="*/ 136 w 166"/>
                <a:gd name="T29" fmla="*/ 189 h 203"/>
                <a:gd name="T30" fmla="*/ 126 w 166"/>
                <a:gd name="T31" fmla="*/ 197 h 203"/>
                <a:gd name="T32" fmla="*/ 113 w 166"/>
                <a:gd name="T33" fmla="*/ 202 h 203"/>
                <a:gd name="T34" fmla="*/ 113 w 166"/>
                <a:gd name="T35" fmla="*/ 202 h 203"/>
                <a:gd name="T36" fmla="*/ 99 w 166"/>
                <a:gd name="T37" fmla="*/ 203 h 203"/>
                <a:gd name="T38" fmla="*/ 85 w 166"/>
                <a:gd name="T39" fmla="*/ 202 h 203"/>
                <a:gd name="T40" fmla="*/ 71 w 166"/>
                <a:gd name="T41" fmla="*/ 199 h 203"/>
                <a:gd name="T42" fmla="*/ 58 w 166"/>
                <a:gd name="T43" fmla="*/ 193 h 203"/>
                <a:gd name="T44" fmla="*/ 47 w 166"/>
                <a:gd name="T45" fmla="*/ 187 h 203"/>
                <a:gd name="T46" fmla="*/ 35 w 166"/>
                <a:gd name="T47" fmla="*/ 179 h 203"/>
                <a:gd name="T48" fmla="*/ 25 w 166"/>
                <a:gd name="T49" fmla="*/ 169 h 203"/>
                <a:gd name="T50" fmla="*/ 18 w 166"/>
                <a:gd name="T51" fmla="*/ 157 h 203"/>
                <a:gd name="T52" fmla="*/ 18 w 166"/>
                <a:gd name="T53" fmla="*/ 157 h 203"/>
                <a:gd name="T54" fmla="*/ 11 w 166"/>
                <a:gd name="T55" fmla="*/ 146 h 203"/>
                <a:gd name="T56" fmla="*/ 5 w 166"/>
                <a:gd name="T57" fmla="*/ 132 h 203"/>
                <a:gd name="T58" fmla="*/ 1 w 166"/>
                <a:gd name="T59" fmla="*/ 116 h 203"/>
                <a:gd name="T60" fmla="*/ 0 w 166"/>
                <a:gd name="T61" fmla="*/ 102 h 203"/>
                <a:gd name="T62" fmla="*/ 0 w 166"/>
                <a:gd name="T63" fmla="*/ 86 h 203"/>
                <a:gd name="T64" fmla="*/ 1 w 166"/>
                <a:gd name="T65" fmla="*/ 71 h 203"/>
                <a:gd name="T66" fmla="*/ 5 w 166"/>
                <a:gd name="T67" fmla="*/ 56 h 203"/>
                <a:gd name="T68" fmla="*/ 12 w 166"/>
                <a:gd name="T69" fmla="*/ 44 h 203"/>
                <a:gd name="T70" fmla="*/ 12 w 166"/>
                <a:gd name="T71" fmla="*/ 44 h 203"/>
                <a:gd name="T72" fmla="*/ 20 w 166"/>
                <a:gd name="T73" fmla="*/ 32 h 203"/>
                <a:gd name="T74" fmla="*/ 30 w 166"/>
                <a:gd name="T75" fmla="*/ 24 h 203"/>
                <a:gd name="T76" fmla="*/ 41 w 166"/>
                <a:gd name="T77" fmla="*/ 17 h 203"/>
                <a:gd name="T78" fmla="*/ 54 w 166"/>
                <a:gd name="T79" fmla="*/ 9 h 203"/>
                <a:gd name="T80" fmla="*/ 68 w 166"/>
                <a:gd name="T81" fmla="*/ 5 h 203"/>
                <a:gd name="T82" fmla="*/ 82 w 166"/>
                <a:gd name="T83" fmla="*/ 2 h 203"/>
                <a:gd name="T84" fmla="*/ 96 w 166"/>
                <a:gd name="T85" fmla="*/ 0 h 203"/>
                <a:gd name="T86" fmla="*/ 109 w 166"/>
                <a:gd name="T87" fmla="*/ 0 h 203"/>
                <a:gd name="T88" fmla="*/ 109 w 166"/>
                <a:gd name="T89" fmla="*/ 0 h 203"/>
                <a:gd name="T90" fmla="*/ 121 w 166"/>
                <a:gd name="T91" fmla="*/ 4 h 203"/>
                <a:gd name="T92" fmla="*/ 129 w 166"/>
                <a:gd name="T93" fmla="*/ 9 h 203"/>
                <a:gd name="T94" fmla="*/ 138 w 166"/>
                <a:gd name="T95" fmla="*/ 17 h 203"/>
                <a:gd name="T96" fmla="*/ 143 w 166"/>
                <a:gd name="T97" fmla="*/ 25 h 203"/>
                <a:gd name="T98" fmla="*/ 143 w 166"/>
                <a:gd name="T99" fmla="*/ 2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6" h="203">
                  <a:moveTo>
                    <a:pt x="143" y="25"/>
                  </a:moveTo>
                  <a:lnTo>
                    <a:pt x="143" y="25"/>
                  </a:lnTo>
                  <a:lnTo>
                    <a:pt x="146" y="41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6" y="69"/>
                  </a:lnTo>
                  <a:lnTo>
                    <a:pt x="160" y="75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5" y="102"/>
                  </a:lnTo>
                  <a:lnTo>
                    <a:pt x="162" y="125"/>
                  </a:lnTo>
                  <a:lnTo>
                    <a:pt x="153" y="169"/>
                  </a:lnTo>
                  <a:lnTo>
                    <a:pt x="153" y="169"/>
                  </a:lnTo>
                  <a:lnTo>
                    <a:pt x="146" y="180"/>
                  </a:lnTo>
                  <a:lnTo>
                    <a:pt x="136" y="189"/>
                  </a:lnTo>
                  <a:lnTo>
                    <a:pt x="126" y="197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99" y="203"/>
                  </a:lnTo>
                  <a:lnTo>
                    <a:pt x="85" y="202"/>
                  </a:lnTo>
                  <a:lnTo>
                    <a:pt x="71" y="199"/>
                  </a:lnTo>
                  <a:lnTo>
                    <a:pt x="58" y="193"/>
                  </a:lnTo>
                  <a:lnTo>
                    <a:pt x="47" y="187"/>
                  </a:lnTo>
                  <a:lnTo>
                    <a:pt x="35" y="179"/>
                  </a:lnTo>
                  <a:lnTo>
                    <a:pt x="25" y="169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1" y="146"/>
                  </a:lnTo>
                  <a:lnTo>
                    <a:pt x="5" y="132"/>
                  </a:lnTo>
                  <a:lnTo>
                    <a:pt x="1" y="116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1" y="71"/>
                  </a:lnTo>
                  <a:lnTo>
                    <a:pt x="5" y="5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20" y="32"/>
                  </a:lnTo>
                  <a:lnTo>
                    <a:pt x="30" y="24"/>
                  </a:lnTo>
                  <a:lnTo>
                    <a:pt x="41" y="17"/>
                  </a:lnTo>
                  <a:lnTo>
                    <a:pt x="54" y="9"/>
                  </a:lnTo>
                  <a:lnTo>
                    <a:pt x="68" y="5"/>
                  </a:lnTo>
                  <a:lnTo>
                    <a:pt x="82" y="2"/>
                  </a:lnTo>
                  <a:lnTo>
                    <a:pt x="9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21" y="4"/>
                  </a:lnTo>
                  <a:lnTo>
                    <a:pt x="129" y="9"/>
                  </a:lnTo>
                  <a:lnTo>
                    <a:pt x="138" y="17"/>
                  </a:lnTo>
                  <a:lnTo>
                    <a:pt x="143" y="25"/>
                  </a:lnTo>
                  <a:lnTo>
                    <a:pt x="143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380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381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382"/>
            <p:cNvSpPr>
              <a:spLocks noEditPoints="1"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  <a:gd name="T18" fmla="*/ 200 w 535"/>
                <a:gd name="T19" fmla="*/ 322 h 541"/>
                <a:gd name="T20" fmla="*/ 299 w 535"/>
                <a:gd name="T21" fmla="*/ 322 h 541"/>
                <a:gd name="T22" fmla="*/ 252 w 535"/>
                <a:gd name="T23" fmla="*/ 137 h 541"/>
                <a:gd name="T24" fmla="*/ 200 w 535"/>
                <a:gd name="T25" fmla="*/ 32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  <a:close/>
                  <a:moveTo>
                    <a:pt x="200" y="322"/>
                  </a:moveTo>
                  <a:lnTo>
                    <a:pt x="299" y="322"/>
                  </a:lnTo>
                  <a:lnTo>
                    <a:pt x="252" y="137"/>
                  </a:lnTo>
                  <a:lnTo>
                    <a:pt x="200" y="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383"/>
            <p:cNvSpPr>
              <a:spLocks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384"/>
            <p:cNvSpPr>
              <a:spLocks/>
            </p:cNvSpPr>
            <p:nvPr/>
          </p:nvSpPr>
          <p:spPr bwMode="auto">
            <a:xfrm>
              <a:off x="6986" y="1551"/>
              <a:ext cx="99" cy="185"/>
            </a:xfrm>
            <a:custGeom>
              <a:avLst/>
              <a:gdLst>
                <a:gd name="T0" fmla="*/ 0 w 99"/>
                <a:gd name="T1" fmla="*/ 185 h 185"/>
                <a:gd name="T2" fmla="*/ 99 w 99"/>
                <a:gd name="T3" fmla="*/ 185 h 185"/>
                <a:gd name="T4" fmla="*/ 52 w 99"/>
                <a:gd name="T5" fmla="*/ 0 h 185"/>
                <a:gd name="T6" fmla="*/ 0 w 99"/>
                <a:gd name="T7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85">
                  <a:moveTo>
                    <a:pt x="0" y="185"/>
                  </a:moveTo>
                  <a:lnTo>
                    <a:pt x="99" y="185"/>
                  </a:lnTo>
                  <a:lnTo>
                    <a:pt x="52" y="0"/>
                  </a:lnTo>
                  <a:lnTo>
                    <a:pt x="0" y="18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385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386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387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  <a:gd name="T52" fmla="*/ 166 w 166"/>
                <a:gd name="T53" fmla="*/ 5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  <a:lnTo>
                    <a:pt x="166" y="54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388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303" y="6330832"/>
            <a:ext cx="571500" cy="365125"/>
          </a:xfrm>
        </p:spPr>
        <p:txBody>
          <a:bodyPr/>
          <a:lstStyle/>
          <a:p>
            <a:fld id="{AEE12407-35E7-4E87-8757-FD495B64908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9480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6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2192000" cy="11811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838200" y="-105569"/>
            <a:ext cx="10515600" cy="1235869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692"/>
            <a:ext cx="12192000" cy="1205784"/>
          </a:xfrm>
          <a:prstGeom prst="rect">
            <a:avLst/>
          </a:prstGeom>
        </p:spPr>
      </p:pic>
      <p:grpSp>
        <p:nvGrpSpPr>
          <p:cNvPr id="8" name="Group 363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11500627" y="6215063"/>
            <a:ext cx="585788" cy="538162"/>
            <a:chOff x="5907" y="1132"/>
            <a:chExt cx="2151" cy="1976"/>
          </a:xfrm>
        </p:grpSpPr>
        <p:sp>
          <p:nvSpPr>
            <p:cNvPr id="9" name="Freeform 364"/>
            <p:cNvSpPr>
              <a:spLocks/>
            </p:cNvSpPr>
            <p:nvPr/>
          </p:nvSpPr>
          <p:spPr bwMode="auto">
            <a:xfrm>
              <a:off x="5966" y="2117"/>
              <a:ext cx="2028" cy="0"/>
            </a:xfrm>
            <a:custGeom>
              <a:avLst/>
              <a:gdLst>
                <a:gd name="T0" fmla="*/ 0 w 2028"/>
                <a:gd name="T1" fmla="*/ 2028 w 2028"/>
                <a:gd name="T2" fmla="*/ 0 w 202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28">
                  <a:moveTo>
                    <a:pt x="0" y="0"/>
                  </a:moveTo>
                  <a:lnTo>
                    <a:pt x="202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Line 365"/>
            <p:cNvSpPr>
              <a:spLocks noChangeShapeType="1"/>
            </p:cNvSpPr>
            <p:nvPr/>
          </p:nvSpPr>
          <p:spPr bwMode="auto">
            <a:xfrm>
              <a:off x="5966" y="2117"/>
              <a:ext cx="202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Rectangle 366"/>
            <p:cNvSpPr>
              <a:spLocks noChangeArrowheads="1"/>
            </p:cNvSpPr>
            <p:nvPr/>
          </p:nvSpPr>
          <p:spPr bwMode="auto">
            <a:xfrm>
              <a:off x="5968" y="1194"/>
              <a:ext cx="2030" cy="1853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Freeform 367"/>
            <p:cNvSpPr>
              <a:spLocks noEditPoints="1"/>
            </p:cNvSpPr>
            <p:nvPr/>
          </p:nvSpPr>
          <p:spPr bwMode="auto">
            <a:xfrm>
              <a:off x="5907" y="1132"/>
              <a:ext cx="2151" cy="1976"/>
            </a:xfrm>
            <a:custGeom>
              <a:avLst/>
              <a:gdLst>
                <a:gd name="T0" fmla="*/ 0 w 2151"/>
                <a:gd name="T1" fmla="*/ 1976 h 1976"/>
                <a:gd name="T2" fmla="*/ 2151 w 2151"/>
                <a:gd name="T3" fmla="*/ 1976 h 1976"/>
                <a:gd name="T4" fmla="*/ 2151 w 2151"/>
                <a:gd name="T5" fmla="*/ 0 h 1976"/>
                <a:gd name="T6" fmla="*/ 0 w 2151"/>
                <a:gd name="T7" fmla="*/ 0 h 1976"/>
                <a:gd name="T8" fmla="*/ 0 w 2151"/>
                <a:gd name="T9" fmla="*/ 1976 h 1976"/>
                <a:gd name="T10" fmla="*/ 123 w 2151"/>
                <a:gd name="T11" fmla="*/ 1854 h 1976"/>
                <a:gd name="T12" fmla="*/ 123 w 2151"/>
                <a:gd name="T13" fmla="*/ 1854 h 1976"/>
                <a:gd name="T14" fmla="*/ 123 w 2151"/>
                <a:gd name="T15" fmla="*/ 1046 h 1976"/>
                <a:gd name="T16" fmla="*/ 2030 w 2151"/>
                <a:gd name="T17" fmla="*/ 1046 h 1976"/>
                <a:gd name="T18" fmla="*/ 2030 w 2151"/>
                <a:gd name="T19" fmla="*/ 1046 h 1976"/>
                <a:gd name="T20" fmla="*/ 2030 w 2151"/>
                <a:gd name="T21" fmla="*/ 1854 h 1976"/>
                <a:gd name="T22" fmla="*/ 2030 w 2151"/>
                <a:gd name="T23" fmla="*/ 1854 h 1976"/>
                <a:gd name="T24" fmla="*/ 123 w 2151"/>
                <a:gd name="T25" fmla="*/ 1854 h 1976"/>
                <a:gd name="T26" fmla="*/ 123 w 2151"/>
                <a:gd name="T27" fmla="*/ 1854 h 1976"/>
                <a:gd name="T28" fmla="*/ 2030 w 2151"/>
                <a:gd name="T29" fmla="*/ 123 h 1976"/>
                <a:gd name="T30" fmla="*/ 2030 w 2151"/>
                <a:gd name="T31" fmla="*/ 123 h 1976"/>
                <a:gd name="T32" fmla="*/ 2030 w 2151"/>
                <a:gd name="T33" fmla="*/ 924 h 1976"/>
                <a:gd name="T34" fmla="*/ 123 w 2151"/>
                <a:gd name="T35" fmla="*/ 924 h 1976"/>
                <a:gd name="T36" fmla="*/ 123 w 2151"/>
                <a:gd name="T37" fmla="*/ 924 h 1976"/>
                <a:gd name="T38" fmla="*/ 123 w 2151"/>
                <a:gd name="T39" fmla="*/ 123 h 1976"/>
                <a:gd name="T40" fmla="*/ 123 w 2151"/>
                <a:gd name="T41" fmla="*/ 123 h 1976"/>
                <a:gd name="T42" fmla="*/ 2030 w 2151"/>
                <a:gd name="T43" fmla="*/ 123 h 1976"/>
                <a:gd name="T44" fmla="*/ 2030 w 2151"/>
                <a:gd name="T45" fmla="*/ 123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51" h="1976">
                  <a:moveTo>
                    <a:pt x="0" y="1976"/>
                  </a:moveTo>
                  <a:lnTo>
                    <a:pt x="2151" y="1976"/>
                  </a:lnTo>
                  <a:lnTo>
                    <a:pt x="2151" y="0"/>
                  </a:lnTo>
                  <a:lnTo>
                    <a:pt x="0" y="0"/>
                  </a:lnTo>
                  <a:lnTo>
                    <a:pt x="0" y="1976"/>
                  </a:lnTo>
                  <a:close/>
                  <a:moveTo>
                    <a:pt x="123" y="1854"/>
                  </a:moveTo>
                  <a:lnTo>
                    <a:pt x="123" y="1854"/>
                  </a:lnTo>
                  <a:lnTo>
                    <a:pt x="123" y="1046"/>
                  </a:lnTo>
                  <a:lnTo>
                    <a:pt x="2030" y="1046"/>
                  </a:lnTo>
                  <a:lnTo>
                    <a:pt x="2030" y="1046"/>
                  </a:lnTo>
                  <a:lnTo>
                    <a:pt x="2030" y="1854"/>
                  </a:lnTo>
                  <a:lnTo>
                    <a:pt x="2030" y="1854"/>
                  </a:lnTo>
                  <a:lnTo>
                    <a:pt x="123" y="1854"/>
                  </a:lnTo>
                  <a:lnTo>
                    <a:pt x="123" y="1854"/>
                  </a:lnTo>
                  <a:close/>
                  <a:moveTo>
                    <a:pt x="2030" y="123"/>
                  </a:moveTo>
                  <a:lnTo>
                    <a:pt x="2030" y="123"/>
                  </a:lnTo>
                  <a:lnTo>
                    <a:pt x="2030" y="924"/>
                  </a:lnTo>
                  <a:lnTo>
                    <a:pt x="123" y="924"/>
                  </a:lnTo>
                  <a:lnTo>
                    <a:pt x="123" y="924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2030" y="123"/>
                  </a:lnTo>
                  <a:lnTo>
                    <a:pt x="2030" y="123"/>
                  </a:lnTo>
                  <a:close/>
                </a:path>
              </a:pathLst>
            </a:custGeom>
            <a:solidFill>
              <a:srgbClr val="EF3E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Freeform 368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64 h 587"/>
                <a:gd name="T34" fmla="*/ 953 w 1552"/>
                <a:gd name="T35" fmla="*/ 227 h 587"/>
                <a:gd name="T36" fmla="*/ 960 w 1552"/>
                <a:gd name="T37" fmla="*/ 419 h 587"/>
                <a:gd name="T38" fmla="*/ 968 w 1552"/>
                <a:gd name="T39" fmla="*/ 519 h 587"/>
                <a:gd name="T40" fmla="*/ 1034 w 1552"/>
                <a:gd name="T41" fmla="*/ 540 h 587"/>
                <a:gd name="T42" fmla="*/ 1039 w 1552"/>
                <a:gd name="T43" fmla="*/ 458 h 587"/>
                <a:gd name="T44" fmla="*/ 1039 w 1552"/>
                <a:gd name="T45" fmla="*/ 261 h 587"/>
                <a:gd name="T46" fmla="*/ 994 w 1552"/>
                <a:gd name="T47" fmla="*/ 69 h 587"/>
                <a:gd name="T48" fmla="*/ 936 w 1552"/>
                <a:gd name="T49" fmla="*/ 39 h 587"/>
                <a:gd name="T50" fmla="*/ 830 w 1552"/>
                <a:gd name="T51" fmla="*/ 196 h 587"/>
                <a:gd name="T52" fmla="*/ 786 w 1552"/>
                <a:gd name="T53" fmla="*/ 190 h 587"/>
                <a:gd name="T54" fmla="*/ 145 w 1552"/>
                <a:gd name="T55" fmla="*/ 250 h 587"/>
                <a:gd name="T56" fmla="*/ 15 w 1552"/>
                <a:gd name="T57" fmla="*/ 327 h 587"/>
                <a:gd name="T58" fmla="*/ 2 w 1552"/>
                <a:gd name="T59" fmla="*/ 471 h 587"/>
                <a:gd name="T60" fmla="*/ 32 w 1552"/>
                <a:gd name="T61" fmla="*/ 570 h 587"/>
                <a:gd name="T62" fmla="*/ 197 w 1552"/>
                <a:gd name="T63" fmla="*/ 579 h 587"/>
                <a:gd name="T64" fmla="*/ 244 w 1552"/>
                <a:gd name="T65" fmla="*/ 530 h 587"/>
                <a:gd name="T66" fmla="*/ 128 w 1552"/>
                <a:gd name="T67" fmla="*/ 542 h 587"/>
                <a:gd name="T68" fmla="*/ 76 w 1552"/>
                <a:gd name="T69" fmla="*/ 485 h 587"/>
                <a:gd name="T70" fmla="*/ 83 w 1552"/>
                <a:gd name="T71" fmla="*/ 333 h 587"/>
                <a:gd name="T72" fmla="*/ 156 w 1552"/>
                <a:gd name="T73" fmla="*/ 291 h 587"/>
                <a:gd name="T74" fmla="*/ 211 w 1552"/>
                <a:gd name="T75" fmla="*/ 276 h 587"/>
                <a:gd name="T76" fmla="*/ 773 w 1552"/>
                <a:gd name="T77" fmla="*/ 304 h 587"/>
                <a:gd name="T78" fmla="*/ 725 w 1552"/>
                <a:gd name="T79" fmla="*/ 509 h 587"/>
                <a:gd name="T80" fmla="*/ 776 w 1552"/>
                <a:gd name="T81" fmla="*/ 579 h 587"/>
                <a:gd name="T82" fmla="*/ 809 w 1552"/>
                <a:gd name="T83" fmla="*/ 542 h 587"/>
                <a:gd name="T84" fmla="*/ 806 w 1552"/>
                <a:gd name="T85" fmla="*/ 472 h 587"/>
                <a:gd name="T86" fmla="*/ 827 w 1552"/>
                <a:gd name="T87" fmla="*/ 297 h 587"/>
                <a:gd name="T88" fmla="*/ 1480 w 1552"/>
                <a:gd name="T89" fmla="*/ 37 h 587"/>
                <a:gd name="T90" fmla="*/ 1483 w 1552"/>
                <a:gd name="T91" fmla="*/ 320 h 587"/>
                <a:gd name="T92" fmla="*/ 1416 w 1552"/>
                <a:gd name="T93" fmla="*/ 310 h 587"/>
                <a:gd name="T94" fmla="*/ 1361 w 1552"/>
                <a:gd name="T95" fmla="*/ 287 h 587"/>
                <a:gd name="T96" fmla="*/ 1216 w 1552"/>
                <a:gd name="T97" fmla="*/ 334 h 587"/>
                <a:gd name="T98" fmla="*/ 1183 w 1552"/>
                <a:gd name="T99" fmla="*/ 473 h 587"/>
                <a:gd name="T100" fmla="*/ 1227 w 1552"/>
                <a:gd name="T101" fmla="*/ 540 h 587"/>
                <a:gd name="T102" fmla="*/ 1392 w 1552"/>
                <a:gd name="T103" fmla="*/ 579 h 587"/>
                <a:gd name="T104" fmla="*/ 1455 w 1552"/>
                <a:gd name="T105" fmla="*/ 540 h 587"/>
                <a:gd name="T106" fmla="*/ 1525 w 1552"/>
                <a:gd name="T107" fmla="*/ 577 h 587"/>
                <a:gd name="T108" fmla="*/ 1536 w 1552"/>
                <a:gd name="T109" fmla="*/ 506 h 587"/>
                <a:gd name="T110" fmla="*/ 1540 w 1552"/>
                <a:gd name="T111" fmla="*/ 236 h 587"/>
                <a:gd name="T112" fmla="*/ 1510 w 1552"/>
                <a:gd name="T113" fmla="*/ 39 h 587"/>
                <a:gd name="T114" fmla="*/ 1412 w 1552"/>
                <a:gd name="T115" fmla="*/ 402 h 587"/>
                <a:gd name="T116" fmla="*/ 1382 w 1552"/>
                <a:gd name="T117" fmla="*/ 530 h 587"/>
                <a:gd name="T118" fmla="*/ 1274 w 1552"/>
                <a:gd name="T119" fmla="*/ 490 h 587"/>
                <a:gd name="T120" fmla="*/ 1268 w 1552"/>
                <a:gd name="T121" fmla="*/ 377 h 587"/>
                <a:gd name="T122" fmla="*/ 1377 w 1552"/>
                <a:gd name="T123" fmla="*/ 337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noFill/>
            <a:ln w="0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369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370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371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  <a:gd name="T42" fmla="*/ 0 w 57"/>
                <a:gd name="T43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372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79 h 587"/>
                <a:gd name="T34" fmla="*/ 954 w 1552"/>
                <a:gd name="T35" fmla="*/ 298 h 587"/>
                <a:gd name="T36" fmla="*/ 958 w 1552"/>
                <a:gd name="T37" fmla="*/ 429 h 587"/>
                <a:gd name="T38" fmla="*/ 968 w 1552"/>
                <a:gd name="T39" fmla="*/ 519 h 587"/>
                <a:gd name="T40" fmla="*/ 1039 w 1552"/>
                <a:gd name="T41" fmla="*/ 537 h 587"/>
                <a:gd name="T42" fmla="*/ 1038 w 1552"/>
                <a:gd name="T43" fmla="*/ 445 h 587"/>
                <a:gd name="T44" fmla="*/ 1037 w 1552"/>
                <a:gd name="T45" fmla="*/ 249 h 587"/>
                <a:gd name="T46" fmla="*/ 994 w 1552"/>
                <a:gd name="T47" fmla="*/ 48 h 587"/>
                <a:gd name="T48" fmla="*/ 936 w 1552"/>
                <a:gd name="T49" fmla="*/ 39 h 587"/>
                <a:gd name="T50" fmla="*/ 833 w 1552"/>
                <a:gd name="T51" fmla="*/ 192 h 587"/>
                <a:gd name="T52" fmla="*/ 782 w 1552"/>
                <a:gd name="T53" fmla="*/ 196 h 587"/>
                <a:gd name="T54" fmla="*/ 133 w 1552"/>
                <a:gd name="T55" fmla="*/ 253 h 587"/>
                <a:gd name="T56" fmla="*/ 9 w 1552"/>
                <a:gd name="T57" fmla="*/ 335 h 587"/>
                <a:gd name="T58" fmla="*/ 5 w 1552"/>
                <a:gd name="T59" fmla="*/ 482 h 587"/>
                <a:gd name="T60" fmla="*/ 42 w 1552"/>
                <a:gd name="T61" fmla="*/ 574 h 587"/>
                <a:gd name="T62" fmla="*/ 211 w 1552"/>
                <a:gd name="T63" fmla="*/ 574 h 587"/>
                <a:gd name="T64" fmla="*/ 244 w 1552"/>
                <a:gd name="T65" fmla="*/ 530 h 587"/>
                <a:gd name="T66" fmla="*/ 118 w 1552"/>
                <a:gd name="T67" fmla="*/ 539 h 587"/>
                <a:gd name="T68" fmla="*/ 76 w 1552"/>
                <a:gd name="T69" fmla="*/ 485 h 587"/>
                <a:gd name="T70" fmla="*/ 89 w 1552"/>
                <a:gd name="T71" fmla="*/ 324 h 587"/>
                <a:gd name="T72" fmla="*/ 166 w 1552"/>
                <a:gd name="T73" fmla="*/ 286 h 587"/>
                <a:gd name="T74" fmla="*/ 213 w 1552"/>
                <a:gd name="T75" fmla="*/ 274 h 587"/>
                <a:gd name="T76" fmla="*/ 768 w 1552"/>
                <a:gd name="T77" fmla="*/ 314 h 587"/>
                <a:gd name="T78" fmla="*/ 728 w 1552"/>
                <a:gd name="T79" fmla="*/ 529 h 587"/>
                <a:gd name="T80" fmla="*/ 783 w 1552"/>
                <a:gd name="T81" fmla="*/ 577 h 587"/>
                <a:gd name="T82" fmla="*/ 806 w 1552"/>
                <a:gd name="T83" fmla="*/ 533 h 587"/>
                <a:gd name="T84" fmla="*/ 815 w 1552"/>
                <a:gd name="T85" fmla="*/ 451 h 587"/>
                <a:gd name="T86" fmla="*/ 825 w 1552"/>
                <a:gd name="T87" fmla="*/ 293 h 587"/>
                <a:gd name="T88" fmla="*/ 1476 w 1552"/>
                <a:gd name="T89" fmla="*/ 42 h 587"/>
                <a:gd name="T90" fmla="*/ 1482 w 1552"/>
                <a:gd name="T91" fmla="*/ 355 h 587"/>
                <a:gd name="T92" fmla="*/ 1416 w 1552"/>
                <a:gd name="T93" fmla="*/ 305 h 587"/>
                <a:gd name="T94" fmla="*/ 1352 w 1552"/>
                <a:gd name="T95" fmla="*/ 293 h 587"/>
                <a:gd name="T96" fmla="*/ 1204 w 1552"/>
                <a:gd name="T97" fmla="*/ 341 h 587"/>
                <a:gd name="T98" fmla="*/ 1187 w 1552"/>
                <a:gd name="T99" fmla="*/ 483 h 587"/>
                <a:gd name="T100" fmla="*/ 1237 w 1552"/>
                <a:gd name="T101" fmla="*/ 540 h 587"/>
                <a:gd name="T102" fmla="*/ 1399 w 1552"/>
                <a:gd name="T103" fmla="*/ 576 h 587"/>
                <a:gd name="T104" fmla="*/ 1461 w 1552"/>
                <a:gd name="T105" fmla="*/ 542 h 587"/>
                <a:gd name="T106" fmla="*/ 1536 w 1552"/>
                <a:gd name="T107" fmla="*/ 573 h 587"/>
                <a:gd name="T108" fmla="*/ 1533 w 1552"/>
                <a:gd name="T109" fmla="*/ 496 h 587"/>
                <a:gd name="T110" fmla="*/ 1537 w 1552"/>
                <a:gd name="T111" fmla="*/ 196 h 587"/>
                <a:gd name="T112" fmla="*/ 1503 w 1552"/>
                <a:gd name="T113" fmla="*/ 37 h 587"/>
                <a:gd name="T114" fmla="*/ 1416 w 1552"/>
                <a:gd name="T115" fmla="*/ 408 h 587"/>
                <a:gd name="T116" fmla="*/ 1369 w 1552"/>
                <a:gd name="T117" fmla="*/ 535 h 587"/>
                <a:gd name="T118" fmla="*/ 1274 w 1552"/>
                <a:gd name="T119" fmla="*/ 490 h 587"/>
                <a:gd name="T120" fmla="*/ 1276 w 1552"/>
                <a:gd name="T121" fmla="*/ 365 h 587"/>
                <a:gd name="T122" fmla="*/ 1385 w 1552"/>
                <a:gd name="T123" fmla="*/ 34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373"/>
            <p:cNvSpPr>
              <a:spLocks/>
            </p:cNvSpPr>
            <p:nvPr/>
          </p:nvSpPr>
          <p:spPr bwMode="auto">
            <a:xfrm>
              <a:off x="6526" y="2285"/>
              <a:ext cx="299" cy="549"/>
            </a:xfrm>
            <a:custGeom>
              <a:avLst/>
              <a:gdLst>
                <a:gd name="T0" fmla="*/ 97 w 299"/>
                <a:gd name="T1" fmla="*/ 84 h 549"/>
                <a:gd name="T2" fmla="*/ 114 w 299"/>
                <a:gd name="T3" fmla="*/ 197 h 549"/>
                <a:gd name="T4" fmla="*/ 125 w 299"/>
                <a:gd name="T5" fmla="*/ 241 h 549"/>
                <a:gd name="T6" fmla="*/ 118 w 299"/>
                <a:gd name="T7" fmla="*/ 280 h 549"/>
                <a:gd name="T8" fmla="*/ 122 w 299"/>
                <a:gd name="T9" fmla="*/ 304 h 549"/>
                <a:gd name="T10" fmla="*/ 196 w 299"/>
                <a:gd name="T11" fmla="*/ 301 h 549"/>
                <a:gd name="T12" fmla="*/ 243 w 299"/>
                <a:gd name="T13" fmla="*/ 310 h 549"/>
                <a:gd name="T14" fmla="*/ 272 w 299"/>
                <a:gd name="T15" fmla="*/ 325 h 549"/>
                <a:gd name="T16" fmla="*/ 292 w 299"/>
                <a:gd name="T17" fmla="*/ 355 h 549"/>
                <a:gd name="T18" fmla="*/ 297 w 299"/>
                <a:gd name="T19" fmla="*/ 421 h 549"/>
                <a:gd name="T20" fmla="*/ 296 w 299"/>
                <a:gd name="T21" fmla="*/ 489 h 549"/>
                <a:gd name="T22" fmla="*/ 286 w 299"/>
                <a:gd name="T23" fmla="*/ 519 h 549"/>
                <a:gd name="T24" fmla="*/ 276 w 299"/>
                <a:gd name="T25" fmla="*/ 535 h 549"/>
                <a:gd name="T26" fmla="*/ 258 w 299"/>
                <a:gd name="T27" fmla="*/ 546 h 549"/>
                <a:gd name="T28" fmla="*/ 236 w 299"/>
                <a:gd name="T29" fmla="*/ 547 h 549"/>
                <a:gd name="T30" fmla="*/ 223 w 299"/>
                <a:gd name="T31" fmla="*/ 540 h 549"/>
                <a:gd name="T32" fmla="*/ 218 w 299"/>
                <a:gd name="T33" fmla="*/ 523 h 549"/>
                <a:gd name="T34" fmla="*/ 225 w 299"/>
                <a:gd name="T35" fmla="*/ 493 h 549"/>
                <a:gd name="T36" fmla="*/ 232 w 299"/>
                <a:gd name="T37" fmla="*/ 446 h 549"/>
                <a:gd name="T38" fmla="*/ 229 w 299"/>
                <a:gd name="T39" fmla="*/ 398 h 549"/>
                <a:gd name="T40" fmla="*/ 216 w 299"/>
                <a:gd name="T41" fmla="*/ 372 h 549"/>
                <a:gd name="T42" fmla="*/ 198 w 299"/>
                <a:gd name="T43" fmla="*/ 352 h 549"/>
                <a:gd name="T44" fmla="*/ 159 w 299"/>
                <a:gd name="T45" fmla="*/ 340 h 549"/>
                <a:gd name="T46" fmla="*/ 118 w 299"/>
                <a:gd name="T47" fmla="*/ 341 h 549"/>
                <a:gd name="T48" fmla="*/ 108 w 299"/>
                <a:gd name="T49" fmla="*/ 355 h 549"/>
                <a:gd name="T50" fmla="*/ 97 w 299"/>
                <a:gd name="T51" fmla="*/ 388 h 549"/>
                <a:gd name="T52" fmla="*/ 94 w 299"/>
                <a:gd name="T53" fmla="*/ 445 h 549"/>
                <a:gd name="T54" fmla="*/ 94 w 299"/>
                <a:gd name="T55" fmla="*/ 492 h 549"/>
                <a:gd name="T56" fmla="*/ 90 w 299"/>
                <a:gd name="T57" fmla="*/ 519 h 549"/>
                <a:gd name="T58" fmla="*/ 77 w 299"/>
                <a:gd name="T59" fmla="*/ 542 h 549"/>
                <a:gd name="T60" fmla="*/ 61 w 299"/>
                <a:gd name="T61" fmla="*/ 549 h 549"/>
                <a:gd name="T62" fmla="*/ 38 w 299"/>
                <a:gd name="T63" fmla="*/ 544 h 549"/>
                <a:gd name="T64" fmla="*/ 23 w 299"/>
                <a:gd name="T65" fmla="*/ 532 h 549"/>
                <a:gd name="T66" fmla="*/ 19 w 299"/>
                <a:gd name="T67" fmla="*/ 503 h 549"/>
                <a:gd name="T68" fmla="*/ 26 w 299"/>
                <a:gd name="T69" fmla="*/ 436 h 549"/>
                <a:gd name="T70" fmla="*/ 21 w 299"/>
                <a:gd name="T71" fmla="*/ 395 h 549"/>
                <a:gd name="T72" fmla="*/ 7 w 299"/>
                <a:gd name="T73" fmla="*/ 370 h 549"/>
                <a:gd name="T74" fmla="*/ 0 w 299"/>
                <a:gd name="T75" fmla="*/ 358 h 549"/>
                <a:gd name="T76" fmla="*/ 16 w 299"/>
                <a:gd name="T77" fmla="*/ 344 h 549"/>
                <a:gd name="T78" fmla="*/ 37 w 299"/>
                <a:gd name="T79" fmla="*/ 331 h 549"/>
                <a:gd name="T80" fmla="*/ 43 w 299"/>
                <a:gd name="T81" fmla="*/ 320 h 549"/>
                <a:gd name="T82" fmla="*/ 51 w 299"/>
                <a:gd name="T83" fmla="*/ 305 h 549"/>
                <a:gd name="T84" fmla="*/ 67 w 299"/>
                <a:gd name="T85" fmla="*/ 276 h 549"/>
                <a:gd name="T86" fmla="*/ 71 w 299"/>
                <a:gd name="T87" fmla="*/ 241 h 549"/>
                <a:gd name="T88" fmla="*/ 65 w 299"/>
                <a:gd name="T89" fmla="*/ 224 h 549"/>
                <a:gd name="T90" fmla="*/ 57 w 299"/>
                <a:gd name="T91" fmla="*/ 190 h 549"/>
                <a:gd name="T92" fmla="*/ 57 w 299"/>
                <a:gd name="T93" fmla="*/ 146 h 549"/>
                <a:gd name="T94" fmla="*/ 50 w 299"/>
                <a:gd name="T95" fmla="*/ 121 h 549"/>
                <a:gd name="T96" fmla="*/ 37 w 299"/>
                <a:gd name="T97" fmla="*/ 74 h 549"/>
                <a:gd name="T98" fmla="*/ 33 w 299"/>
                <a:gd name="T99" fmla="*/ 32 h 549"/>
                <a:gd name="T100" fmla="*/ 41 w 299"/>
                <a:gd name="T101" fmla="*/ 11 h 549"/>
                <a:gd name="T102" fmla="*/ 54 w 299"/>
                <a:gd name="T103" fmla="*/ 0 h 549"/>
                <a:gd name="T104" fmla="*/ 77 w 299"/>
                <a:gd name="T105" fmla="*/ 15 h 549"/>
                <a:gd name="T106" fmla="*/ 87 w 299"/>
                <a:gd name="T107" fmla="*/ 44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9" h="549">
                  <a:moveTo>
                    <a:pt x="91" y="62"/>
                  </a:moveTo>
                  <a:lnTo>
                    <a:pt x="91" y="62"/>
                  </a:lnTo>
                  <a:lnTo>
                    <a:pt x="97" y="84"/>
                  </a:lnTo>
                  <a:lnTo>
                    <a:pt x="102" y="105"/>
                  </a:lnTo>
                  <a:lnTo>
                    <a:pt x="108" y="152"/>
                  </a:lnTo>
                  <a:lnTo>
                    <a:pt x="114" y="197"/>
                  </a:lnTo>
                  <a:lnTo>
                    <a:pt x="118" y="219"/>
                  </a:lnTo>
                  <a:lnTo>
                    <a:pt x="125" y="241"/>
                  </a:lnTo>
                  <a:lnTo>
                    <a:pt x="125" y="241"/>
                  </a:lnTo>
                  <a:lnTo>
                    <a:pt x="121" y="256"/>
                  </a:lnTo>
                  <a:lnTo>
                    <a:pt x="118" y="273"/>
                  </a:lnTo>
                  <a:lnTo>
                    <a:pt x="118" y="280"/>
                  </a:lnTo>
                  <a:lnTo>
                    <a:pt x="118" y="288"/>
                  </a:lnTo>
                  <a:lnTo>
                    <a:pt x="120" y="296"/>
                  </a:lnTo>
                  <a:lnTo>
                    <a:pt x="122" y="304"/>
                  </a:lnTo>
                  <a:lnTo>
                    <a:pt x="122" y="304"/>
                  </a:lnTo>
                  <a:lnTo>
                    <a:pt x="171" y="301"/>
                  </a:lnTo>
                  <a:lnTo>
                    <a:pt x="196" y="301"/>
                  </a:lnTo>
                  <a:lnTo>
                    <a:pt x="221" y="304"/>
                  </a:lnTo>
                  <a:lnTo>
                    <a:pt x="232" y="305"/>
                  </a:lnTo>
                  <a:lnTo>
                    <a:pt x="243" y="310"/>
                  </a:lnTo>
                  <a:lnTo>
                    <a:pt x="253" y="314"/>
                  </a:lnTo>
                  <a:lnTo>
                    <a:pt x="263" y="318"/>
                  </a:lnTo>
                  <a:lnTo>
                    <a:pt x="272" y="325"/>
                  </a:lnTo>
                  <a:lnTo>
                    <a:pt x="279" y="334"/>
                  </a:lnTo>
                  <a:lnTo>
                    <a:pt x="286" y="344"/>
                  </a:lnTo>
                  <a:lnTo>
                    <a:pt x="292" y="355"/>
                  </a:lnTo>
                  <a:lnTo>
                    <a:pt x="292" y="355"/>
                  </a:lnTo>
                  <a:lnTo>
                    <a:pt x="296" y="398"/>
                  </a:lnTo>
                  <a:lnTo>
                    <a:pt x="297" y="421"/>
                  </a:lnTo>
                  <a:lnTo>
                    <a:pt x="299" y="445"/>
                  </a:lnTo>
                  <a:lnTo>
                    <a:pt x="299" y="468"/>
                  </a:lnTo>
                  <a:lnTo>
                    <a:pt x="296" y="489"/>
                  </a:lnTo>
                  <a:lnTo>
                    <a:pt x="293" y="499"/>
                  </a:lnTo>
                  <a:lnTo>
                    <a:pt x="290" y="510"/>
                  </a:lnTo>
                  <a:lnTo>
                    <a:pt x="286" y="519"/>
                  </a:lnTo>
                  <a:lnTo>
                    <a:pt x="280" y="529"/>
                  </a:lnTo>
                  <a:lnTo>
                    <a:pt x="280" y="529"/>
                  </a:lnTo>
                  <a:lnTo>
                    <a:pt x="276" y="535"/>
                  </a:lnTo>
                  <a:lnTo>
                    <a:pt x="270" y="539"/>
                  </a:lnTo>
                  <a:lnTo>
                    <a:pt x="263" y="543"/>
                  </a:lnTo>
                  <a:lnTo>
                    <a:pt x="258" y="546"/>
                  </a:lnTo>
                  <a:lnTo>
                    <a:pt x="250" y="547"/>
                  </a:lnTo>
                  <a:lnTo>
                    <a:pt x="243" y="547"/>
                  </a:lnTo>
                  <a:lnTo>
                    <a:pt x="236" y="547"/>
                  </a:lnTo>
                  <a:lnTo>
                    <a:pt x="229" y="546"/>
                  </a:lnTo>
                  <a:lnTo>
                    <a:pt x="229" y="546"/>
                  </a:lnTo>
                  <a:lnTo>
                    <a:pt x="223" y="540"/>
                  </a:lnTo>
                  <a:lnTo>
                    <a:pt x="221" y="536"/>
                  </a:lnTo>
                  <a:lnTo>
                    <a:pt x="219" y="530"/>
                  </a:lnTo>
                  <a:lnTo>
                    <a:pt x="218" y="523"/>
                  </a:lnTo>
                  <a:lnTo>
                    <a:pt x="219" y="512"/>
                  </a:lnTo>
                  <a:lnTo>
                    <a:pt x="221" y="499"/>
                  </a:lnTo>
                  <a:lnTo>
                    <a:pt x="225" y="493"/>
                  </a:lnTo>
                  <a:lnTo>
                    <a:pt x="225" y="493"/>
                  </a:lnTo>
                  <a:lnTo>
                    <a:pt x="229" y="463"/>
                  </a:lnTo>
                  <a:lnTo>
                    <a:pt x="232" y="446"/>
                  </a:lnTo>
                  <a:lnTo>
                    <a:pt x="232" y="431"/>
                  </a:lnTo>
                  <a:lnTo>
                    <a:pt x="232" y="414"/>
                  </a:lnTo>
                  <a:lnTo>
                    <a:pt x="229" y="398"/>
                  </a:lnTo>
                  <a:lnTo>
                    <a:pt x="223" y="385"/>
                  </a:lnTo>
                  <a:lnTo>
                    <a:pt x="221" y="378"/>
                  </a:lnTo>
                  <a:lnTo>
                    <a:pt x="216" y="372"/>
                  </a:lnTo>
                  <a:lnTo>
                    <a:pt x="216" y="372"/>
                  </a:lnTo>
                  <a:lnTo>
                    <a:pt x="208" y="361"/>
                  </a:lnTo>
                  <a:lnTo>
                    <a:pt x="198" y="352"/>
                  </a:lnTo>
                  <a:lnTo>
                    <a:pt x="186" y="347"/>
                  </a:lnTo>
                  <a:lnTo>
                    <a:pt x="174" y="342"/>
                  </a:lnTo>
                  <a:lnTo>
                    <a:pt x="159" y="340"/>
                  </a:lnTo>
                  <a:lnTo>
                    <a:pt x="147" y="338"/>
                  </a:lnTo>
                  <a:lnTo>
                    <a:pt x="132" y="340"/>
                  </a:lnTo>
                  <a:lnTo>
                    <a:pt x="118" y="341"/>
                  </a:lnTo>
                  <a:lnTo>
                    <a:pt x="118" y="341"/>
                  </a:lnTo>
                  <a:lnTo>
                    <a:pt x="112" y="348"/>
                  </a:lnTo>
                  <a:lnTo>
                    <a:pt x="108" y="355"/>
                  </a:lnTo>
                  <a:lnTo>
                    <a:pt x="104" y="362"/>
                  </a:lnTo>
                  <a:lnTo>
                    <a:pt x="101" y="371"/>
                  </a:lnTo>
                  <a:lnTo>
                    <a:pt x="97" y="388"/>
                  </a:lnTo>
                  <a:lnTo>
                    <a:pt x="94" y="405"/>
                  </a:lnTo>
                  <a:lnTo>
                    <a:pt x="94" y="425"/>
                  </a:lnTo>
                  <a:lnTo>
                    <a:pt x="94" y="445"/>
                  </a:lnTo>
                  <a:lnTo>
                    <a:pt x="94" y="483"/>
                  </a:lnTo>
                  <a:lnTo>
                    <a:pt x="94" y="483"/>
                  </a:lnTo>
                  <a:lnTo>
                    <a:pt x="94" y="492"/>
                  </a:lnTo>
                  <a:lnTo>
                    <a:pt x="94" y="500"/>
                  </a:lnTo>
                  <a:lnTo>
                    <a:pt x="93" y="510"/>
                  </a:lnTo>
                  <a:lnTo>
                    <a:pt x="90" y="519"/>
                  </a:lnTo>
                  <a:lnTo>
                    <a:pt x="87" y="527"/>
                  </a:lnTo>
                  <a:lnTo>
                    <a:pt x="83" y="535"/>
                  </a:lnTo>
                  <a:lnTo>
                    <a:pt x="77" y="542"/>
                  </a:lnTo>
                  <a:lnTo>
                    <a:pt x="70" y="547"/>
                  </a:lnTo>
                  <a:lnTo>
                    <a:pt x="70" y="547"/>
                  </a:lnTo>
                  <a:lnTo>
                    <a:pt x="61" y="549"/>
                  </a:lnTo>
                  <a:lnTo>
                    <a:pt x="53" y="547"/>
                  </a:lnTo>
                  <a:lnTo>
                    <a:pt x="46" y="547"/>
                  </a:lnTo>
                  <a:lnTo>
                    <a:pt x="38" y="544"/>
                  </a:lnTo>
                  <a:lnTo>
                    <a:pt x="33" y="542"/>
                  </a:lnTo>
                  <a:lnTo>
                    <a:pt x="27" y="537"/>
                  </a:lnTo>
                  <a:lnTo>
                    <a:pt x="23" y="532"/>
                  </a:lnTo>
                  <a:lnTo>
                    <a:pt x="19" y="525"/>
                  </a:lnTo>
                  <a:lnTo>
                    <a:pt x="19" y="525"/>
                  </a:lnTo>
                  <a:lnTo>
                    <a:pt x="19" y="503"/>
                  </a:lnTo>
                  <a:lnTo>
                    <a:pt x="20" y="482"/>
                  </a:lnTo>
                  <a:lnTo>
                    <a:pt x="23" y="459"/>
                  </a:lnTo>
                  <a:lnTo>
                    <a:pt x="26" y="436"/>
                  </a:lnTo>
                  <a:lnTo>
                    <a:pt x="26" y="415"/>
                  </a:lnTo>
                  <a:lnTo>
                    <a:pt x="24" y="405"/>
                  </a:lnTo>
                  <a:lnTo>
                    <a:pt x="21" y="395"/>
                  </a:lnTo>
                  <a:lnTo>
                    <a:pt x="19" y="387"/>
                  </a:lnTo>
                  <a:lnTo>
                    <a:pt x="14" y="377"/>
                  </a:lnTo>
                  <a:lnTo>
                    <a:pt x="7" y="370"/>
                  </a:lnTo>
                  <a:lnTo>
                    <a:pt x="0" y="362"/>
                  </a:lnTo>
                  <a:lnTo>
                    <a:pt x="0" y="362"/>
                  </a:lnTo>
                  <a:lnTo>
                    <a:pt x="0" y="358"/>
                  </a:lnTo>
                  <a:lnTo>
                    <a:pt x="3" y="354"/>
                  </a:lnTo>
                  <a:lnTo>
                    <a:pt x="7" y="348"/>
                  </a:lnTo>
                  <a:lnTo>
                    <a:pt x="16" y="344"/>
                  </a:lnTo>
                  <a:lnTo>
                    <a:pt x="23" y="340"/>
                  </a:lnTo>
                  <a:lnTo>
                    <a:pt x="31" y="337"/>
                  </a:lnTo>
                  <a:lnTo>
                    <a:pt x="37" y="331"/>
                  </a:lnTo>
                  <a:lnTo>
                    <a:pt x="40" y="328"/>
                  </a:lnTo>
                  <a:lnTo>
                    <a:pt x="41" y="324"/>
                  </a:lnTo>
                  <a:lnTo>
                    <a:pt x="43" y="320"/>
                  </a:lnTo>
                  <a:lnTo>
                    <a:pt x="43" y="314"/>
                  </a:lnTo>
                  <a:lnTo>
                    <a:pt x="43" y="314"/>
                  </a:lnTo>
                  <a:lnTo>
                    <a:pt x="51" y="305"/>
                  </a:lnTo>
                  <a:lnTo>
                    <a:pt x="58" y="296"/>
                  </a:lnTo>
                  <a:lnTo>
                    <a:pt x="64" y="286"/>
                  </a:lnTo>
                  <a:lnTo>
                    <a:pt x="67" y="276"/>
                  </a:lnTo>
                  <a:lnTo>
                    <a:pt x="70" y="264"/>
                  </a:lnTo>
                  <a:lnTo>
                    <a:pt x="71" y="253"/>
                  </a:lnTo>
                  <a:lnTo>
                    <a:pt x="71" y="241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5" y="224"/>
                  </a:lnTo>
                  <a:lnTo>
                    <a:pt x="63" y="219"/>
                  </a:lnTo>
                  <a:lnTo>
                    <a:pt x="58" y="205"/>
                  </a:lnTo>
                  <a:lnTo>
                    <a:pt x="57" y="190"/>
                  </a:lnTo>
                  <a:lnTo>
                    <a:pt x="57" y="176"/>
                  </a:lnTo>
                  <a:lnTo>
                    <a:pt x="58" y="160"/>
                  </a:lnTo>
                  <a:lnTo>
                    <a:pt x="57" y="146"/>
                  </a:lnTo>
                  <a:lnTo>
                    <a:pt x="56" y="133"/>
                  </a:lnTo>
                  <a:lnTo>
                    <a:pt x="53" y="126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41" y="91"/>
                  </a:lnTo>
                  <a:lnTo>
                    <a:pt x="37" y="74"/>
                  </a:lnTo>
                  <a:lnTo>
                    <a:pt x="33" y="57"/>
                  </a:lnTo>
                  <a:lnTo>
                    <a:pt x="33" y="41"/>
                  </a:lnTo>
                  <a:lnTo>
                    <a:pt x="33" y="32"/>
                  </a:lnTo>
                  <a:lnTo>
                    <a:pt x="36" y="25"/>
                  </a:lnTo>
                  <a:lnTo>
                    <a:pt x="37" y="18"/>
                  </a:lnTo>
                  <a:lnTo>
                    <a:pt x="41" y="11"/>
                  </a:lnTo>
                  <a:lnTo>
                    <a:pt x="47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3"/>
                  </a:lnTo>
                  <a:lnTo>
                    <a:pt x="71" y="8"/>
                  </a:lnTo>
                  <a:lnTo>
                    <a:pt x="77" y="15"/>
                  </a:lnTo>
                  <a:lnTo>
                    <a:pt x="81" y="24"/>
                  </a:lnTo>
                  <a:lnTo>
                    <a:pt x="84" y="34"/>
                  </a:lnTo>
                  <a:lnTo>
                    <a:pt x="87" y="44"/>
                  </a:lnTo>
                  <a:lnTo>
                    <a:pt x="91" y="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374"/>
            <p:cNvSpPr>
              <a:spLocks/>
            </p:cNvSpPr>
            <p:nvPr/>
          </p:nvSpPr>
          <p:spPr bwMode="auto">
            <a:xfrm>
              <a:off x="7126" y="2317"/>
              <a:ext cx="131" cy="511"/>
            </a:xfrm>
            <a:custGeom>
              <a:avLst/>
              <a:gdLst>
                <a:gd name="T0" fmla="*/ 15 w 131"/>
                <a:gd name="T1" fmla="*/ 7 h 511"/>
                <a:gd name="T2" fmla="*/ 3 w 131"/>
                <a:gd name="T3" fmla="*/ 17 h 511"/>
                <a:gd name="T4" fmla="*/ 0 w 131"/>
                <a:gd name="T5" fmla="*/ 32 h 511"/>
                <a:gd name="T6" fmla="*/ 2 w 131"/>
                <a:gd name="T7" fmla="*/ 63 h 511"/>
                <a:gd name="T8" fmla="*/ 10 w 131"/>
                <a:gd name="T9" fmla="*/ 77 h 511"/>
                <a:gd name="T10" fmla="*/ 22 w 131"/>
                <a:gd name="T11" fmla="*/ 110 h 511"/>
                <a:gd name="T12" fmla="*/ 27 w 131"/>
                <a:gd name="T13" fmla="*/ 143 h 511"/>
                <a:gd name="T14" fmla="*/ 32 w 131"/>
                <a:gd name="T15" fmla="*/ 195 h 511"/>
                <a:gd name="T16" fmla="*/ 36 w 131"/>
                <a:gd name="T17" fmla="*/ 301 h 511"/>
                <a:gd name="T18" fmla="*/ 39 w 131"/>
                <a:gd name="T19" fmla="*/ 335 h 511"/>
                <a:gd name="T20" fmla="*/ 46 w 131"/>
                <a:gd name="T21" fmla="*/ 352 h 511"/>
                <a:gd name="T22" fmla="*/ 43 w 131"/>
                <a:gd name="T23" fmla="*/ 369 h 511"/>
                <a:gd name="T24" fmla="*/ 39 w 131"/>
                <a:gd name="T25" fmla="*/ 387 h 511"/>
                <a:gd name="T26" fmla="*/ 39 w 131"/>
                <a:gd name="T27" fmla="*/ 407 h 511"/>
                <a:gd name="T28" fmla="*/ 43 w 131"/>
                <a:gd name="T29" fmla="*/ 416 h 511"/>
                <a:gd name="T30" fmla="*/ 46 w 131"/>
                <a:gd name="T31" fmla="*/ 436 h 511"/>
                <a:gd name="T32" fmla="*/ 46 w 131"/>
                <a:gd name="T33" fmla="*/ 467 h 511"/>
                <a:gd name="T34" fmla="*/ 47 w 131"/>
                <a:gd name="T35" fmla="*/ 487 h 511"/>
                <a:gd name="T36" fmla="*/ 53 w 131"/>
                <a:gd name="T37" fmla="*/ 494 h 511"/>
                <a:gd name="T38" fmla="*/ 66 w 131"/>
                <a:gd name="T39" fmla="*/ 505 h 511"/>
                <a:gd name="T40" fmla="*/ 83 w 131"/>
                <a:gd name="T41" fmla="*/ 511 h 511"/>
                <a:gd name="T42" fmla="*/ 103 w 131"/>
                <a:gd name="T43" fmla="*/ 511 h 511"/>
                <a:gd name="T44" fmla="*/ 113 w 131"/>
                <a:gd name="T45" fmla="*/ 508 h 511"/>
                <a:gd name="T46" fmla="*/ 124 w 131"/>
                <a:gd name="T47" fmla="*/ 501 h 511"/>
                <a:gd name="T48" fmla="*/ 130 w 131"/>
                <a:gd name="T49" fmla="*/ 491 h 511"/>
                <a:gd name="T50" fmla="*/ 131 w 131"/>
                <a:gd name="T51" fmla="*/ 480 h 511"/>
                <a:gd name="T52" fmla="*/ 126 w 131"/>
                <a:gd name="T53" fmla="*/ 453 h 511"/>
                <a:gd name="T54" fmla="*/ 118 w 131"/>
                <a:gd name="T55" fmla="*/ 426 h 511"/>
                <a:gd name="T56" fmla="*/ 117 w 131"/>
                <a:gd name="T57" fmla="*/ 413 h 511"/>
                <a:gd name="T58" fmla="*/ 116 w 131"/>
                <a:gd name="T59" fmla="*/ 384 h 511"/>
                <a:gd name="T60" fmla="*/ 121 w 131"/>
                <a:gd name="T61" fmla="*/ 299 h 511"/>
                <a:gd name="T62" fmla="*/ 123 w 131"/>
                <a:gd name="T63" fmla="*/ 256 h 511"/>
                <a:gd name="T64" fmla="*/ 118 w 131"/>
                <a:gd name="T65" fmla="*/ 229 h 511"/>
                <a:gd name="T66" fmla="*/ 110 w 131"/>
                <a:gd name="T67" fmla="*/ 204 h 511"/>
                <a:gd name="T68" fmla="*/ 104 w 131"/>
                <a:gd name="T69" fmla="*/ 191 h 511"/>
                <a:gd name="T70" fmla="*/ 97 w 131"/>
                <a:gd name="T71" fmla="*/ 145 h 511"/>
                <a:gd name="T72" fmla="*/ 80 w 131"/>
                <a:gd name="T73" fmla="*/ 81 h 511"/>
                <a:gd name="T74" fmla="*/ 73 w 131"/>
                <a:gd name="T75" fmla="*/ 37 h 511"/>
                <a:gd name="T76" fmla="*/ 73 w 131"/>
                <a:gd name="T77" fmla="*/ 16 h 511"/>
                <a:gd name="T78" fmla="*/ 62 w 131"/>
                <a:gd name="T79" fmla="*/ 3 h 511"/>
                <a:gd name="T80" fmla="*/ 47 w 131"/>
                <a:gd name="T81" fmla="*/ 0 h 511"/>
                <a:gd name="T82" fmla="*/ 30 w 131"/>
                <a:gd name="T83" fmla="*/ 2 h 511"/>
                <a:gd name="T84" fmla="*/ 15 w 131"/>
                <a:gd name="T85" fmla="*/ 7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" h="511">
                  <a:moveTo>
                    <a:pt x="15" y="7"/>
                  </a:moveTo>
                  <a:lnTo>
                    <a:pt x="15" y="7"/>
                  </a:lnTo>
                  <a:lnTo>
                    <a:pt x="9" y="12"/>
                  </a:lnTo>
                  <a:lnTo>
                    <a:pt x="3" y="17"/>
                  </a:lnTo>
                  <a:lnTo>
                    <a:pt x="2" y="23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10" y="77"/>
                  </a:lnTo>
                  <a:lnTo>
                    <a:pt x="16" y="93"/>
                  </a:lnTo>
                  <a:lnTo>
                    <a:pt x="22" y="110"/>
                  </a:lnTo>
                  <a:lnTo>
                    <a:pt x="25" y="126"/>
                  </a:lnTo>
                  <a:lnTo>
                    <a:pt x="27" y="143"/>
                  </a:lnTo>
                  <a:lnTo>
                    <a:pt x="30" y="160"/>
                  </a:lnTo>
                  <a:lnTo>
                    <a:pt x="32" y="195"/>
                  </a:lnTo>
                  <a:lnTo>
                    <a:pt x="33" y="266"/>
                  </a:lnTo>
                  <a:lnTo>
                    <a:pt x="36" y="301"/>
                  </a:lnTo>
                  <a:lnTo>
                    <a:pt x="39" y="335"/>
                  </a:lnTo>
                  <a:lnTo>
                    <a:pt x="39" y="335"/>
                  </a:lnTo>
                  <a:lnTo>
                    <a:pt x="44" y="343"/>
                  </a:lnTo>
                  <a:lnTo>
                    <a:pt x="46" y="352"/>
                  </a:lnTo>
                  <a:lnTo>
                    <a:pt x="46" y="360"/>
                  </a:lnTo>
                  <a:lnTo>
                    <a:pt x="43" y="369"/>
                  </a:lnTo>
                  <a:lnTo>
                    <a:pt x="40" y="377"/>
                  </a:lnTo>
                  <a:lnTo>
                    <a:pt x="39" y="387"/>
                  </a:lnTo>
                  <a:lnTo>
                    <a:pt x="37" y="39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43" y="416"/>
                  </a:lnTo>
                  <a:lnTo>
                    <a:pt x="44" y="426"/>
                  </a:lnTo>
                  <a:lnTo>
                    <a:pt x="46" y="436"/>
                  </a:lnTo>
                  <a:lnTo>
                    <a:pt x="46" y="446"/>
                  </a:lnTo>
                  <a:lnTo>
                    <a:pt x="46" y="467"/>
                  </a:lnTo>
                  <a:lnTo>
                    <a:pt x="46" y="477"/>
                  </a:lnTo>
                  <a:lnTo>
                    <a:pt x="47" y="487"/>
                  </a:lnTo>
                  <a:lnTo>
                    <a:pt x="47" y="487"/>
                  </a:lnTo>
                  <a:lnTo>
                    <a:pt x="53" y="494"/>
                  </a:lnTo>
                  <a:lnTo>
                    <a:pt x="59" y="501"/>
                  </a:lnTo>
                  <a:lnTo>
                    <a:pt x="66" y="505"/>
                  </a:lnTo>
                  <a:lnTo>
                    <a:pt x="74" y="510"/>
                  </a:lnTo>
                  <a:lnTo>
                    <a:pt x="83" y="511"/>
                  </a:lnTo>
                  <a:lnTo>
                    <a:pt x="93" y="511"/>
                  </a:lnTo>
                  <a:lnTo>
                    <a:pt x="103" y="511"/>
                  </a:lnTo>
                  <a:lnTo>
                    <a:pt x="113" y="508"/>
                  </a:lnTo>
                  <a:lnTo>
                    <a:pt x="113" y="508"/>
                  </a:lnTo>
                  <a:lnTo>
                    <a:pt x="118" y="505"/>
                  </a:lnTo>
                  <a:lnTo>
                    <a:pt x="124" y="501"/>
                  </a:lnTo>
                  <a:lnTo>
                    <a:pt x="127" y="497"/>
                  </a:lnTo>
                  <a:lnTo>
                    <a:pt x="130" y="491"/>
                  </a:lnTo>
                  <a:lnTo>
                    <a:pt x="131" y="485"/>
                  </a:lnTo>
                  <a:lnTo>
                    <a:pt x="131" y="480"/>
                  </a:lnTo>
                  <a:lnTo>
                    <a:pt x="130" y="467"/>
                  </a:lnTo>
                  <a:lnTo>
                    <a:pt x="126" y="453"/>
                  </a:lnTo>
                  <a:lnTo>
                    <a:pt x="123" y="439"/>
                  </a:lnTo>
                  <a:lnTo>
                    <a:pt x="118" y="426"/>
                  </a:lnTo>
                  <a:lnTo>
                    <a:pt x="117" y="413"/>
                  </a:lnTo>
                  <a:lnTo>
                    <a:pt x="117" y="413"/>
                  </a:lnTo>
                  <a:lnTo>
                    <a:pt x="116" y="399"/>
                  </a:lnTo>
                  <a:lnTo>
                    <a:pt x="116" y="384"/>
                  </a:lnTo>
                  <a:lnTo>
                    <a:pt x="117" y="356"/>
                  </a:lnTo>
                  <a:lnTo>
                    <a:pt x="121" y="299"/>
                  </a:lnTo>
                  <a:lnTo>
                    <a:pt x="123" y="271"/>
                  </a:lnTo>
                  <a:lnTo>
                    <a:pt x="123" y="256"/>
                  </a:lnTo>
                  <a:lnTo>
                    <a:pt x="121" y="244"/>
                  </a:lnTo>
                  <a:lnTo>
                    <a:pt x="118" y="229"/>
                  </a:lnTo>
                  <a:lnTo>
                    <a:pt x="116" y="217"/>
                  </a:lnTo>
                  <a:lnTo>
                    <a:pt x="110" y="204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1" y="168"/>
                  </a:lnTo>
                  <a:lnTo>
                    <a:pt x="97" y="145"/>
                  </a:lnTo>
                  <a:lnTo>
                    <a:pt x="86" y="103"/>
                  </a:lnTo>
                  <a:lnTo>
                    <a:pt x="80" y="81"/>
                  </a:lnTo>
                  <a:lnTo>
                    <a:pt x="76" y="60"/>
                  </a:lnTo>
                  <a:lnTo>
                    <a:pt x="73" y="37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67" y="9"/>
                  </a:lnTo>
                  <a:lnTo>
                    <a:pt x="62" y="3"/>
                  </a:lnTo>
                  <a:lnTo>
                    <a:pt x="54" y="2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0" y="2"/>
                  </a:lnTo>
                  <a:lnTo>
                    <a:pt x="22" y="5"/>
                  </a:lnTo>
                  <a:lnTo>
                    <a:pt x="15" y="7"/>
                  </a:lnTo>
                  <a:lnTo>
                    <a:pt x="15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375"/>
            <p:cNvSpPr>
              <a:spLocks/>
            </p:cNvSpPr>
            <p:nvPr/>
          </p:nvSpPr>
          <p:spPr bwMode="auto">
            <a:xfrm>
              <a:off x="6983" y="2462"/>
              <a:ext cx="57" cy="35"/>
            </a:xfrm>
            <a:custGeom>
              <a:avLst/>
              <a:gdLst>
                <a:gd name="T0" fmla="*/ 0 w 57"/>
                <a:gd name="T1" fmla="*/ 28 h 35"/>
                <a:gd name="T2" fmla="*/ 0 w 57"/>
                <a:gd name="T3" fmla="*/ 28 h 35"/>
                <a:gd name="T4" fmla="*/ 10 w 57"/>
                <a:gd name="T5" fmla="*/ 30 h 35"/>
                <a:gd name="T6" fmla="*/ 18 w 57"/>
                <a:gd name="T7" fmla="*/ 33 h 35"/>
                <a:gd name="T8" fmla="*/ 28 w 57"/>
                <a:gd name="T9" fmla="*/ 35 h 35"/>
                <a:gd name="T10" fmla="*/ 38 w 57"/>
                <a:gd name="T11" fmla="*/ 32 h 35"/>
                <a:gd name="T12" fmla="*/ 38 w 57"/>
                <a:gd name="T13" fmla="*/ 32 h 35"/>
                <a:gd name="T14" fmla="*/ 45 w 57"/>
                <a:gd name="T15" fmla="*/ 28 h 35"/>
                <a:gd name="T16" fmla="*/ 52 w 57"/>
                <a:gd name="T17" fmla="*/ 19 h 35"/>
                <a:gd name="T18" fmla="*/ 55 w 57"/>
                <a:gd name="T19" fmla="*/ 15 h 35"/>
                <a:gd name="T20" fmla="*/ 57 w 57"/>
                <a:gd name="T21" fmla="*/ 10 h 35"/>
                <a:gd name="T22" fmla="*/ 55 w 57"/>
                <a:gd name="T23" fmla="*/ 5 h 35"/>
                <a:gd name="T24" fmla="*/ 54 w 57"/>
                <a:gd name="T25" fmla="*/ 0 h 35"/>
                <a:gd name="T26" fmla="*/ 54 w 57"/>
                <a:gd name="T27" fmla="*/ 0 h 35"/>
                <a:gd name="T28" fmla="*/ 37 w 57"/>
                <a:gd name="T29" fmla="*/ 2 h 35"/>
                <a:gd name="T30" fmla="*/ 30 w 57"/>
                <a:gd name="T31" fmla="*/ 3 h 35"/>
                <a:gd name="T32" fmla="*/ 21 w 57"/>
                <a:gd name="T33" fmla="*/ 6 h 35"/>
                <a:gd name="T34" fmla="*/ 14 w 57"/>
                <a:gd name="T35" fmla="*/ 9 h 35"/>
                <a:gd name="T36" fmla="*/ 8 w 57"/>
                <a:gd name="T37" fmla="*/ 13 h 35"/>
                <a:gd name="T38" fmla="*/ 4 w 57"/>
                <a:gd name="T39" fmla="*/ 19 h 35"/>
                <a:gd name="T40" fmla="*/ 0 w 57"/>
                <a:gd name="T41" fmla="*/ 28 h 35"/>
                <a:gd name="T42" fmla="*/ 0 w 57"/>
                <a:gd name="T43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5">
                  <a:moveTo>
                    <a:pt x="0" y="28"/>
                  </a:moveTo>
                  <a:lnTo>
                    <a:pt x="0" y="28"/>
                  </a:lnTo>
                  <a:lnTo>
                    <a:pt x="10" y="30"/>
                  </a:lnTo>
                  <a:lnTo>
                    <a:pt x="18" y="33"/>
                  </a:lnTo>
                  <a:lnTo>
                    <a:pt x="28" y="35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5" y="28"/>
                  </a:lnTo>
                  <a:lnTo>
                    <a:pt x="52" y="19"/>
                  </a:lnTo>
                  <a:lnTo>
                    <a:pt x="55" y="15"/>
                  </a:lnTo>
                  <a:lnTo>
                    <a:pt x="57" y="10"/>
                  </a:lnTo>
                  <a:lnTo>
                    <a:pt x="55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8" y="13"/>
                  </a:lnTo>
                  <a:lnTo>
                    <a:pt x="4" y="19"/>
                  </a:lnTo>
                  <a:lnTo>
                    <a:pt x="0" y="28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376"/>
            <p:cNvSpPr>
              <a:spLocks/>
            </p:cNvSpPr>
            <p:nvPr/>
          </p:nvSpPr>
          <p:spPr bwMode="auto">
            <a:xfrm>
              <a:off x="6205" y="2532"/>
              <a:ext cx="251" cy="340"/>
            </a:xfrm>
            <a:custGeom>
              <a:avLst/>
              <a:gdLst>
                <a:gd name="T0" fmla="*/ 207 w 251"/>
                <a:gd name="T1" fmla="*/ 6 h 340"/>
                <a:gd name="T2" fmla="*/ 180 w 251"/>
                <a:gd name="T3" fmla="*/ 2 h 340"/>
                <a:gd name="T4" fmla="*/ 156 w 251"/>
                <a:gd name="T5" fmla="*/ 2 h 340"/>
                <a:gd name="T6" fmla="*/ 133 w 251"/>
                <a:gd name="T7" fmla="*/ 6 h 340"/>
                <a:gd name="T8" fmla="*/ 110 w 251"/>
                <a:gd name="T9" fmla="*/ 16 h 340"/>
                <a:gd name="T10" fmla="*/ 69 w 251"/>
                <a:gd name="T11" fmla="*/ 39 h 340"/>
                <a:gd name="T12" fmla="*/ 28 w 251"/>
                <a:gd name="T13" fmla="*/ 64 h 340"/>
                <a:gd name="T14" fmla="*/ 21 w 251"/>
                <a:gd name="T15" fmla="*/ 73 h 340"/>
                <a:gd name="T16" fmla="*/ 9 w 251"/>
                <a:gd name="T17" fmla="*/ 88 h 340"/>
                <a:gd name="T18" fmla="*/ 4 w 251"/>
                <a:gd name="T19" fmla="*/ 107 h 340"/>
                <a:gd name="T20" fmla="*/ 0 w 251"/>
                <a:gd name="T21" fmla="*/ 137 h 340"/>
                <a:gd name="T22" fmla="*/ 1 w 251"/>
                <a:gd name="T23" fmla="*/ 181 h 340"/>
                <a:gd name="T24" fmla="*/ 2 w 251"/>
                <a:gd name="T25" fmla="*/ 224 h 340"/>
                <a:gd name="T26" fmla="*/ 5 w 251"/>
                <a:gd name="T27" fmla="*/ 235 h 340"/>
                <a:gd name="T28" fmla="*/ 7 w 251"/>
                <a:gd name="T29" fmla="*/ 273 h 340"/>
                <a:gd name="T30" fmla="*/ 11 w 251"/>
                <a:gd name="T31" fmla="*/ 296 h 340"/>
                <a:gd name="T32" fmla="*/ 19 w 251"/>
                <a:gd name="T33" fmla="*/ 312 h 340"/>
                <a:gd name="T34" fmla="*/ 24 w 251"/>
                <a:gd name="T35" fmla="*/ 317 h 340"/>
                <a:gd name="T36" fmla="*/ 42 w 251"/>
                <a:gd name="T37" fmla="*/ 327 h 340"/>
                <a:gd name="T38" fmla="*/ 62 w 251"/>
                <a:gd name="T39" fmla="*/ 334 h 340"/>
                <a:gd name="T40" fmla="*/ 106 w 251"/>
                <a:gd name="T41" fmla="*/ 340 h 340"/>
                <a:gd name="T42" fmla="*/ 153 w 251"/>
                <a:gd name="T43" fmla="*/ 339 h 340"/>
                <a:gd name="T44" fmla="*/ 197 w 251"/>
                <a:gd name="T45" fmla="*/ 332 h 340"/>
                <a:gd name="T46" fmla="*/ 211 w 251"/>
                <a:gd name="T47" fmla="*/ 327 h 340"/>
                <a:gd name="T48" fmla="*/ 237 w 251"/>
                <a:gd name="T49" fmla="*/ 313 h 340"/>
                <a:gd name="T50" fmla="*/ 248 w 251"/>
                <a:gd name="T51" fmla="*/ 305 h 340"/>
                <a:gd name="T52" fmla="*/ 251 w 251"/>
                <a:gd name="T53" fmla="*/ 293 h 340"/>
                <a:gd name="T54" fmla="*/ 247 w 251"/>
                <a:gd name="T55" fmla="*/ 285 h 340"/>
                <a:gd name="T56" fmla="*/ 244 w 251"/>
                <a:gd name="T57" fmla="*/ 283 h 340"/>
                <a:gd name="T58" fmla="*/ 207 w 251"/>
                <a:gd name="T59" fmla="*/ 285 h 340"/>
                <a:gd name="T60" fmla="*/ 173 w 251"/>
                <a:gd name="T61" fmla="*/ 293 h 340"/>
                <a:gd name="T62" fmla="*/ 162 w 251"/>
                <a:gd name="T63" fmla="*/ 296 h 340"/>
                <a:gd name="T64" fmla="*/ 139 w 251"/>
                <a:gd name="T65" fmla="*/ 296 h 340"/>
                <a:gd name="T66" fmla="*/ 118 w 251"/>
                <a:gd name="T67" fmla="*/ 292 h 340"/>
                <a:gd name="T68" fmla="*/ 98 w 251"/>
                <a:gd name="T69" fmla="*/ 283 h 340"/>
                <a:gd name="T70" fmla="*/ 88 w 251"/>
                <a:gd name="T71" fmla="*/ 278 h 340"/>
                <a:gd name="T72" fmla="*/ 78 w 251"/>
                <a:gd name="T73" fmla="*/ 259 h 340"/>
                <a:gd name="T74" fmla="*/ 75 w 251"/>
                <a:gd name="T75" fmla="*/ 243 h 340"/>
                <a:gd name="T76" fmla="*/ 76 w 251"/>
                <a:gd name="T77" fmla="*/ 238 h 340"/>
                <a:gd name="T78" fmla="*/ 75 w 251"/>
                <a:gd name="T79" fmla="*/ 194 h 340"/>
                <a:gd name="T80" fmla="*/ 72 w 251"/>
                <a:gd name="T81" fmla="*/ 148 h 340"/>
                <a:gd name="T82" fmla="*/ 74 w 251"/>
                <a:gd name="T83" fmla="*/ 115 h 340"/>
                <a:gd name="T84" fmla="*/ 79 w 251"/>
                <a:gd name="T85" fmla="*/ 95 h 340"/>
                <a:gd name="T86" fmla="*/ 89 w 251"/>
                <a:gd name="T87" fmla="*/ 77 h 340"/>
                <a:gd name="T88" fmla="*/ 96 w 251"/>
                <a:gd name="T89" fmla="*/ 68 h 340"/>
                <a:gd name="T90" fmla="*/ 103 w 251"/>
                <a:gd name="T91" fmla="*/ 60 h 340"/>
                <a:gd name="T92" fmla="*/ 123 w 251"/>
                <a:gd name="T93" fmla="*/ 51 h 340"/>
                <a:gd name="T94" fmla="*/ 145 w 251"/>
                <a:gd name="T95" fmla="*/ 47 h 340"/>
                <a:gd name="T96" fmla="*/ 166 w 251"/>
                <a:gd name="T97" fmla="*/ 39 h 340"/>
                <a:gd name="T98" fmla="*/ 173 w 251"/>
                <a:gd name="T99" fmla="*/ 31 h 340"/>
                <a:gd name="T100" fmla="*/ 179 w 251"/>
                <a:gd name="T101" fmla="*/ 29 h 340"/>
                <a:gd name="T102" fmla="*/ 199 w 251"/>
                <a:gd name="T103" fmla="*/ 31 h 340"/>
                <a:gd name="T104" fmla="*/ 209 w 251"/>
                <a:gd name="T105" fmla="*/ 30 h 340"/>
                <a:gd name="T106" fmla="*/ 213 w 251"/>
                <a:gd name="T107" fmla="*/ 27 h 340"/>
                <a:gd name="T108" fmla="*/ 207 w 251"/>
                <a:gd name="T109" fmla="*/ 6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1" h="340">
                  <a:moveTo>
                    <a:pt x="207" y="6"/>
                  </a:moveTo>
                  <a:lnTo>
                    <a:pt x="207" y="6"/>
                  </a:lnTo>
                  <a:lnTo>
                    <a:pt x="193" y="3"/>
                  </a:lnTo>
                  <a:lnTo>
                    <a:pt x="180" y="2"/>
                  </a:lnTo>
                  <a:lnTo>
                    <a:pt x="167" y="0"/>
                  </a:lnTo>
                  <a:lnTo>
                    <a:pt x="156" y="2"/>
                  </a:lnTo>
                  <a:lnTo>
                    <a:pt x="145" y="3"/>
                  </a:lnTo>
                  <a:lnTo>
                    <a:pt x="133" y="6"/>
                  </a:lnTo>
                  <a:lnTo>
                    <a:pt x="122" y="10"/>
                  </a:lnTo>
                  <a:lnTo>
                    <a:pt x="110" y="16"/>
                  </a:lnTo>
                  <a:lnTo>
                    <a:pt x="89" y="26"/>
                  </a:lnTo>
                  <a:lnTo>
                    <a:pt x="69" y="39"/>
                  </a:lnTo>
                  <a:lnTo>
                    <a:pt x="49" y="5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1" y="73"/>
                  </a:lnTo>
                  <a:lnTo>
                    <a:pt x="15" y="80"/>
                  </a:lnTo>
                  <a:lnTo>
                    <a:pt x="9" y="88"/>
                  </a:lnTo>
                  <a:lnTo>
                    <a:pt x="7" y="98"/>
                  </a:lnTo>
                  <a:lnTo>
                    <a:pt x="4" y="107"/>
                  </a:lnTo>
                  <a:lnTo>
                    <a:pt x="1" y="117"/>
                  </a:lnTo>
                  <a:lnTo>
                    <a:pt x="0" y="137"/>
                  </a:lnTo>
                  <a:lnTo>
                    <a:pt x="1" y="158"/>
                  </a:lnTo>
                  <a:lnTo>
                    <a:pt x="1" y="181"/>
                  </a:lnTo>
                  <a:lnTo>
                    <a:pt x="2" y="202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5" y="235"/>
                  </a:lnTo>
                  <a:lnTo>
                    <a:pt x="7" y="248"/>
                  </a:lnTo>
                  <a:lnTo>
                    <a:pt x="7" y="273"/>
                  </a:lnTo>
                  <a:lnTo>
                    <a:pt x="8" y="285"/>
                  </a:lnTo>
                  <a:lnTo>
                    <a:pt x="11" y="296"/>
                  </a:lnTo>
                  <a:lnTo>
                    <a:pt x="15" y="307"/>
                  </a:lnTo>
                  <a:lnTo>
                    <a:pt x="19" y="312"/>
                  </a:lnTo>
                  <a:lnTo>
                    <a:pt x="24" y="317"/>
                  </a:lnTo>
                  <a:lnTo>
                    <a:pt x="24" y="317"/>
                  </a:lnTo>
                  <a:lnTo>
                    <a:pt x="32" y="323"/>
                  </a:lnTo>
                  <a:lnTo>
                    <a:pt x="42" y="327"/>
                  </a:lnTo>
                  <a:lnTo>
                    <a:pt x="51" y="332"/>
                  </a:lnTo>
                  <a:lnTo>
                    <a:pt x="62" y="334"/>
                  </a:lnTo>
                  <a:lnTo>
                    <a:pt x="83" y="339"/>
                  </a:lnTo>
                  <a:lnTo>
                    <a:pt x="106" y="340"/>
                  </a:lnTo>
                  <a:lnTo>
                    <a:pt x="130" y="340"/>
                  </a:lnTo>
                  <a:lnTo>
                    <a:pt x="153" y="339"/>
                  </a:lnTo>
                  <a:lnTo>
                    <a:pt x="176" y="336"/>
                  </a:lnTo>
                  <a:lnTo>
                    <a:pt x="197" y="332"/>
                  </a:lnTo>
                  <a:lnTo>
                    <a:pt x="197" y="332"/>
                  </a:lnTo>
                  <a:lnTo>
                    <a:pt x="211" y="327"/>
                  </a:lnTo>
                  <a:lnTo>
                    <a:pt x="224" y="320"/>
                  </a:lnTo>
                  <a:lnTo>
                    <a:pt x="237" y="313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51" y="299"/>
                  </a:lnTo>
                  <a:lnTo>
                    <a:pt x="251" y="293"/>
                  </a:lnTo>
                  <a:lnTo>
                    <a:pt x="250" y="288"/>
                  </a:lnTo>
                  <a:lnTo>
                    <a:pt x="247" y="285"/>
                  </a:lnTo>
                  <a:lnTo>
                    <a:pt x="244" y="283"/>
                  </a:lnTo>
                  <a:lnTo>
                    <a:pt x="244" y="283"/>
                  </a:lnTo>
                  <a:lnTo>
                    <a:pt x="226" y="283"/>
                  </a:lnTo>
                  <a:lnTo>
                    <a:pt x="207" y="285"/>
                  </a:lnTo>
                  <a:lnTo>
                    <a:pt x="190" y="288"/>
                  </a:lnTo>
                  <a:lnTo>
                    <a:pt x="173" y="293"/>
                  </a:lnTo>
                  <a:lnTo>
                    <a:pt x="173" y="293"/>
                  </a:lnTo>
                  <a:lnTo>
                    <a:pt x="162" y="296"/>
                  </a:lnTo>
                  <a:lnTo>
                    <a:pt x="150" y="296"/>
                  </a:lnTo>
                  <a:lnTo>
                    <a:pt x="139" y="296"/>
                  </a:lnTo>
                  <a:lnTo>
                    <a:pt x="128" y="295"/>
                  </a:lnTo>
                  <a:lnTo>
                    <a:pt x="118" y="292"/>
                  </a:lnTo>
                  <a:lnTo>
                    <a:pt x="108" y="288"/>
                  </a:lnTo>
                  <a:lnTo>
                    <a:pt x="98" y="283"/>
                  </a:lnTo>
                  <a:lnTo>
                    <a:pt x="88" y="278"/>
                  </a:lnTo>
                  <a:lnTo>
                    <a:pt x="88" y="278"/>
                  </a:lnTo>
                  <a:lnTo>
                    <a:pt x="82" y="269"/>
                  </a:lnTo>
                  <a:lnTo>
                    <a:pt x="78" y="259"/>
                  </a:lnTo>
                  <a:lnTo>
                    <a:pt x="75" y="249"/>
                  </a:lnTo>
                  <a:lnTo>
                    <a:pt x="75" y="243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6" y="216"/>
                  </a:lnTo>
                  <a:lnTo>
                    <a:pt x="75" y="194"/>
                  </a:lnTo>
                  <a:lnTo>
                    <a:pt x="74" y="171"/>
                  </a:lnTo>
                  <a:lnTo>
                    <a:pt x="72" y="148"/>
                  </a:lnTo>
                  <a:lnTo>
                    <a:pt x="74" y="125"/>
                  </a:lnTo>
                  <a:lnTo>
                    <a:pt x="74" y="115"/>
                  </a:lnTo>
                  <a:lnTo>
                    <a:pt x="76" y="105"/>
                  </a:lnTo>
                  <a:lnTo>
                    <a:pt x="79" y="95"/>
                  </a:lnTo>
                  <a:lnTo>
                    <a:pt x="83" y="86"/>
                  </a:lnTo>
                  <a:lnTo>
                    <a:pt x="89" y="77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101" y="64"/>
                  </a:lnTo>
                  <a:lnTo>
                    <a:pt x="103" y="60"/>
                  </a:lnTo>
                  <a:lnTo>
                    <a:pt x="113" y="54"/>
                  </a:lnTo>
                  <a:lnTo>
                    <a:pt x="123" y="51"/>
                  </a:lnTo>
                  <a:lnTo>
                    <a:pt x="135" y="49"/>
                  </a:lnTo>
                  <a:lnTo>
                    <a:pt x="145" y="47"/>
                  </a:lnTo>
                  <a:lnTo>
                    <a:pt x="156" y="44"/>
                  </a:lnTo>
                  <a:lnTo>
                    <a:pt x="166" y="39"/>
                  </a:lnTo>
                  <a:lnTo>
                    <a:pt x="170" y="36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9" y="29"/>
                  </a:lnTo>
                  <a:lnTo>
                    <a:pt x="186" y="29"/>
                  </a:lnTo>
                  <a:lnTo>
                    <a:pt x="199" y="31"/>
                  </a:lnTo>
                  <a:lnTo>
                    <a:pt x="204" y="31"/>
                  </a:lnTo>
                  <a:lnTo>
                    <a:pt x="209" y="30"/>
                  </a:lnTo>
                  <a:lnTo>
                    <a:pt x="211" y="29"/>
                  </a:lnTo>
                  <a:lnTo>
                    <a:pt x="213" y="27"/>
                  </a:lnTo>
                  <a:lnTo>
                    <a:pt x="213" y="19"/>
                  </a:lnTo>
                  <a:lnTo>
                    <a:pt x="207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377"/>
            <p:cNvSpPr>
              <a:spLocks/>
            </p:cNvSpPr>
            <p:nvPr/>
          </p:nvSpPr>
          <p:spPr bwMode="auto">
            <a:xfrm>
              <a:off x="6930" y="2569"/>
              <a:ext cx="110" cy="295"/>
            </a:xfrm>
            <a:custGeom>
              <a:avLst/>
              <a:gdLst>
                <a:gd name="T0" fmla="*/ 73 w 110"/>
                <a:gd name="T1" fmla="*/ 0 h 295"/>
                <a:gd name="T2" fmla="*/ 73 w 110"/>
                <a:gd name="T3" fmla="*/ 0 h 295"/>
                <a:gd name="T4" fmla="*/ 67 w 110"/>
                <a:gd name="T5" fmla="*/ 2 h 295"/>
                <a:gd name="T6" fmla="*/ 61 w 110"/>
                <a:gd name="T7" fmla="*/ 4 h 295"/>
                <a:gd name="T8" fmla="*/ 57 w 110"/>
                <a:gd name="T9" fmla="*/ 7 h 295"/>
                <a:gd name="T10" fmla="*/ 54 w 110"/>
                <a:gd name="T11" fmla="*/ 12 h 295"/>
                <a:gd name="T12" fmla="*/ 48 w 110"/>
                <a:gd name="T13" fmla="*/ 20 h 295"/>
                <a:gd name="T14" fmla="*/ 43 w 110"/>
                <a:gd name="T15" fmla="*/ 30 h 295"/>
                <a:gd name="T16" fmla="*/ 43 w 110"/>
                <a:gd name="T17" fmla="*/ 30 h 295"/>
                <a:gd name="T18" fmla="*/ 44 w 110"/>
                <a:gd name="T19" fmla="*/ 57 h 295"/>
                <a:gd name="T20" fmla="*/ 41 w 110"/>
                <a:gd name="T21" fmla="*/ 83 h 295"/>
                <a:gd name="T22" fmla="*/ 37 w 110"/>
                <a:gd name="T23" fmla="*/ 108 h 295"/>
                <a:gd name="T24" fmla="*/ 33 w 110"/>
                <a:gd name="T25" fmla="*/ 132 h 295"/>
                <a:gd name="T26" fmla="*/ 26 w 110"/>
                <a:gd name="T27" fmla="*/ 157 h 295"/>
                <a:gd name="T28" fmla="*/ 17 w 110"/>
                <a:gd name="T29" fmla="*/ 181 h 295"/>
                <a:gd name="T30" fmla="*/ 0 w 110"/>
                <a:gd name="T31" fmla="*/ 225 h 295"/>
                <a:gd name="T32" fmla="*/ 0 w 110"/>
                <a:gd name="T33" fmla="*/ 225 h 295"/>
                <a:gd name="T34" fmla="*/ 3 w 110"/>
                <a:gd name="T35" fmla="*/ 245 h 295"/>
                <a:gd name="T36" fmla="*/ 7 w 110"/>
                <a:gd name="T37" fmla="*/ 265 h 295"/>
                <a:gd name="T38" fmla="*/ 11 w 110"/>
                <a:gd name="T39" fmla="*/ 273 h 295"/>
                <a:gd name="T40" fmla="*/ 16 w 110"/>
                <a:gd name="T41" fmla="*/ 280 h 295"/>
                <a:gd name="T42" fmla="*/ 21 w 110"/>
                <a:gd name="T43" fmla="*/ 288 h 295"/>
                <a:gd name="T44" fmla="*/ 28 w 110"/>
                <a:gd name="T45" fmla="*/ 292 h 295"/>
                <a:gd name="T46" fmla="*/ 28 w 110"/>
                <a:gd name="T47" fmla="*/ 292 h 295"/>
                <a:gd name="T48" fmla="*/ 36 w 110"/>
                <a:gd name="T49" fmla="*/ 295 h 295"/>
                <a:gd name="T50" fmla="*/ 44 w 110"/>
                <a:gd name="T51" fmla="*/ 295 h 295"/>
                <a:gd name="T52" fmla="*/ 51 w 110"/>
                <a:gd name="T53" fmla="*/ 295 h 295"/>
                <a:gd name="T54" fmla="*/ 58 w 110"/>
                <a:gd name="T55" fmla="*/ 293 h 295"/>
                <a:gd name="T56" fmla="*/ 65 w 110"/>
                <a:gd name="T57" fmla="*/ 290 h 295"/>
                <a:gd name="T58" fmla="*/ 71 w 110"/>
                <a:gd name="T59" fmla="*/ 286 h 295"/>
                <a:gd name="T60" fmla="*/ 77 w 110"/>
                <a:gd name="T61" fmla="*/ 282 h 295"/>
                <a:gd name="T62" fmla="*/ 81 w 110"/>
                <a:gd name="T63" fmla="*/ 276 h 295"/>
                <a:gd name="T64" fmla="*/ 81 w 110"/>
                <a:gd name="T65" fmla="*/ 276 h 295"/>
                <a:gd name="T66" fmla="*/ 83 w 110"/>
                <a:gd name="T67" fmla="*/ 270 h 295"/>
                <a:gd name="T68" fmla="*/ 84 w 110"/>
                <a:gd name="T69" fmla="*/ 266 h 295"/>
                <a:gd name="T70" fmla="*/ 84 w 110"/>
                <a:gd name="T71" fmla="*/ 262 h 295"/>
                <a:gd name="T72" fmla="*/ 84 w 110"/>
                <a:gd name="T73" fmla="*/ 258 h 295"/>
                <a:gd name="T74" fmla="*/ 81 w 110"/>
                <a:gd name="T75" fmla="*/ 249 h 295"/>
                <a:gd name="T76" fmla="*/ 77 w 110"/>
                <a:gd name="T77" fmla="*/ 242 h 295"/>
                <a:gd name="T78" fmla="*/ 71 w 110"/>
                <a:gd name="T79" fmla="*/ 235 h 295"/>
                <a:gd name="T80" fmla="*/ 68 w 110"/>
                <a:gd name="T81" fmla="*/ 226 h 295"/>
                <a:gd name="T82" fmla="*/ 67 w 110"/>
                <a:gd name="T83" fmla="*/ 222 h 295"/>
                <a:gd name="T84" fmla="*/ 67 w 110"/>
                <a:gd name="T85" fmla="*/ 218 h 295"/>
                <a:gd name="T86" fmla="*/ 68 w 110"/>
                <a:gd name="T87" fmla="*/ 214 h 295"/>
                <a:gd name="T88" fmla="*/ 70 w 110"/>
                <a:gd name="T89" fmla="*/ 209 h 295"/>
                <a:gd name="T90" fmla="*/ 70 w 110"/>
                <a:gd name="T91" fmla="*/ 209 h 295"/>
                <a:gd name="T92" fmla="*/ 81 w 110"/>
                <a:gd name="T93" fmla="*/ 188 h 295"/>
                <a:gd name="T94" fmla="*/ 90 w 110"/>
                <a:gd name="T95" fmla="*/ 167 h 295"/>
                <a:gd name="T96" fmla="*/ 98 w 110"/>
                <a:gd name="T97" fmla="*/ 145 h 295"/>
                <a:gd name="T98" fmla="*/ 102 w 110"/>
                <a:gd name="T99" fmla="*/ 122 h 295"/>
                <a:gd name="T100" fmla="*/ 107 w 110"/>
                <a:gd name="T101" fmla="*/ 98 h 295"/>
                <a:gd name="T102" fmla="*/ 110 w 110"/>
                <a:gd name="T103" fmla="*/ 74 h 295"/>
                <a:gd name="T104" fmla="*/ 110 w 110"/>
                <a:gd name="T105" fmla="*/ 50 h 295"/>
                <a:gd name="T106" fmla="*/ 108 w 110"/>
                <a:gd name="T107" fmla="*/ 24 h 295"/>
                <a:gd name="T108" fmla="*/ 108 w 110"/>
                <a:gd name="T109" fmla="*/ 24 h 295"/>
                <a:gd name="T110" fmla="*/ 105 w 110"/>
                <a:gd name="T111" fmla="*/ 17 h 295"/>
                <a:gd name="T112" fmla="*/ 102 w 110"/>
                <a:gd name="T113" fmla="*/ 13 h 295"/>
                <a:gd name="T114" fmla="*/ 100 w 110"/>
                <a:gd name="T115" fmla="*/ 9 h 295"/>
                <a:gd name="T116" fmla="*/ 95 w 110"/>
                <a:gd name="T117" fmla="*/ 6 h 295"/>
                <a:gd name="T118" fmla="*/ 90 w 110"/>
                <a:gd name="T119" fmla="*/ 3 h 295"/>
                <a:gd name="T120" fmla="*/ 84 w 110"/>
                <a:gd name="T121" fmla="*/ 2 h 295"/>
                <a:gd name="T122" fmla="*/ 73 w 110"/>
                <a:gd name="T123" fmla="*/ 0 h 295"/>
                <a:gd name="T124" fmla="*/ 73 w 110"/>
                <a:gd name="T125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0" h="295">
                  <a:moveTo>
                    <a:pt x="73" y="0"/>
                  </a:moveTo>
                  <a:lnTo>
                    <a:pt x="73" y="0"/>
                  </a:lnTo>
                  <a:lnTo>
                    <a:pt x="67" y="2"/>
                  </a:lnTo>
                  <a:lnTo>
                    <a:pt x="61" y="4"/>
                  </a:lnTo>
                  <a:lnTo>
                    <a:pt x="57" y="7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4" y="57"/>
                  </a:lnTo>
                  <a:lnTo>
                    <a:pt x="41" y="83"/>
                  </a:lnTo>
                  <a:lnTo>
                    <a:pt x="37" y="108"/>
                  </a:lnTo>
                  <a:lnTo>
                    <a:pt x="33" y="132"/>
                  </a:lnTo>
                  <a:lnTo>
                    <a:pt x="26" y="157"/>
                  </a:lnTo>
                  <a:lnTo>
                    <a:pt x="17" y="181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3" y="245"/>
                  </a:lnTo>
                  <a:lnTo>
                    <a:pt x="7" y="265"/>
                  </a:lnTo>
                  <a:lnTo>
                    <a:pt x="11" y="273"/>
                  </a:lnTo>
                  <a:lnTo>
                    <a:pt x="16" y="280"/>
                  </a:lnTo>
                  <a:lnTo>
                    <a:pt x="21" y="288"/>
                  </a:lnTo>
                  <a:lnTo>
                    <a:pt x="28" y="292"/>
                  </a:lnTo>
                  <a:lnTo>
                    <a:pt x="28" y="292"/>
                  </a:lnTo>
                  <a:lnTo>
                    <a:pt x="36" y="295"/>
                  </a:lnTo>
                  <a:lnTo>
                    <a:pt x="44" y="295"/>
                  </a:lnTo>
                  <a:lnTo>
                    <a:pt x="51" y="295"/>
                  </a:lnTo>
                  <a:lnTo>
                    <a:pt x="58" y="293"/>
                  </a:lnTo>
                  <a:lnTo>
                    <a:pt x="65" y="290"/>
                  </a:lnTo>
                  <a:lnTo>
                    <a:pt x="71" y="286"/>
                  </a:lnTo>
                  <a:lnTo>
                    <a:pt x="77" y="282"/>
                  </a:lnTo>
                  <a:lnTo>
                    <a:pt x="81" y="276"/>
                  </a:lnTo>
                  <a:lnTo>
                    <a:pt x="81" y="276"/>
                  </a:lnTo>
                  <a:lnTo>
                    <a:pt x="83" y="270"/>
                  </a:lnTo>
                  <a:lnTo>
                    <a:pt x="84" y="266"/>
                  </a:lnTo>
                  <a:lnTo>
                    <a:pt x="84" y="262"/>
                  </a:lnTo>
                  <a:lnTo>
                    <a:pt x="84" y="258"/>
                  </a:lnTo>
                  <a:lnTo>
                    <a:pt x="81" y="249"/>
                  </a:lnTo>
                  <a:lnTo>
                    <a:pt x="77" y="242"/>
                  </a:lnTo>
                  <a:lnTo>
                    <a:pt x="71" y="235"/>
                  </a:lnTo>
                  <a:lnTo>
                    <a:pt x="68" y="226"/>
                  </a:lnTo>
                  <a:lnTo>
                    <a:pt x="67" y="222"/>
                  </a:lnTo>
                  <a:lnTo>
                    <a:pt x="67" y="218"/>
                  </a:lnTo>
                  <a:lnTo>
                    <a:pt x="68" y="214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81" y="188"/>
                  </a:lnTo>
                  <a:lnTo>
                    <a:pt x="90" y="167"/>
                  </a:lnTo>
                  <a:lnTo>
                    <a:pt x="98" y="145"/>
                  </a:lnTo>
                  <a:lnTo>
                    <a:pt x="102" y="122"/>
                  </a:lnTo>
                  <a:lnTo>
                    <a:pt x="107" y="98"/>
                  </a:lnTo>
                  <a:lnTo>
                    <a:pt x="110" y="74"/>
                  </a:lnTo>
                  <a:lnTo>
                    <a:pt x="110" y="50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5" y="17"/>
                  </a:lnTo>
                  <a:lnTo>
                    <a:pt x="102" y="13"/>
                  </a:lnTo>
                  <a:lnTo>
                    <a:pt x="100" y="9"/>
                  </a:lnTo>
                  <a:lnTo>
                    <a:pt x="95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3" y="0"/>
                  </a:lnTo>
                  <a:lnTo>
                    <a:pt x="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378"/>
            <p:cNvSpPr>
              <a:spLocks/>
            </p:cNvSpPr>
            <p:nvPr/>
          </p:nvSpPr>
          <p:spPr bwMode="auto">
            <a:xfrm>
              <a:off x="7382" y="2317"/>
              <a:ext cx="375" cy="548"/>
            </a:xfrm>
            <a:custGeom>
              <a:avLst/>
              <a:gdLst>
                <a:gd name="T0" fmla="*/ 306 w 375"/>
                <a:gd name="T1" fmla="*/ 3 h 548"/>
                <a:gd name="T2" fmla="*/ 296 w 375"/>
                <a:gd name="T3" fmla="*/ 17 h 548"/>
                <a:gd name="T4" fmla="*/ 292 w 375"/>
                <a:gd name="T5" fmla="*/ 63 h 548"/>
                <a:gd name="T6" fmla="*/ 303 w 375"/>
                <a:gd name="T7" fmla="*/ 214 h 548"/>
                <a:gd name="T8" fmla="*/ 305 w 375"/>
                <a:gd name="T9" fmla="*/ 323 h 548"/>
                <a:gd name="T10" fmla="*/ 295 w 375"/>
                <a:gd name="T11" fmla="*/ 329 h 548"/>
                <a:gd name="T12" fmla="*/ 284 w 375"/>
                <a:gd name="T13" fmla="*/ 325 h 548"/>
                <a:gd name="T14" fmla="*/ 239 w 375"/>
                <a:gd name="T15" fmla="*/ 278 h 548"/>
                <a:gd name="T16" fmla="*/ 235 w 375"/>
                <a:gd name="T17" fmla="*/ 268 h 548"/>
                <a:gd name="T18" fmla="*/ 215 w 375"/>
                <a:gd name="T19" fmla="*/ 258 h 548"/>
                <a:gd name="T20" fmla="*/ 184 w 375"/>
                <a:gd name="T21" fmla="*/ 255 h 548"/>
                <a:gd name="T22" fmla="*/ 167 w 375"/>
                <a:gd name="T23" fmla="*/ 264 h 548"/>
                <a:gd name="T24" fmla="*/ 130 w 375"/>
                <a:gd name="T25" fmla="*/ 268 h 548"/>
                <a:gd name="T26" fmla="*/ 87 w 375"/>
                <a:gd name="T27" fmla="*/ 279 h 548"/>
                <a:gd name="T28" fmla="*/ 27 w 375"/>
                <a:gd name="T29" fmla="*/ 309 h 548"/>
                <a:gd name="T30" fmla="*/ 8 w 375"/>
                <a:gd name="T31" fmla="*/ 363 h 548"/>
                <a:gd name="T32" fmla="*/ 0 w 375"/>
                <a:gd name="T33" fmla="*/ 409 h 548"/>
                <a:gd name="T34" fmla="*/ 6 w 375"/>
                <a:gd name="T35" fmla="*/ 441 h 548"/>
                <a:gd name="T36" fmla="*/ 25 w 375"/>
                <a:gd name="T37" fmla="*/ 480 h 548"/>
                <a:gd name="T38" fmla="*/ 29 w 375"/>
                <a:gd name="T39" fmla="*/ 495 h 548"/>
                <a:gd name="T40" fmla="*/ 40 w 375"/>
                <a:gd name="T41" fmla="*/ 505 h 548"/>
                <a:gd name="T42" fmla="*/ 60 w 375"/>
                <a:gd name="T43" fmla="*/ 508 h 548"/>
                <a:gd name="T44" fmla="*/ 133 w 375"/>
                <a:gd name="T45" fmla="*/ 541 h 548"/>
                <a:gd name="T46" fmla="*/ 192 w 375"/>
                <a:gd name="T47" fmla="*/ 548 h 548"/>
                <a:gd name="T48" fmla="*/ 222 w 375"/>
                <a:gd name="T49" fmla="*/ 544 h 548"/>
                <a:gd name="T50" fmla="*/ 241 w 375"/>
                <a:gd name="T51" fmla="*/ 532 h 548"/>
                <a:gd name="T52" fmla="*/ 261 w 375"/>
                <a:gd name="T53" fmla="*/ 508 h 548"/>
                <a:gd name="T54" fmla="*/ 278 w 375"/>
                <a:gd name="T55" fmla="*/ 508 h 548"/>
                <a:gd name="T56" fmla="*/ 301 w 375"/>
                <a:gd name="T57" fmla="*/ 522 h 548"/>
                <a:gd name="T58" fmla="*/ 325 w 375"/>
                <a:gd name="T59" fmla="*/ 544 h 548"/>
                <a:gd name="T60" fmla="*/ 336 w 375"/>
                <a:gd name="T61" fmla="*/ 547 h 548"/>
                <a:gd name="T62" fmla="*/ 363 w 375"/>
                <a:gd name="T63" fmla="*/ 538 h 548"/>
                <a:gd name="T64" fmla="*/ 375 w 375"/>
                <a:gd name="T65" fmla="*/ 525 h 548"/>
                <a:gd name="T66" fmla="*/ 370 w 375"/>
                <a:gd name="T67" fmla="*/ 504 h 548"/>
                <a:gd name="T68" fmla="*/ 356 w 375"/>
                <a:gd name="T69" fmla="*/ 464 h 548"/>
                <a:gd name="T70" fmla="*/ 355 w 375"/>
                <a:gd name="T71" fmla="*/ 443 h 548"/>
                <a:gd name="T72" fmla="*/ 365 w 375"/>
                <a:gd name="T73" fmla="*/ 325 h 548"/>
                <a:gd name="T74" fmla="*/ 363 w 375"/>
                <a:gd name="T75" fmla="*/ 204 h 548"/>
                <a:gd name="T76" fmla="*/ 356 w 375"/>
                <a:gd name="T77" fmla="*/ 126 h 548"/>
                <a:gd name="T78" fmla="*/ 345 w 375"/>
                <a:gd name="T79" fmla="*/ 42 h 548"/>
                <a:gd name="T80" fmla="*/ 336 w 375"/>
                <a:gd name="T81" fmla="*/ 10 h 548"/>
                <a:gd name="T82" fmla="*/ 318 w 375"/>
                <a:gd name="T83" fmla="*/ 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548">
                  <a:moveTo>
                    <a:pt x="311" y="0"/>
                  </a:moveTo>
                  <a:lnTo>
                    <a:pt x="311" y="0"/>
                  </a:lnTo>
                  <a:lnTo>
                    <a:pt x="306" y="3"/>
                  </a:lnTo>
                  <a:lnTo>
                    <a:pt x="303" y="5"/>
                  </a:lnTo>
                  <a:lnTo>
                    <a:pt x="299" y="10"/>
                  </a:lnTo>
                  <a:lnTo>
                    <a:pt x="296" y="17"/>
                  </a:lnTo>
                  <a:lnTo>
                    <a:pt x="292" y="23"/>
                  </a:lnTo>
                  <a:lnTo>
                    <a:pt x="292" y="23"/>
                  </a:lnTo>
                  <a:lnTo>
                    <a:pt x="292" y="63"/>
                  </a:lnTo>
                  <a:lnTo>
                    <a:pt x="293" y="101"/>
                  </a:lnTo>
                  <a:lnTo>
                    <a:pt x="301" y="177"/>
                  </a:lnTo>
                  <a:lnTo>
                    <a:pt x="303" y="214"/>
                  </a:lnTo>
                  <a:lnTo>
                    <a:pt x="306" y="251"/>
                  </a:lnTo>
                  <a:lnTo>
                    <a:pt x="306" y="288"/>
                  </a:lnTo>
                  <a:lnTo>
                    <a:pt x="305" y="323"/>
                  </a:lnTo>
                  <a:lnTo>
                    <a:pt x="305" y="323"/>
                  </a:lnTo>
                  <a:lnTo>
                    <a:pt x="299" y="329"/>
                  </a:lnTo>
                  <a:lnTo>
                    <a:pt x="295" y="329"/>
                  </a:lnTo>
                  <a:lnTo>
                    <a:pt x="292" y="330"/>
                  </a:lnTo>
                  <a:lnTo>
                    <a:pt x="292" y="330"/>
                  </a:lnTo>
                  <a:lnTo>
                    <a:pt x="284" y="325"/>
                  </a:lnTo>
                  <a:lnTo>
                    <a:pt x="276" y="320"/>
                  </a:lnTo>
                  <a:lnTo>
                    <a:pt x="264" y="308"/>
                  </a:lnTo>
                  <a:lnTo>
                    <a:pt x="239" y="278"/>
                  </a:lnTo>
                  <a:lnTo>
                    <a:pt x="239" y="273"/>
                  </a:lnTo>
                  <a:lnTo>
                    <a:pt x="239" y="273"/>
                  </a:lnTo>
                  <a:lnTo>
                    <a:pt x="235" y="268"/>
                  </a:lnTo>
                  <a:lnTo>
                    <a:pt x="228" y="264"/>
                  </a:lnTo>
                  <a:lnTo>
                    <a:pt x="222" y="261"/>
                  </a:lnTo>
                  <a:lnTo>
                    <a:pt x="215" y="258"/>
                  </a:lnTo>
                  <a:lnTo>
                    <a:pt x="208" y="255"/>
                  </a:lnTo>
                  <a:lnTo>
                    <a:pt x="200" y="255"/>
                  </a:lnTo>
                  <a:lnTo>
                    <a:pt x="184" y="255"/>
                  </a:lnTo>
                  <a:lnTo>
                    <a:pt x="184" y="255"/>
                  </a:lnTo>
                  <a:lnTo>
                    <a:pt x="175" y="261"/>
                  </a:lnTo>
                  <a:lnTo>
                    <a:pt x="167" y="264"/>
                  </a:lnTo>
                  <a:lnTo>
                    <a:pt x="158" y="266"/>
                  </a:lnTo>
                  <a:lnTo>
                    <a:pt x="150" y="266"/>
                  </a:lnTo>
                  <a:lnTo>
                    <a:pt x="13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87" y="279"/>
                  </a:lnTo>
                  <a:lnTo>
                    <a:pt x="63" y="291"/>
                  </a:lnTo>
                  <a:lnTo>
                    <a:pt x="39" y="302"/>
                  </a:lnTo>
                  <a:lnTo>
                    <a:pt x="27" y="309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8" y="363"/>
                  </a:lnTo>
                  <a:lnTo>
                    <a:pt x="3" y="386"/>
                  </a:lnTo>
                  <a:lnTo>
                    <a:pt x="0" y="409"/>
                  </a:lnTo>
                  <a:lnTo>
                    <a:pt x="0" y="409"/>
                  </a:lnTo>
                  <a:lnTo>
                    <a:pt x="0" y="421"/>
                  </a:lnTo>
                  <a:lnTo>
                    <a:pt x="2" y="431"/>
                  </a:lnTo>
                  <a:lnTo>
                    <a:pt x="6" y="441"/>
                  </a:lnTo>
                  <a:lnTo>
                    <a:pt x="10" y="451"/>
                  </a:lnTo>
                  <a:lnTo>
                    <a:pt x="20" y="470"/>
                  </a:lnTo>
                  <a:lnTo>
                    <a:pt x="25" y="480"/>
                  </a:lnTo>
                  <a:lnTo>
                    <a:pt x="27" y="490"/>
                  </a:lnTo>
                  <a:lnTo>
                    <a:pt x="27" y="490"/>
                  </a:lnTo>
                  <a:lnTo>
                    <a:pt x="29" y="495"/>
                  </a:lnTo>
                  <a:lnTo>
                    <a:pt x="32" y="500"/>
                  </a:lnTo>
                  <a:lnTo>
                    <a:pt x="36" y="503"/>
                  </a:lnTo>
                  <a:lnTo>
                    <a:pt x="40" y="505"/>
                  </a:lnTo>
                  <a:lnTo>
                    <a:pt x="50" y="508"/>
                  </a:lnTo>
                  <a:lnTo>
                    <a:pt x="60" y="508"/>
                  </a:lnTo>
                  <a:lnTo>
                    <a:pt x="60" y="508"/>
                  </a:lnTo>
                  <a:lnTo>
                    <a:pt x="96" y="527"/>
                  </a:lnTo>
                  <a:lnTo>
                    <a:pt x="114" y="534"/>
                  </a:lnTo>
                  <a:lnTo>
                    <a:pt x="133" y="541"/>
                  </a:lnTo>
                  <a:lnTo>
                    <a:pt x="151" y="545"/>
                  </a:lnTo>
                  <a:lnTo>
                    <a:pt x="171" y="548"/>
                  </a:lnTo>
                  <a:lnTo>
                    <a:pt x="192" y="548"/>
                  </a:lnTo>
                  <a:lnTo>
                    <a:pt x="215" y="547"/>
                  </a:lnTo>
                  <a:lnTo>
                    <a:pt x="215" y="547"/>
                  </a:lnTo>
                  <a:lnTo>
                    <a:pt x="222" y="544"/>
                  </a:lnTo>
                  <a:lnTo>
                    <a:pt x="229" y="541"/>
                  </a:lnTo>
                  <a:lnTo>
                    <a:pt x="235" y="537"/>
                  </a:lnTo>
                  <a:lnTo>
                    <a:pt x="241" y="532"/>
                  </a:lnTo>
                  <a:lnTo>
                    <a:pt x="249" y="521"/>
                  </a:lnTo>
                  <a:lnTo>
                    <a:pt x="261" y="508"/>
                  </a:lnTo>
                  <a:lnTo>
                    <a:pt x="261" y="508"/>
                  </a:lnTo>
                  <a:lnTo>
                    <a:pt x="266" y="507"/>
                  </a:lnTo>
                  <a:lnTo>
                    <a:pt x="274" y="507"/>
                  </a:lnTo>
                  <a:lnTo>
                    <a:pt x="278" y="508"/>
                  </a:lnTo>
                  <a:lnTo>
                    <a:pt x="284" y="510"/>
                  </a:lnTo>
                  <a:lnTo>
                    <a:pt x="292" y="515"/>
                  </a:lnTo>
                  <a:lnTo>
                    <a:pt x="301" y="522"/>
                  </a:lnTo>
                  <a:lnTo>
                    <a:pt x="308" y="531"/>
                  </a:lnTo>
                  <a:lnTo>
                    <a:pt x="316" y="538"/>
                  </a:lnTo>
                  <a:lnTo>
                    <a:pt x="325" y="544"/>
                  </a:lnTo>
                  <a:lnTo>
                    <a:pt x="330" y="545"/>
                  </a:lnTo>
                  <a:lnTo>
                    <a:pt x="336" y="547"/>
                  </a:lnTo>
                  <a:lnTo>
                    <a:pt x="336" y="547"/>
                  </a:lnTo>
                  <a:lnTo>
                    <a:pt x="348" y="545"/>
                  </a:lnTo>
                  <a:lnTo>
                    <a:pt x="359" y="541"/>
                  </a:lnTo>
                  <a:lnTo>
                    <a:pt x="363" y="538"/>
                  </a:lnTo>
                  <a:lnTo>
                    <a:pt x="369" y="535"/>
                  </a:lnTo>
                  <a:lnTo>
                    <a:pt x="372" y="531"/>
                  </a:lnTo>
                  <a:lnTo>
                    <a:pt x="375" y="525"/>
                  </a:lnTo>
                  <a:lnTo>
                    <a:pt x="375" y="525"/>
                  </a:lnTo>
                  <a:lnTo>
                    <a:pt x="373" y="515"/>
                  </a:lnTo>
                  <a:lnTo>
                    <a:pt x="370" y="504"/>
                  </a:lnTo>
                  <a:lnTo>
                    <a:pt x="363" y="484"/>
                  </a:lnTo>
                  <a:lnTo>
                    <a:pt x="359" y="474"/>
                  </a:lnTo>
                  <a:lnTo>
                    <a:pt x="356" y="464"/>
                  </a:lnTo>
                  <a:lnTo>
                    <a:pt x="355" y="454"/>
                  </a:lnTo>
                  <a:lnTo>
                    <a:pt x="355" y="443"/>
                  </a:lnTo>
                  <a:lnTo>
                    <a:pt x="355" y="443"/>
                  </a:lnTo>
                  <a:lnTo>
                    <a:pt x="359" y="404"/>
                  </a:lnTo>
                  <a:lnTo>
                    <a:pt x="363" y="366"/>
                  </a:lnTo>
                  <a:lnTo>
                    <a:pt x="365" y="325"/>
                  </a:lnTo>
                  <a:lnTo>
                    <a:pt x="366" y="285"/>
                  </a:lnTo>
                  <a:lnTo>
                    <a:pt x="365" y="244"/>
                  </a:lnTo>
                  <a:lnTo>
                    <a:pt x="363" y="204"/>
                  </a:lnTo>
                  <a:lnTo>
                    <a:pt x="360" y="164"/>
                  </a:lnTo>
                  <a:lnTo>
                    <a:pt x="356" y="126"/>
                  </a:lnTo>
                  <a:lnTo>
                    <a:pt x="356" y="126"/>
                  </a:lnTo>
                  <a:lnTo>
                    <a:pt x="352" y="97"/>
                  </a:lnTo>
                  <a:lnTo>
                    <a:pt x="348" y="70"/>
                  </a:lnTo>
                  <a:lnTo>
                    <a:pt x="345" y="42"/>
                  </a:lnTo>
                  <a:lnTo>
                    <a:pt x="339" y="13"/>
                  </a:lnTo>
                  <a:lnTo>
                    <a:pt x="339" y="13"/>
                  </a:lnTo>
                  <a:lnTo>
                    <a:pt x="336" y="10"/>
                  </a:lnTo>
                  <a:lnTo>
                    <a:pt x="333" y="7"/>
                  </a:lnTo>
                  <a:lnTo>
                    <a:pt x="326" y="5"/>
                  </a:lnTo>
                  <a:lnTo>
                    <a:pt x="318" y="3"/>
                  </a:lnTo>
                  <a:lnTo>
                    <a:pt x="311" y="0"/>
                  </a:lnTo>
                  <a:lnTo>
                    <a:pt x="3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379"/>
            <p:cNvSpPr>
              <a:spLocks/>
            </p:cNvSpPr>
            <p:nvPr/>
          </p:nvSpPr>
          <p:spPr bwMode="auto">
            <a:xfrm>
              <a:off x="7461" y="2618"/>
              <a:ext cx="166" cy="203"/>
            </a:xfrm>
            <a:custGeom>
              <a:avLst/>
              <a:gdLst>
                <a:gd name="T0" fmla="*/ 143 w 166"/>
                <a:gd name="T1" fmla="*/ 25 h 203"/>
                <a:gd name="T2" fmla="*/ 143 w 166"/>
                <a:gd name="T3" fmla="*/ 25 h 203"/>
                <a:gd name="T4" fmla="*/ 146 w 166"/>
                <a:gd name="T5" fmla="*/ 41 h 203"/>
                <a:gd name="T6" fmla="*/ 150 w 166"/>
                <a:gd name="T7" fmla="*/ 55 h 203"/>
                <a:gd name="T8" fmla="*/ 153 w 166"/>
                <a:gd name="T9" fmla="*/ 62 h 203"/>
                <a:gd name="T10" fmla="*/ 156 w 166"/>
                <a:gd name="T11" fmla="*/ 69 h 203"/>
                <a:gd name="T12" fmla="*/ 160 w 166"/>
                <a:gd name="T13" fmla="*/ 75 h 203"/>
                <a:gd name="T14" fmla="*/ 166 w 166"/>
                <a:gd name="T15" fmla="*/ 81 h 203"/>
                <a:gd name="T16" fmla="*/ 166 w 166"/>
                <a:gd name="T17" fmla="*/ 81 h 203"/>
                <a:gd name="T18" fmla="*/ 165 w 166"/>
                <a:gd name="T19" fmla="*/ 102 h 203"/>
                <a:gd name="T20" fmla="*/ 162 w 166"/>
                <a:gd name="T21" fmla="*/ 125 h 203"/>
                <a:gd name="T22" fmla="*/ 153 w 166"/>
                <a:gd name="T23" fmla="*/ 169 h 203"/>
                <a:gd name="T24" fmla="*/ 153 w 166"/>
                <a:gd name="T25" fmla="*/ 169 h 203"/>
                <a:gd name="T26" fmla="*/ 146 w 166"/>
                <a:gd name="T27" fmla="*/ 180 h 203"/>
                <a:gd name="T28" fmla="*/ 136 w 166"/>
                <a:gd name="T29" fmla="*/ 189 h 203"/>
                <a:gd name="T30" fmla="*/ 126 w 166"/>
                <a:gd name="T31" fmla="*/ 197 h 203"/>
                <a:gd name="T32" fmla="*/ 113 w 166"/>
                <a:gd name="T33" fmla="*/ 202 h 203"/>
                <a:gd name="T34" fmla="*/ 113 w 166"/>
                <a:gd name="T35" fmla="*/ 202 h 203"/>
                <a:gd name="T36" fmla="*/ 99 w 166"/>
                <a:gd name="T37" fmla="*/ 203 h 203"/>
                <a:gd name="T38" fmla="*/ 85 w 166"/>
                <a:gd name="T39" fmla="*/ 202 h 203"/>
                <a:gd name="T40" fmla="*/ 71 w 166"/>
                <a:gd name="T41" fmla="*/ 199 h 203"/>
                <a:gd name="T42" fmla="*/ 58 w 166"/>
                <a:gd name="T43" fmla="*/ 193 h 203"/>
                <a:gd name="T44" fmla="*/ 47 w 166"/>
                <a:gd name="T45" fmla="*/ 187 h 203"/>
                <a:gd name="T46" fmla="*/ 35 w 166"/>
                <a:gd name="T47" fmla="*/ 179 h 203"/>
                <a:gd name="T48" fmla="*/ 25 w 166"/>
                <a:gd name="T49" fmla="*/ 169 h 203"/>
                <a:gd name="T50" fmla="*/ 18 w 166"/>
                <a:gd name="T51" fmla="*/ 157 h 203"/>
                <a:gd name="T52" fmla="*/ 18 w 166"/>
                <a:gd name="T53" fmla="*/ 157 h 203"/>
                <a:gd name="T54" fmla="*/ 11 w 166"/>
                <a:gd name="T55" fmla="*/ 146 h 203"/>
                <a:gd name="T56" fmla="*/ 5 w 166"/>
                <a:gd name="T57" fmla="*/ 132 h 203"/>
                <a:gd name="T58" fmla="*/ 1 w 166"/>
                <a:gd name="T59" fmla="*/ 116 h 203"/>
                <a:gd name="T60" fmla="*/ 0 w 166"/>
                <a:gd name="T61" fmla="*/ 102 h 203"/>
                <a:gd name="T62" fmla="*/ 0 w 166"/>
                <a:gd name="T63" fmla="*/ 86 h 203"/>
                <a:gd name="T64" fmla="*/ 1 w 166"/>
                <a:gd name="T65" fmla="*/ 71 h 203"/>
                <a:gd name="T66" fmla="*/ 5 w 166"/>
                <a:gd name="T67" fmla="*/ 56 h 203"/>
                <a:gd name="T68" fmla="*/ 12 w 166"/>
                <a:gd name="T69" fmla="*/ 44 h 203"/>
                <a:gd name="T70" fmla="*/ 12 w 166"/>
                <a:gd name="T71" fmla="*/ 44 h 203"/>
                <a:gd name="T72" fmla="*/ 20 w 166"/>
                <a:gd name="T73" fmla="*/ 32 h 203"/>
                <a:gd name="T74" fmla="*/ 30 w 166"/>
                <a:gd name="T75" fmla="*/ 24 h 203"/>
                <a:gd name="T76" fmla="*/ 41 w 166"/>
                <a:gd name="T77" fmla="*/ 17 h 203"/>
                <a:gd name="T78" fmla="*/ 54 w 166"/>
                <a:gd name="T79" fmla="*/ 9 h 203"/>
                <a:gd name="T80" fmla="*/ 68 w 166"/>
                <a:gd name="T81" fmla="*/ 5 h 203"/>
                <a:gd name="T82" fmla="*/ 82 w 166"/>
                <a:gd name="T83" fmla="*/ 2 h 203"/>
                <a:gd name="T84" fmla="*/ 96 w 166"/>
                <a:gd name="T85" fmla="*/ 0 h 203"/>
                <a:gd name="T86" fmla="*/ 109 w 166"/>
                <a:gd name="T87" fmla="*/ 0 h 203"/>
                <a:gd name="T88" fmla="*/ 109 w 166"/>
                <a:gd name="T89" fmla="*/ 0 h 203"/>
                <a:gd name="T90" fmla="*/ 121 w 166"/>
                <a:gd name="T91" fmla="*/ 4 h 203"/>
                <a:gd name="T92" fmla="*/ 129 w 166"/>
                <a:gd name="T93" fmla="*/ 9 h 203"/>
                <a:gd name="T94" fmla="*/ 138 w 166"/>
                <a:gd name="T95" fmla="*/ 17 h 203"/>
                <a:gd name="T96" fmla="*/ 143 w 166"/>
                <a:gd name="T97" fmla="*/ 25 h 203"/>
                <a:gd name="T98" fmla="*/ 143 w 166"/>
                <a:gd name="T99" fmla="*/ 2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6" h="203">
                  <a:moveTo>
                    <a:pt x="143" y="25"/>
                  </a:moveTo>
                  <a:lnTo>
                    <a:pt x="143" y="25"/>
                  </a:lnTo>
                  <a:lnTo>
                    <a:pt x="146" y="41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6" y="69"/>
                  </a:lnTo>
                  <a:lnTo>
                    <a:pt x="160" y="75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5" y="102"/>
                  </a:lnTo>
                  <a:lnTo>
                    <a:pt x="162" y="125"/>
                  </a:lnTo>
                  <a:lnTo>
                    <a:pt x="153" y="169"/>
                  </a:lnTo>
                  <a:lnTo>
                    <a:pt x="153" y="169"/>
                  </a:lnTo>
                  <a:lnTo>
                    <a:pt x="146" y="180"/>
                  </a:lnTo>
                  <a:lnTo>
                    <a:pt x="136" y="189"/>
                  </a:lnTo>
                  <a:lnTo>
                    <a:pt x="126" y="197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99" y="203"/>
                  </a:lnTo>
                  <a:lnTo>
                    <a:pt x="85" y="202"/>
                  </a:lnTo>
                  <a:lnTo>
                    <a:pt x="71" y="199"/>
                  </a:lnTo>
                  <a:lnTo>
                    <a:pt x="58" y="193"/>
                  </a:lnTo>
                  <a:lnTo>
                    <a:pt x="47" y="187"/>
                  </a:lnTo>
                  <a:lnTo>
                    <a:pt x="35" y="179"/>
                  </a:lnTo>
                  <a:lnTo>
                    <a:pt x="25" y="169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1" y="146"/>
                  </a:lnTo>
                  <a:lnTo>
                    <a:pt x="5" y="132"/>
                  </a:lnTo>
                  <a:lnTo>
                    <a:pt x="1" y="116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1" y="71"/>
                  </a:lnTo>
                  <a:lnTo>
                    <a:pt x="5" y="5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20" y="32"/>
                  </a:lnTo>
                  <a:lnTo>
                    <a:pt x="30" y="24"/>
                  </a:lnTo>
                  <a:lnTo>
                    <a:pt x="41" y="17"/>
                  </a:lnTo>
                  <a:lnTo>
                    <a:pt x="54" y="9"/>
                  </a:lnTo>
                  <a:lnTo>
                    <a:pt x="68" y="5"/>
                  </a:lnTo>
                  <a:lnTo>
                    <a:pt x="82" y="2"/>
                  </a:lnTo>
                  <a:lnTo>
                    <a:pt x="9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21" y="4"/>
                  </a:lnTo>
                  <a:lnTo>
                    <a:pt x="129" y="9"/>
                  </a:lnTo>
                  <a:lnTo>
                    <a:pt x="138" y="17"/>
                  </a:lnTo>
                  <a:lnTo>
                    <a:pt x="143" y="25"/>
                  </a:lnTo>
                  <a:lnTo>
                    <a:pt x="143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380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381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382"/>
            <p:cNvSpPr>
              <a:spLocks noEditPoints="1"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  <a:gd name="T18" fmla="*/ 200 w 535"/>
                <a:gd name="T19" fmla="*/ 322 h 541"/>
                <a:gd name="T20" fmla="*/ 299 w 535"/>
                <a:gd name="T21" fmla="*/ 322 h 541"/>
                <a:gd name="T22" fmla="*/ 252 w 535"/>
                <a:gd name="T23" fmla="*/ 137 h 541"/>
                <a:gd name="T24" fmla="*/ 200 w 535"/>
                <a:gd name="T25" fmla="*/ 32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  <a:close/>
                  <a:moveTo>
                    <a:pt x="200" y="322"/>
                  </a:moveTo>
                  <a:lnTo>
                    <a:pt x="299" y="322"/>
                  </a:lnTo>
                  <a:lnTo>
                    <a:pt x="252" y="137"/>
                  </a:lnTo>
                  <a:lnTo>
                    <a:pt x="200" y="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383"/>
            <p:cNvSpPr>
              <a:spLocks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384"/>
            <p:cNvSpPr>
              <a:spLocks/>
            </p:cNvSpPr>
            <p:nvPr/>
          </p:nvSpPr>
          <p:spPr bwMode="auto">
            <a:xfrm>
              <a:off x="6986" y="1551"/>
              <a:ext cx="99" cy="185"/>
            </a:xfrm>
            <a:custGeom>
              <a:avLst/>
              <a:gdLst>
                <a:gd name="T0" fmla="*/ 0 w 99"/>
                <a:gd name="T1" fmla="*/ 185 h 185"/>
                <a:gd name="T2" fmla="*/ 99 w 99"/>
                <a:gd name="T3" fmla="*/ 185 h 185"/>
                <a:gd name="T4" fmla="*/ 52 w 99"/>
                <a:gd name="T5" fmla="*/ 0 h 185"/>
                <a:gd name="T6" fmla="*/ 0 w 99"/>
                <a:gd name="T7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85">
                  <a:moveTo>
                    <a:pt x="0" y="185"/>
                  </a:moveTo>
                  <a:lnTo>
                    <a:pt x="99" y="185"/>
                  </a:lnTo>
                  <a:lnTo>
                    <a:pt x="52" y="0"/>
                  </a:lnTo>
                  <a:lnTo>
                    <a:pt x="0" y="18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385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386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387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  <a:gd name="T52" fmla="*/ 166 w 166"/>
                <a:gd name="T53" fmla="*/ 5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  <a:lnTo>
                    <a:pt x="166" y="54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388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78925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1199792"/>
            <a:ext cx="3932237" cy="108021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171" y="1203978"/>
            <a:ext cx="6172200" cy="497350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2645292"/>
            <a:ext cx="3932237" cy="35321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126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2192000" cy="11811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838200" y="-105569"/>
            <a:ext cx="10515600" cy="12358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692"/>
            <a:ext cx="12192000" cy="1205784"/>
          </a:xfrm>
          <a:prstGeom prst="rect">
            <a:avLst/>
          </a:prstGeom>
        </p:spPr>
      </p:pic>
      <p:grpSp>
        <p:nvGrpSpPr>
          <p:cNvPr id="11" name="Group 363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11500623" y="6215063"/>
            <a:ext cx="585788" cy="538162"/>
            <a:chOff x="5907" y="1132"/>
            <a:chExt cx="2151" cy="1976"/>
          </a:xfrm>
        </p:grpSpPr>
        <p:sp>
          <p:nvSpPr>
            <p:cNvPr id="12" name="Freeform 364"/>
            <p:cNvSpPr>
              <a:spLocks/>
            </p:cNvSpPr>
            <p:nvPr/>
          </p:nvSpPr>
          <p:spPr bwMode="auto">
            <a:xfrm>
              <a:off x="5966" y="2117"/>
              <a:ext cx="2028" cy="0"/>
            </a:xfrm>
            <a:custGeom>
              <a:avLst/>
              <a:gdLst>
                <a:gd name="T0" fmla="*/ 0 w 2028"/>
                <a:gd name="T1" fmla="*/ 2028 w 2028"/>
                <a:gd name="T2" fmla="*/ 0 w 202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28">
                  <a:moveTo>
                    <a:pt x="0" y="0"/>
                  </a:moveTo>
                  <a:lnTo>
                    <a:pt x="202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Line 365"/>
            <p:cNvSpPr>
              <a:spLocks noChangeShapeType="1"/>
            </p:cNvSpPr>
            <p:nvPr/>
          </p:nvSpPr>
          <p:spPr bwMode="auto">
            <a:xfrm>
              <a:off x="5966" y="2117"/>
              <a:ext cx="202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Rectangle 366"/>
            <p:cNvSpPr>
              <a:spLocks noChangeArrowheads="1"/>
            </p:cNvSpPr>
            <p:nvPr/>
          </p:nvSpPr>
          <p:spPr bwMode="auto">
            <a:xfrm>
              <a:off x="5968" y="1194"/>
              <a:ext cx="2030" cy="1853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367"/>
            <p:cNvSpPr>
              <a:spLocks noEditPoints="1"/>
            </p:cNvSpPr>
            <p:nvPr/>
          </p:nvSpPr>
          <p:spPr bwMode="auto">
            <a:xfrm>
              <a:off x="5907" y="1132"/>
              <a:ext cx="2151" cy="1976"/>
            </a:xfrm>
            <a:custGeom>
              <a:avLst/>
              <a:gdLst>
                <a:gd name="T0" fmla="*/ 0 w 2151"/>
                <a:gd name="T1" fmla="*/ 1976 h 1976"/>
                <a:gd name="T2" fmla="*/ 2151 w 2151"/>
                <a:gd name="T3" fmla="*/ 1976 h 1976"/>
                <a:gd name="T4" fmla="*/ 2151 w 2151"/>
                <a:gd name="T5" fmla="*/ 0 h 1976"/>
                <a:gd name="T6" fmla="*/ 0 w 2151"/>
                <a:gd name="T7" fmla="*/ 0 h 1976"/>
                <a:gd name="T8" fmla="*/ 0 w 2151"/>
                <a:gd name="T9" fmla="*/ 1976 h 1976"/>
                <a:gd name="T10" fmla="*/ 123 w 2151"/>
                <a:gd name="T11" fmla="*/ 1854 h 1976"/>
                <a:gd name="T12" fmla="*/ 123 w 2151"/>
                <a:gd name="T13" fmla="*/ 1854 h 1976"/>
                <a:gd name="T14" fmla="*/ 123 w 2151"/>
                <a:gd name="T15" fmla="*/ 1046 h 1976"/>
                <a:gd name="T16" fmla="*/ 2030 w 2151"/>
                <a:gd name="T17" fmla="*/ 1046 h 1976"/>
                <a:gd name="T18" fmla="*/ 2030 w 2151"/>
                <a:gd name="T19" fmla="*/ 1046 h 1976"/>
                <a:gd name="T20" fmla="*/ 2030 w 2151"/>
                <a:gd name="T21" fmla="*/ 1854 h 1976"/>
                <a:gd name="T22" fmla="*/ 2030 w 2151"/>
                <a:gd name="T23" fmla="*/ 1854 h 1976"/>
                <a:gd name="T24" fmla="*/ 123 w 2151"/>
                <a:gd name="T25" fmla="*/ 1854 h 1976"/>
                <a:gd name="T26" fmla="*/ 123 w 2151"/>
                <a:gd name="T27" fmla="*/ 1854 h 1976"/>
                <a:gd name="T28" fmla="*/ 2030 w 2151"/>
                <a:gd name="T29" fmla="*/ 123 h 1976"/>
                <a:gd name="T30" fmla="*/ 2030 w 2151"/>
                <a:gd name="T31" fmla="*/ 123 h 1976"/>
                <a:gd name="T32" fmla="*/ 2030 w 2151"/>
                <a:gd name="T33" fmla="*/ 924 h 1976"/>
                <a:gd name="T34" fmla="*/ 123 w 2151"/>
                <a:gd name="T35" fmla="*/ 924 h 1976"/>
                <a:gd name="T36" fmla="*/ 123 w 2151"/>
                <a:gd name="T37" fmla="*/ 924 h 1976"/>
                <a:gd name="T38" fmla="*/ 123 w 2151"/>
                <a:gd name="T39" fmla="*/ 123 h 1976"/>
                <a:gd name="T40" fmla="*/ 123 w 2151"/>
                <a:gd name="T41" fmla="*/ 123 h 1976"/>
                <a:gd name="T42" fmla="*/ 2030 w 2151"/>
                <a:gd name="T43" fmla="*/ 123 h 1976"/>
                <a:gd name="T44" fmla="*/ 2030 w 2151"/>
                <a:gd name="T45" fmla="*/ 123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51" h="1976">
                  <a:moveTo>
                    <a:pt x="0" y="1976"/>
                  </a:moveTo>
                  <a:lnTo>
                    <a:pt x="2151" y="1976"/>
                  </a:lnTo>
                  <a:lnTo>
                    <a:pt x="2151" y="0"/>
                  </a:lnTo>
                  <a:lnTo>
                    <a:pt x="0" y="0"/>
                  </a:lnTo>
                  <a:lnTo>
                    <a:pt x="0" y="1976"/>
                  </a:lnTo>
                  <a:close/>
                  <a:moveTo>
                    <a:pt x="123" y="1854"/>
                  </a:moveTo>
                  <a:lnTo>
                    <a:pt x="123" y="1854"/>
                  </a:lnTo>
                  <a:lnTo>
                    <a:pt x="123" y="1046"/>
                  </a:lnTo>
                  <a:lnTo>
                    <a:pt x="2030" y="1046"/>
                  </a:lnTo>
                  <a:lnTo>
                    <a:pt x="2030" y="1046"/>
                  </a:lnTo>
                  <a:lnTo>
                    <a:pt x="2030" y="1854"/>
                  </a:lnTo>
                  <a:lnTo>
                    <a:pt x="2030" y="1854"/>
                  </a:lnTo>
                  <a:lnTo>
                    <a:pt x="123" y="1854"/>
                  </a:lnTo>
                  <a:lnTo>
                    <a:pt x="123" y="1854"/>
                  </a:lnTo>
                  <a:close/>
                  <a:moveTo>
                    <a:pt x="2030" y="123"/>
                  </a:moveTo>
                  <a:lnTo>
                    <a:pt x="2030" y="123"/>
                  </a:lnTo>
                  <a:lnTo>
                    <a:pt x="2030" y="924"/>
                  </a:lnTo>
                  <a:lnTo>
                    <a:pt x="123" y="924"/>
                  </a:lnTo>
                  <a:lnTo>
                    <a:pt x="123" y="924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2030" y="123"/>
                  </a:lnTo>
                  <a:lnTo>
                    <a:pt x="2030" y="123"/>
                  </a:lnTo>
                  <a:close/>
                </a:path>
              </a:pathLst>
            </a:custGeom>
            <a:solidFill>
              <a:srgbClr val="EF3E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368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64 h 587"/>
                <a:gd name="T34" fmla="*/ 953 w 1552"/>
                <a:gd name="T35" fmla="*/ 227 h 587"/>
                <a:gd name="T36" fmla="*/ 960 w 1552"/>
                <a:gd name="T37" fmla="*/ 419 h 587"/>
                <a:gd name="T38" fmla="*/ 968 w 1552"/>
                <a:gd name="T39" fmla="*/ 519 h 587"/>
                <a:gd name="T40" fmla="*/ 1034 w 1552"/>
                <a:gd name="T41" fmla="*/ 540 h 587"/>
                <a:gd name="T42" fmla="*/ 1039 w 1552"/>
                <a:gd name="T43" fmla="*/ 458 h 587"/>
                <a:gd name="T44" fmla="*/ 1039 w 1552"/>
                <a:gd name="T45" fmla="*/ 261 h 587"/>
                <a:gd name="T46" fmla="*/ 994 w 1552"/>
                <a:gd name="T47" fmla="*/ 69 h 587"/>
                <a:gd name="T48" fmla="*/ 936 w 1552"/>
                <a:gd name="T49" fmla="*/ 39 h 587"/>
                <a:gd name="T50" fmla="*/ 830 w 1552"/>
                <a:gd name="T51" fmla="*/ 196 h 587"/>
                <a:gd name="T52" fmla="*/ 786 w 1552"/>
                <a:gd name="T53" fmla="*/ 190 h 587"/>
                <a:gd name="T54" fmla="*/ 145 w 1552"/>
                <a:gd name="T55" fmla="*/ 250 h 587"/>
                <a:gd name="T56" fmla="*/ 15 w 1552"/>
                <a:gd name="T57" fmla="*/ 327 h 587"/>
                <a:gd name="T58" fmla="*/ 2 w 1552"/>
                <a:gd name="T59" fmla="*/ 471 h 587"/>
                <a:gd name="T60" fmla="*/ 32 w 1552"/>
                <a:gd name="T61" fmla="*/ 570 h 587"/>
                <a:gd name="T62" fmla="*/ 197 w 1552"/>
                <a:gd name="T63" fmla="*/ 579 h 587"/>
                <a:gd name="T64" fmla="*/ 244 w 1552"/>
                <a:gd name="T65" fmla="*/ 530 h 587"/>
                <a:gd name="T66" fmla="*/ 128 w 1552"/>
                <a:gd name="T67" fmla="*/ 542 h 587"/>
                <a:gd name="T68" fmla="*/ 76 w 1552"/>
                <a:gd name="T69" fmla="*/ 485 h 587"/>
                <a:gd name="T70" fmla="*/ 83 w 1552"/>
                <a:gd name="T71" fmla="*/ 333 h 587"/>
                <a:gd name="T72" fmla="*/ 156 w 1552"/>
                <a:gd name="T73" fmla="*/ 291 h 587"/>
                <a:gd name="T74" fmla="*/ 211 w 1552"/>
                <a:gd name="T75" fmla="*/ 276 h 587"/>
                <a:gd name="T76" fmla="*/ 773 w 1552"/>
                <a:gd name="T77" fmla="*/ 304 h 587"/>
                <a:gd name="T78" fmla="*/ 725 w 1552"/>
                <a:gd name="T79" fmla="*/ 509 h 587"/>
                <a:gd name="T80" fmla="*/ 776 w 1552"/>
                <a:gd name="T81" fmla="*/ 579 h 587"/>
                <a:gd name="T82" fmla="*/ 809 w 1552"/>
                <a:gd name="T83" fmla="*/ 542 h 587"/>
                <a:gd name="T84" fmla="*/ 806 w 1552"/>
                <a:gd name="T85" fmla="*/ 472 h 587"/>
                <a:gd name="T86" fmla="*/ 827 w 1552"/>
                <a:gd name="T87" fmla="*/ 297 h 587"/>
                <a:gd name="T88" fmla="*/ 1480 w 1552"/>
                <a:gd name="T89" fmla="*/ 37 h 587"/>
                <a:gd name="T90" fmla="*/ 1483 w 1552"/>
                <a:gd name="T91" fmla="*/ 320 h 587"/>
                <a:gd name="T92" fmla="*/ 1416 w 1552"/>
                <a:gd name="T93" fmla="*/ 310 h 587"/>
                <a:gd name="T94" fmla="*/ 1361 w 1552"/>
                <a:gd name="T95" fmla="*/ 287 h 587"/>
                <a:gd name="T96" fmla="*/ 1216 w 1552"/>
                <a:gd name="T97" fmla="*/ 334 h 587"/>
                <a:gd name="T98" fmla="*/ 1183 w 1552"/>
                <a:gd name="T99" fmla="*/ 473 h 587"/>
                <a:gd name="T100" fmla="*/ 1227 w 1552"/>
                <a:gd name="T101" fmla="*/ 540 h 587"/>
                <a:gd name="T102" fmla="*/ 1392 w 1552"/>
                <a:gd name="T103" fmla="*/ 579 h 587"/>
                <a:gd name="T104" fmla="*/ 1455 w 1552"/>
                <a:gd name="T105" fmla="*/ 540 h 587"/>
                <a:gd name="T106" fmla="*/ 1525 w 1552"/>
                <a:gd name="T107" fmla="*/ 577 h 587"/>
                <a:gd name="T108" fmla="*/ 1536 w 1552"/>
                <a:gd name="T109" fmla="*/ 506 h 587"/>
                <a:gd name="T110" fmla="*/ 1540 w 1552"/>
                <a:gd name="T111" fmla="*/ 236 h 587"/>
                <a:gd name="T112" fmla="*/ 1510 w 1552"/>
                <a:gd name="T113" fmla="*/ 39 h 587"/>
                <a:gd name="T114" fmla="*/ 1412 w 1552"/>
                <a:gd name="T115" fmla="*/ 402 h 587"/>
                <a:gd name="T116" fmla="*/ 1382 w 1552"/>
                <a:gd name="T117" fmla="*/ 530 h 587"/>
                <a:gd name="T118" fmla="*/ 1274 w 1552"/>
                <a:gd name="T119" fmla="*/ 490 h 587"/>
                <a:gd name="T120" fmla="*/ 1268 w 1552"/>
                <a:gd name="T121" fmla="*/ 377 h 587"/>
                <a:gd name="T122" fmla="*/ 1377 w 1552"/>
                <a:gd name="T123" fmla="*/ 337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noFill/>
            <a:ln w="0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369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370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371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  <a:gd name="T42" fmla="*/ 0 w 57"/>
                <a:gd name="T43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372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79 h 587"/>
                <a:gd name="T34" fmla="*/ 954 w 1552"/>
                <a:gd name="T35" fmla="*/ 298 h 587"/>
                <a:gd name="T36" fmla="*/ 958 w 1552"/>
                <a:gd name="T37" fmla="*/ 429 h 587"/>
                <a:gd name="T38" fmla="*/ 968 w 1552"/>
                <a:gd name="T39" fmla="*/ 519 h 587"/>
                <a:gd name="T40" fmla="*/ 1039 w 1552"/>
                <a:gd name="T41" fmla="*/ 537 h 587"/>
                <a:gd name="T42" fmla="*/ 1038 w 1552"/>
                <a:gd name="T43" fmla="*/ 445 h 587"/>
                <a:gd name="T44" fmla="*/ 1037 w 1552"/>
                <a:gd name="T45" fmla="*/ 249 h 587"/>
                <a:gd name="T46" fmla="*/ 994 w 1552"/>
                <a:gd name="T47" fmla="*/ 48 h 587"/>
                <a:gd name="T48" fmla="*/ 936 w 1552"/>
                <a:gd name="T49" fmla="*/ 39 h 587"/>
                <a:gd name="T50" fmla="*/ 833 w 1552"/>
                <a:gd name="T51" fmla="*/ 192 h 587"/>
                <a:gd name="T52" fmla="*/ 782 w 1552"/>
                <a:gd name="T53" fmla="*/ 196 h 587"/>
                <a:gd name="T54" fmla="*/ 133 w 1552"/>
                <a:gd name="T55" fmla="*/ 253 h 587"/>
                <a:gd name="T56" fmla="*/ 9 w 1552"/>
                <a:gd name="T57" fmla="*/ 335 h 587"/>
                <a:gd name="T58" fmla="*/ 5 w 1552"/>
                <a:gd name="T59" fmla="*/ 482 h 587"/>
                <a:gd name="T60" fmla="*/ 42 w 1552"/>
                <a:gd name="T61" fmla="*/ 574 h 587"/>
                <a:gd name="T62" fmla="*/ 211 w 1552"/>
                <a:gd name="T63" fmla="*/ 574 h 587"/>
                <a:gd name="T64" fmla="*/ 244 w 1552"/>
                <a:gd name="T65" fmla="*/ 530 h 587"/>
                <a:gd name="T66" fmla="*/ 118 w 1552"/>
                <a:gd name="T67" fmla="*/ 539 h 587"/>
                <a:gd name="T68" fmla="*/ 76 w 1552"/>
                <a:gd name="T69" fmla="*/ 485 h 587"/>
                <a:gd name="T70" fmla="*/ 89 w 1552"/>
                <a:gd name="T71" fmla="*/ 324 h 587"/>
                <a:gd name="T72" fmla="*/ 166 w 1552"/>
                <a:gd name="T73" fmla="*/ 286 h 587"/>
                <a:gd name="T74" fmla="*/ 213 w 1552"/>
                <a:gd name="T75" fmla="*/ 274 h 587"/>
                <a:gd name="T76" fmla="*/ 768 w 1552"/>
                <a:gd name="T77" fmla="*/ 314 h 587"/>
                <a:gd name="T78" fmla="*/ 728 w 1552"/>
                <a:gd name="T79" fmla="*/ 529 h 587"/>
                <a:gd name="T80" fmla="*/ 783 w 1552"/>
                <a:gd name="T81" fmla="*/ 577 h 587"/>
                <a:gd name="T82" fmla="*/ 806 w 1552"/>
                <a:gd name="T83" fmla="*/ 533 h 587"/>
                <a:gd name="T84" fmla="*/ 815 w 1552"/>
                <a:gd name="T85" fmla="*/ 451 h 587"/>
                <a:gd name="T86" fmla="*/ 825 w 1552"/>
                <a:gd name="T87" fmla="*/ 293 h 587"/>
                <a:gd name="T88" fmla="*/ 1476 w 1552"/>
                <a:gd name="T89" fmla="*/ 42 h 587"/>
                <a:gd name="T90" fmla="*/ 1482 w 1552"/>
                <a:gd name="T91" fmla="*/ 355 h 587"/>
                <a:gd name="T92" fmla="*/ 1416 w 1552"/>
                <a:gd name="T93" fmla="*/ 305 h 587"/>
                <a:gd name="T94" fmla="*/ 1352 w 1552"/>
                <a:gd name="T95" fmla="*/ 293 h 587"/>
                <a:gd name="T96" fmla="*/ 1204 w 1552"/>
                <a:gd name="T97" fmla="*/ 341 h 587"/>
                <a:gd name="T98" fmla="*/ 1187 w 1552"/>
                <a:gd name="T99" fmla="*/ 483 h 587"/>
                <a:gd name="T100" fmla="*/ 1237 w 1552"/>
                <a:gd name="T101" fmla="*/ 540 h 587"/>
                <a:gd name="T102" fmla="*/ 1399 w 1552"/>
                <a:gd name="T103" fmla="*/ 576 h 587"/>
                <a:gd name="T104" fmla="*/ 1461 w 1552"/>
                <a:gd name="T105" fmla="*/ 542 h 587"/>
                <a:gd name="T106" fmla="*/ 1536 w 1552"/>
                <a:gd name="T107" fmla="*/ 573 h 587"/>
                <a:gd name="T108" fmla="*/ 1533 w 1552"/>
                <a:gd name="T109" fmla="*/ 496 h 587"/>
                <a:gd name="T110" fmla="*/ 1537 w 1552"/>
                <a:gd name="T111" fmla="*/ 196 h 587"/>
                <a:gd name="T112" fmla="*/ 1503 w 1552"/>
                <a:gd name="T113" fmla="*/ 37 h 587"/>
                <a:gd name="T114" fmla="*/ 1416 w 1552"/>
                <a:gd name="T115" fmla="*/ 408 h 587"/>
                <a:gd name="T116" fmla="*/ 1369 w 1552"/>
                <a:gd name="T117" fmla="*/ 535 h 587"/>
                <a:gd name="T118" fmla="*/ 1274 w 1552"/>
                <a:gd name="T119" fmla="*/ 490 h 587"/>
                <a:gd name="T120" fmla="*/ 1276 w 1552"/>
                <a:gd name="T121" fmla="*/ 365 h 587"/>
                <a:gd name="T122" fmla="*/ 1385 w 1552"/>
                <a:gd name="T123" fmla="*/ 34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373"/>
            <p:cNvSpPr>
              <a:spLocks/>
            </p:cNvSpPr>
            <p:nvPr/>
          </p:nvSpPr>
          <p:spPr bwMode="auto">
            <a:xfrm>
              <a:off x="6526" y="2285"/>
              <a:ext cx="299" cy="549"/>
            </a:xfrm>
            <a:custGeom>
              <a:avLst/>
              <a:gdLst>
                <a:gd name="T0" fmla="*/ 97 w 299"/>
                <a:gd name="T1" fmla="*/ 84 h 549"/>
                <a:gd name="T2" fmla="*/ 114 w 299"/>
                <a:gd name="T3" fmla="*/ 197 h 549"/>
                <a:gd name="T4" fmla="*/ 125 w 299"/>
                <a:gd name="T5" fmla="*/ 241 h 549"/>
                <a:gd name="T6" fmla="*/ 118 w 299"/>
                <a:gd name="T7" fmla="*/ 280 h 549"/>
                <a:gd name="T8" fmla="*/ 122 w 299"/>
                <a:gd name="T9" fmla="*/ 304 h 549"/>
                <a:gd name="T10" fmla="*/ 196 w 299"/>
                <a:gd name="T11" fmla="*/ 301 h 549"/>
                <a:gd name="T12" fmla="*/ 243 w 299"/>
                <a:gd name="T13" fmla="*/ 310 h 549"/>
                <a:gd name="T14" fmla="*/ 272 w 299"/>
                <a:gd name="T15" fmla="*/ 325 h 549"/>
                <a:gd name="T16" fmla="*/ 292 w 299"/>
                <a:gd name="T17" fmla="*/ 355 h 549"/>
                <a:gd name="T18" fmla="*/ 297 w 299"/>
                <a:gd name="T19" fmla="*/ 421 h 549"/>
                <a:gd name="T20" fmla="*/ 296 w 299"/>
                <a:gd name="T21" fmla="*/ 489 h 549"/>
                <a:gd name="T22" fmla="*/ 286 w 299"/>
                <a:gd name="T23" fmla="*/ 519 h 549"/>
                <a:gd name="T24" fmla="*/ 276 w 299"/>
                <a:gd name="T25" fmla="*/ 535 h 549"/>
                <a:gd name="T26" fmla="*/ 258 w 299"/>
                <a:gd name="T27" fmla="*/ 546 h 549"/>
                <a:gd name="T28" fmla="*/ 236 w 299"/>
                <a:gd name="T29" fmla="*/ 547 h 549"/>
                <a:gd name="T30" fmla="*/ 223 w 299"/>
                <a:gd name="T31" fmla="*/ 540 h 549"/>
                <a:gd name="T32" fmla="*/ 218 w 299"/>
                <a:gd name="T33" fmla="*/ 523 h 549"/>
                <a:gd name="T34" fmla="*/ 225 w 299"/>
                <a:gd name="T35" fmla="*/ 493 h 549"/>
                <a:gd name="T36" fmla="*/ 232 w 299"/>
                <a:gd name="T37" fmla="*/ 446 h 549"/>
                <a:gd name="T38" fmla="*/ 229 w 299"/>
                <a:gd name="T39" fmla="*/ 398 h 549"/>
                <a:gd name="T40" fmla="*/ 216 w 299"/>
                <a:gd name="T41" fmla="*/ 372 h 549"/>
                <a:gd name="T42" fmla="*/ 198 w 299"/>
                <a:gd name="T43" fmla="*/ 352 h 549"/>
                <a:gd name="T44" fmla="*/ 159 w 299"/>
                <a:gd name="T45" fmla="*/ 340 h 549"/>
                <a:gd name="T46" fmla="*/ 118 w 299"/>
                <a:gd name="T47" fmla="*/ 341 h 549"/>
                <a:gd name="T48" fmla="*/ 108 w 299"/>
                <a:gd name="T49" fmla="*/ 355 h 549"/>
                <a:gd name="T50" fmla="*/ 97 w 299"/>
                <a:gd name="T51" fmla="*/ 388 h 549"/>
                <a:gd name="T52" fmla="*/ 94 w 299"/>
                <a:gd name="T53" fmla="*/ 445 h 549"/>
                <a:gd name="T54" fmla="*/ 94 w 299"/>
                <a:gd name="T55" fmla="*/ 492 h 549"/>
                <a:gd name="T56" fmla="*/ 90 w 299"/>
                <a:gd name="T57" fmla="*/ 519 h 549"/>
                <a:gd name="T58" fmla="*/ 77 w 299"/>
                <a:gd name="T59" fmla="*/ 542 h 549"/>
                <a:gd name="T60" fmla="*/ 61 w 299"/>
                <a:gd name="T61" fmla="*/ 549 h 549"/>
                <a:gd name="T62" fmla="*/ 38 w 299"/>
                <a:gd name="T63" fmla="*/ 544 h 549"/>
                <a:gd name="T64" fmla="*/ 23 w 299"/>
                <a:gd name="T65" fmla="*/ 532 h 549"/>
                <a:gd name="T66" fmla="*/ 19 w 299"/>
                <a:gd name="T67" fmla="*/ 503 h 549"/>
                <a:gd name="T68" fmla="*/ 26 w 299"/>
                <a:gd name="T69" fmla="*/ 436 h 549"/>
                <a:gd name="T70" fmla="*/ 21 w 299"/>
                <a:gd name="T71" fmla="*/ 395 h 549"/>
                <a:gd name="T72" fmla="*/ 7 w 299"/>
                <a:gd name="T73" fmla="*/ 370 h 549"/>
                <a:gd name="T74" fmla="*/ 0 w 299"/>
                <a:gd name="T75" fmla="*/ 358 h 549"/>
                <a:gd name="T76" fmla="*/ 16 w 299"/>
                <a:gd name="T77" fmla="*/ 344 h 549"/>
                <a:gd name="T78" fmla="*/ 37 w 299"/>
                <a:gd name="T79" fmla="*/ 331 h 549"/>
                <a:gd name="T80" fmla="*/ 43 w 299"/>
                <a:gd name="T81" fmla="*/ 320 h 549"/>
                <a:gd name="T82" fmla="*/ 51 w 299"/>
                <a:gd name="T83" fmla="*/ 305 h 549"/>
                <a:gd name="T84" fmla="*/ 67 w 299"/>
                <a:gd name="T85" fmla="*/ 276 h 549"/>
                <a:gd name="T86" fmla="*/ 71 w 299"/>
                <a:gd name="T87" fmla="*/ 241 h 549"/>
                <a:gd name="T88" fmla="*/ 65 w 299"/>
                <a:gd name="T89" fmla="*/ 224 h 549"/>
                <a:gd name="T90" fmla="*/ 57 w 299"/>
                <a:gd name="T91" fmla="*/ 190 h 549"/>
                <a:gd name="T92" fmla="*/ 57 w 299"/>
                <a:gd name="T93" fmla="*/ 146 h 549"/>
                <a:gd name="T94" fmla="*/ 50 w 299"/>
                <a:gd name="T95" fmla="*/ 121 h 549"/>
                <a:gd name="T96" fmla="*/ 37 w 299"/>
                <a:gd name="T97" fmla="*/ 74 h 549"/>
                <a:gd name="T98" fmla="*/ 33 w 299"/>
                <a:gd name="T99" fmla="*/ 32 h 549"/>
                <a:gd name="T100" fmla="*/ 41 w 299"/>
                <a:gd name="T101" fmla="*/ 11 h 549"/>
                <a:gd name="T102" fmla="*/ 54 w 299"/>
                <a:gd name="T103" fmla="*/ 0 h 549"/>
                <a:gd name="T104" fmla="*/ 77 w 299"/>
                <a:gd name="T105" fmla="*/ 15 h 549"/>
                <a:gd name="T106" fmla="*/ 87 w 299"/>
                <a:gd name="T107" fmla="*/ 44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9" h="549">
                  <a:moveTo>
                    <a:pt x="91" y="62"/>
                  </a:moveTo>
                  <a:lnTo>
                    <a:pt x="91" y="62"/>
                  </a:lnTo>
                  <a:lnTo>
                    <a:pt x="97" y="84"/>
                  </a:lnTo>
                  <a:lnTo>
                    <a:pt x="102" y="105"/>
                  </a:lnTo>
                  <a:lnTo>
                    <a:pt x="108" y="152"/>
                  </a:lnTo>
                  <a:lnTo>
                    <a:pt x="114" y="197"/>
                  </a:lnTo>
                  <a:lnTo>
                    <a:pt x="118" y="219"/>
                  </a:lnTo>
                  <a:lnTo>
                    <a:pt x="125" y="241"/>
                  </a:lnTo>
                  <a:lnTo>
                    <a:pt x="125" y="241"/>
                  </a:lnTo>
                  <a:lnTo>
                    <a:pt x="121" y="256"/>
                  </a:lnTo>
                  <a:lnTo>
                    <a:pt x="118" y="273"/>
                  </a:lnTo>
                  <a:lnTo>
                    <a:pt x="118" y="280"/>
                  </a:lnTo>
                  <a:lnTo>
                    <a:pt x="118" y="288"/>
                  </a:lnTo>
                  <a:lnTo>
                    <a:pt x="120" y="296"/>
                  </a:lnTo>
                  <a:lnTo>
                    <a:pt x="122" y="304"/>
                  </a:lnTo>
                  <a:lnTo>
                    <a:pt x="122" y="304"/>
                  </a:lnTo>
                  <a:lnTo>
                    <a:pt x="171" y="301"/>
                  </a:lnTo>
                  <a:lnTo>
                    <a:pt x="196" y="301"/>
                  </a:lnTo>
                  <a:lnTo>
                    <a:pt x="221" y="304"/>
                  </a:lnTo>
                  <a:lnTo>
                    <a:pt x="232" y="305"/>
                  </a:lnTo>
                  <a:lnTo>
                    <a:pt x="243" y="310"/>
                  </a:lnTo>
                  <a:lnTo>
                    <a:pt x="253" y="314"/>
                  </a:lnTo>
                  <a:lnTo>
                    <a:pt x="263" y="318"/>
                  </a:lnTo>
                  <a:lnTo>
                    <a:pt x="272" y="325"/>
                  </a:lnTo>
                  <a:lnTo>
                    <a:pt x="279" y="334"/>
                  </a:lnTo>
                  <a:lnTo>
                    <a:pt x="286" y="344"/>
                  </a:lnTo>
                  <a:lnTo>
                    <a:pt x="292" y="355"/>
                  </a:lnTo>
                  <a:lnTo>
                    <a:pt x="292" y="355"/>
                  </a:lnTo>
                  <a:lnTo>
                    <a:pt x="296" y="398"/>
                  </a:lnTo>
                  <a:lnTo>
                    <a:pt x="297" y="421"/>
                  </a:lnTo>
                  <a:lnTo>
                    <a:pt x="299" y="445"/>
                  </a:lnTo>
                  <a:lnTo>
                    <a:pt x="299" y="468"/>
                  </a:lnTo>
                  <a:lnTo>
                    <a:pt x="296" y="489"/>
                  </a:lnTo>
                  <a:lnTo>
                    <a:pt x="293" y="499"/>
                  </a:lnTo>
                  <a:lnTo>
                    <a:pt x="290" y="510"/>
                  </a:lnTo>
                  <a:lnTo>
                    <a:pt x="286" y="519"/>
                  </a:lnTo>
                  <a:lnTo>
                    <a:pt x="280" y="529"/>
                  </a:lnTo>
                  <a:lnTo>
                    <a:pt x="280" y="529"/>
                  </a:lnTo>
                  <a:lnTo>
                    <a:pt x="276" y="535"/>
                  </a:lnTo>
                  <a:lnTo>
                    <a:pt x="270" y="539"/>
                  </a:lnTo>
                  <a:lnTo>
                    <a:pt x="263" y="543"/>
                  </a:lnTo>
                  <a:lnTo>
                    <a:pt x="258" y="546"/>
                  </a:lnTo>
                  <a:lnTo>
                    <a:pt x="250" y="547"/>
                  </a:lnTo>
                  <a:lnTo>
                    <a:pt x="243" y="547"/>
                  </a:lnTo>
                  <a:lnTo>
                    <a:pt x="236" y="547"/>
                  </a:lnTo>
                  <a:lnTo>
                    <a:pt x="229" y="546"/>
                  </a:lnTo>
                  <a:lnTo>
                    <a:pt x="229" y="546"/>
                  </a:lnTo>
                  <a:lnTo>
                    <a:pt x="223" y="540"/>
                  </a:lnTo>
                  <a:lnTo>
                    <a:pt x="221" y="536"/>
                  </a:lnTo>
                  <a:lnTo>
                    <a:pt x="219" y="530"/>
                  </a:lnTo>
                  <a:lnTo>
                    <a:pt x="218" y="523"/>
                  </a:lnTo>
                  <a:lnTo>
                    <a:pt x="219" y="512"/>
                  </a:lnTo>
                  <a:lnTo>
                    <a:pt x="221" y="499"/>
                  </a:lnTo>
                  <a:lnTo>
                    <a:pt x="225" y="493"/>
                  </a:lnTo>
                  <a:lnTo>
                    <a:pt x="225" y="493"/>
                  </a:lnTo>
                  <a:lnTo>
                    <a:pt x="229" y="463"/>
                  </a:lnTo>
                  <a:lnTo>
                    <a:pt x="232" y="446"/>
                  </a:lnTo>
                  <a:lnTo>
                    <a:pt x="232" y="431"/>
                  </a:lnTo>
                  <a:lnTo>
                    <a:pt x="232" y="414"/>
                  </a:lnTo>
                  <a:lnTo>
                    <a:pt x="229" y="398"/>
                  </a:lnTo>
                  <a:lnTo>
                    <a:pt x="223" y="385"/>
                  </a:lnTo>
                  <a:lnTo>
                    <a:pt x="221" y="378"/>
                  </a:lnTo>
                  <a:lnTo>
                    <a:pt x="216" y="372"/>
                  </a:lnTo>
                  <a:lnTo>
                    <a:pt x="216" y="372"/>
                  </a:lnTo>
                  <a:lnTo>
                    <a:pt x="208" y="361"/>
                  </a:lnTo>
                  <a:lnTo>
                    <a:pt x="198" y="352"/>
                  </a:lnTo>
                  <a:lnTo>
                    <a:pt x="186" y="347"/>
                  </a:lnTo>
                  <a:lnTo>
                    <a:pt x="174" y="342"/>
                  </a:lnTo>
                  <a:lnTo>
                    <a:pt x="159" y="340"/>
                  </a:lnTo>
                  <a:lnTo>
                    <a:pt x="147" y="338"/>
                  </a:lnTo>
                  <a:lnTo>
                    <a:pt x="132" y="340"/>
                  </a:lnTo>
                  <a:lnTo>
                    <a:pt x="118" y="341"/>
                  </a:lnTo>
                  <a:lnTo>
                    <a:pt x="118" y="341"/>
                  </a:lnTo>
                  <a:lnTo>
                    <a:pt x="112" y="348"/>
                  </a:lnTo>
                  <a:lnTo>
                    <a:pt x="108" y="355"/>
                  </a:lnTo>
                  <a:lnTo>
                    <a:pt x="104" y="362"/>
                  </a:lnTo>
                  <a:lnTo>
                    <a:pt x="101" y="371"/>
                  </a:lnTo>
                  <a:lnTo>
                    <a:pt x="97" y="388"/>
                  </a:lnTo>
                  <a:lnTo>
                    <a:pt x="94" y="405"/>
                  </a:lnTo>
                  <a:lnTo>
                    <a:pt x="94" y="425"/>
                  </a:lnTo>
                  <a:lnTo>
                    <a:pt x="94" y="445"/>
                  </a:lnTo>
                  <a:lnTo>
                    <a:pt x="94" y="483"/>
                  </a:lnTo>
                  <a:lnTo>
                    <a:pt x="94" y="483"/>
                  </a:lnTo>
                  <a:lnTo>
                    <a:pt x="94" y="492"/>
                  </a:lnTo>
                  <a:lnTo>
                    <a:pt x="94" y="500"/>
                  </a:lnTo>
                  <a:lnTo>
                    <a:pt x="93" y="510"/>
                  </a:lnTo>
                  <a:lnTo>
                    <a:pt x="90" y="519"/>
                  </a:lnTo>
                  <a:lnTo>
                    <a:pt x="87" y="527"/>
                  </a:lnTo>
                  <a:lnTo>
                    <a:pt x="83" y="535"/>
                  </a:lnTo>
                  <a:lnTo>
                    <a:pt x="77" y="542"/>
                  </a:lnTo>
                  <a:lnTo>
                    <a:pt x="70" y="547"/>
                  </a:lnTo>
                  <a:lnTo>
                    <a:pt x="70" y="547"/>
                  </a:lnTo>
                  <a:lnTo>
                    <a:pt x="61" y="549"/>
                  </a:lnTo>
                  <a:lnTo>
                    <a:pt x="53" y="547"/>
                  </a:lnTo>
                  <a:lnTo>
                    <a:pt x="46" y="547"/>
                  </a:lnTo>
                  <a:lnTo>
                    <a:pt x="38" y="544"/>
                  </a:lnTo>
                  <a:lnTo>
                    <a:pt x="33" y="542"/>
                  </a:lnTo>
                  <a:lnTo>
                    <a:pt x="27" y="537"/>
                  </a:lnTo>
                  <a:lnTo>
                    <a:pt x="23" y="532"/>
                  </a:lnTo>
                  <a:lnTo>
                    <a:pt x="19" y="525"/>
                  </a:lnTo>
                  <a:lnTo>
                    <a:pt x="19" y="525"/>
                  </a:lnTo>
                  <a:lnTo>
                    <a:pt x="19" y="503"/>
                  </a:lnTo>
                  <a:lnTo>
                    <a:pt x="20" y="482"/>
                  </a:lnTo>
                  <a:lnTo>
                    <a:pt x="23" y="459"/>
                  </a:lnTo>
                  <a:lnTo>
                    <a:pt x="26" y="436"/>
                  </a:lnTo>
                  <a:lnTo>
                    <a:pt x="26" y="415"/>
                  </a:lnTo>
                  <a:lnTo>
                    <a:pt x="24" y="405"/>
                  </a:lnTo>
                  <a:lnTo>
                    <a:pt x="21" y="395"/>
                  </a:lnTo>
                  <a:lnTo>
                    <a:pt x="19" y="387"/>
                  </a:lnTo>
                  <a:lnTo>
                    <a:pt x="14" y="377"/>
                  </a:lnTo>
                  <a:lnTo>
                    <a:pt x="7" y="370"/>
                  </a:lnTo>
                  <a:lnTo>
                    <a:pt x="0" y="362"/>
                  </a:lnTo>
                  <a:lnTo>
                    <a:pt x="0" y="362"/>
                  </a:lnTo>
                  <a:lnTo>
                    <a:pt x="0" y="358"/>
                  </a:lnTo>
                  <a:lnTo>
                    <a:pt x="3" y="354"/>
                  </a:lnTo>
                  <a:lnTo>
                    <a:pt x="7" y="348"/>
                  </a:lnTo>
                  <a:lnTo>
                    <a:pt x="16" y="344"/>
                  </a:lnTo>
                  <a:lnTo>
                    <a:pt x="23" y="340"/>
                  </a:lnTo>
                  <a:lnTo>
                    <a:pt x="31" y="337"/>
                  </a:lnTo>
                  <a:lnTo>
                    <a:pt x="37" y="331"/>
                  </a:lnTo>
                  <a:lnTo>
                    <a:pt x="40" y="328"/>
                  </a:lnTo>
                  <a:lnTo>
                    <a:pt x="41" y="324"/>
                  </a:lnTo>
                  <a:lnTo>
                    <a:pt x="43" y="320"/>
                  </a:lnTo>
                  <a:lnTo>
                    <a:pt x="43" y="314"/>
                  </a:lnTo>
                  <a:lnTo>
                    <a:pt x="43" y="314"/>
                  </a:lnTo>
                  <a:lnTo>
                    <a:pt x="51" y="305"/>
                  </a:lnTo>
                  <a:lnTo>
                    <a:pt x="58" y="296"/>
                  </a:lnTo>
                  <a:lnTo>
                    <a:pt x="64" y="286"/>
                  </a:lnTo>
                  <a:lnTo>
                    <a:pt x="67" y="276"/>
                  </a:lnTo>
                  <a:lnTo>
                    <a:pt x="70" y="264"/>
                  </a:lnTo>
                  <a:lnTo>
                    <a:pt x="71" y="253"/>
                  </a:lnTo>
                  <a:lnTo>
                    <a:pt x="71" y="241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5" y="224"/>
                  </a:lnTo>
                  <a:lnTo>
                    <a:pt x="63" y="219"/>
                  </a:lnTo>
                  <a:lnTo>
                    <a:pt x="58" y="205"/>
                  </a:lnTo>
                  <a:lnTo>
                    <a:pt x="57" y="190"/>
                  </a:lnTo>
                  <a:lnTo>
                    <a:pt x="57" y="176"/>
                  </a:lnTo>
                  <a:lnTo>
                    <a:pt x="58" y="160"/>
                  </a:lnTo>
                  <a:lnTo>
                    <a:pt x="57" y="146"/>
                  </a:lnTo>
                  <a:lnTo>
                    <a:pt x="56" y="133"/>
                  </a:lnTo>
                  <a:lnTo>
                    <a:pt x="53" y="126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41" y="91"/>
                  </a:lnTo>
                  <a:lnTo>
                    <a:pt x="37" y="74"/>
                  </a:lnTo>
                  <a:lnTo>
                    <a:pt x="33" y="57"/>
                  </a:lnTo>
                  <a:lnTo>
                    <a:pt x="33" y="41"/>
                  </a:lnTo>
                  <a:lnTo>
                    <a:pt x="33" y="32"/>
                  </a:lnTo>
                  <a:lnTo>
                    <a:pt x="36" y="25"/>
                  </a:lnTo>
                  <a:lnTo>
                    <a:pt x="37" y="18"/>
                  </a:lnTo>
                  <a:lnTo>
                    <a:pt x="41" y="11"/>
                  </a:lnTo>
                  <a:lnTo>
                    <a:pt x="47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3"/>
                  </a:lnTo>
                  <a:lnTo>
                    <a:pt x="71" y="8"/>
                  </a:lnTo>
                  <a:lnTo>
                    <a:pt x="77" y="15"/>
                  </a:lnTo>
                  <a:lnTo>
                    <a:pt x="81" y="24"/>
                  </a:lnTo>
                  <a:lnTo>
                    <a:pt x="84" y="34"/>
                  </a:lnTo>
                  <a:lnTo>
                    <a:pt x="87" y="44"/>
                  </a:lnTo>
                  <a:lnTo>
                    <a:pt x="91" y="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374"/>
            <p:cNvSpPr>
              <a:spLocks/>
            </p:cNvSpPr>
            <p:nvPr/>
          </p:nvSpPr>
          <p:spPr bwMode="auto">
            <a:xfrm>
              <a:off x="7126" y="2317"/>
              <a:ext cx="131" cy="511"/>
            </a:xfrm>
            <a:custGeom>
              <a:avLst/>
              <a:gdLst>
                <a:gd name="T0" fmla="*/ 15 w 131"/>
                <a:gd name="T1" fmla="*/ 7 h 511"/>
                <a:gd name="T2" fmla="*/ 3 w 131"/>
                <a:gd name="T3" fmla="*/ 17 h 511"/>
                <a:gd name="T4" fmla="*/ 0 w 131"/>
                <a:gd name="T5" fmla="*/ 32 h 511"/>
                <a:gd name="T6" fmla="*/ 2 w 131"/>
                <a:gd name="T7" fmla="*/ 63 h 511"/>
                <a:gd name="T8" fmla="*/ 10 w 131"/>
                <a:gd name="T9" fmla="*/ 77 h 511"/>
                <a:gd name="T10" fmla="*/ 22 w 131"/>
                <a:gd name="T11" fmla="*/ 110 h 511"/>
                <a:gd name="T12" fmla="*/ 27 w 131"/>
                <a:gd name="T13" fmla="*/ 143 h 511"/>
                <a:gd name="T14" fmla="*/ 32 w 131"/>
                <a:gd name="T15" fmla="*/ 195 h 511"/>
                <a:gd name="T16" fmla="*/ 36 w 131"/>
                <a:gd name="T17" fmla="*/ 301 h 511"/>
                <a:gd name="T18" fmla="*/ 39 w 131"/>
                <a:gd name="T19" fmla="*/ 335 h 511"/>
                <a:gd name="T20" fmla="*/ 46 w 131"/>
                <a:gd name="T21" fmla="*/ 352 h 511"/>
                <a:gd name="T22" fmla="*/ 43 w 131"/>
                <a:gd name="T23" fmla="*/ 369 h 511"/>
                <a:gd name="T24" fmla="*/ 39 w 131"/>
                <a:gd name="T25" fmla="*/ 387 h 511"/>
                <a:gd name="T26" fmla="*/ 39 w 131"/>
                <a:gd name="T27" fmla="*/ 407 h 511"/>
                <a:gd name="T28" fmla="*/ 43 w 131"/>
                <a:gd name="T29" fmla="*/ 416 h 511"/>
                <a:gd name="T30" fmla="*/ 46 w 131"/>
                <a:gd name="T31" fmla="*/ 436 h 511"/>
                <a:gd name="T32" fmla="*/ 46 w 131"/>
                <a:gd name="T33" fmla="*/ 467 h 511"/>
                <a:gd name="T34" fmla="*/ 47 w 131"/>
                <a:gd name="T35" fmla="*/ 487 h 511"/>
                <a:gd name="T36" fmla="*/ 53 w 131"/>
                <a:gd name="T37" fmla="*/ 494 h 511"/>
                <a:gd name="T38" fmla="*/ 66 w 131"/>
                <a:gd name="T39" fmla="*/ 505 h 511"/>
                <a:gd name="T40" fmla="*/ 83 w 131"/>
                <a:gd name="T41" fmla="*/ 511 h 511"/>
                <a:gd name="T42" fmla="*/ 103 w 131"/>
                <a:gd name="T43" fmla="*/ 511 h 511"/>
                <a:gd name="T44" fmla="*/ 113 w 131"/>
                <a:gd name="T45" fmla="*/ 508 h 511"/>
                <a:gd name="T46" fmla="*/ 124 w 131"/>
                <a:gd name="T47" fmla="*/ 501 h 511"/>
                <a:gd name="T48" fmla="*/ 130 w 131"/>
                <a:gd name="T49" fmla="*/ 491 h 511"/>
                <a:gd name="T50" fmla="*/ 131 w 131"/>
                <a:gd name="T51" fmla="*/ 480 h 511"/>
                <a:gd name="T52" fmla="*/ 126 w 131"/>
                <a:gd name="T53" fmla="*/ 453 h 511"/>
                <a:gd name="T54" fmla="*/ 118 w 131"/>
                <a:gd name="T55" fmla="*/ 426 h 511"/>
                <a:gd name="T56" fmla="*/ 117 w 131"/>
                <a:gd name="T57" fmla="*/ 413 h 511"/>
                <a:gd name="T58" fmla="*/ 116 w 131"/>
                <a:gd name="T59" fmla="*/ 384 h 511"/>
                <a:gd name="T60" fmla="*/ 121 w 131"/>
                <a:gd name="T61" fmla="*/ 299 h 511"/>
                <a:gd name="T62" fmla="*/ 123 w 131"/>
                <a:gd name="T63" fmla="*/ 256 h 511"/>
                <a:gd name="T64" fmla="*/ 118 w 131"/>
                <a:gd name="T65" fmla="*/ 229 h 511"/>
                <a:gd name="T66" fmla="*/ 110 w 131"/>
                <a:gd name="T67" fmla="*/ 204 h 511"/>
                <a:gd name="T68" fmla="*/ 104 w 131"/>
                <a:gd name="T69" fmla="*/ 191 h 511"/>
                <a:gd name="T70" fmla="*/ 97 w 131"/>
                <a:gd name="T71" fmla="*/ 145 h 511"/>
                <a:gd name="T72" fmla="*/ 80 w 131"/>
                <a:gd name="T73" fmla="*/ 81 h 511"/>
                <a:gd name="T74" fmla="*/ 73 w 131"/>
                <a:gd name="T75" fmla="*/ 37 h 511"/>
                <a:gd name="T76" fmla="*/ 73 w 131"/>
                <a:gd name="T77" fmla="*/ 16 h 511"/>
                <a:gd name="T78" fmla="*/ 62 w 131"/>
                <a:gd name="T79" fmla="*/ 3 h 511"/>
                <a:gd name="T80" fmla="*/ 47 w 131"/>
                <a:gd name="T81" fmla="*/ 0 h 511"/>
                <a:gd name="T82" fmla="*/ 30 w 131"/>
                <a:gd name="T83" fmla="*/ 2 h 511"/>
                <a:gd name="T84" fmla="*/ 15 w 131"/>
                <a:gd name="T85" fmla="*/ 7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" h="511">
                  <a:moveTo>
                    <a:pt x="15" y="7"/>
                  </a:moveTo>
                  <a:lnTo>
                    <a:pt x="15" y="7"/>
                  </a:lnTo>
                  <a:lnTo>
                    <a:pt x="9" y="12"/>
                  </a:lnTo>
                  <a:lnTo>
                    <a:pt x="3" y="17"/>
                  </a:lnTo>
                  <a:lnTo>
                    <a:pt x="2" y="23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10" y="77"/>
                  </a:lnTo>
                  <a:lnTo>
                    <a:pt x="16" y="93"/>
                  </a:lnTo>
                  <a:lnTo>
                    <a:pt x="22" y="110"/>
                  </a:lnTo>
                  <a:lnTo>
                    <a:pt x="25" y="126"/>
                  </a:lnTo>
                  <a:lnTo>
                    <a:pt x="27" y="143"/>
                  </a:lnTo>
                  <a:lnTo>
                    <a:pt x="30" y="160"/>
                  </a:lnTo>
                  <a:lnTo>
                    <a:pt x="32" y="195"/>
                  </a:lnTo>
                  <a:lnTo>
                    <a:pt x="33" y="266"/>
                  </a:lnTo>
                  <a:lnTo>
                    <a:pt x="36" y="301"/>
                  </a:lnTo>
                  <a:lnTo>
                    <a:pt x="39" y="335"/>
                  </a:lnTo>
                  <a:lnTo>
                    <a:pt x="39" y="335"/>
                  </a:lnTo>
                  <a:lnTo>
                    <a:pt x="44" y="343"/>
                  </a:lnTo>
                  <a:lnTo>
                    <a:pt x="46" y="352"/>
                  </a:lnTo>
                  <a:lnTo>
                    <a:pt x="46" y="360"/>
                  </a:lnTo>
                  <a:lnTo>
                    <a:pt x="43" y="369"/>
                  </a:lnTo>
                  <a:lnTo>
                    <a:pt x="40" y="377"/>
                  </a:lnTo>
                  <a:lnTo>
                    <a:pt x="39" y="387"/>
                  </a:lnTo>
                  <a:lnTo>
                    <a:pt x="37" y="39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43" y="416"/>
                  </a:lnTo>
                  <a:lnTo>
                    <a:pt x="44" y="426"/>
                  </a:lnTo>
                  <a:lnTo>
                    <a:pt x="46" y="436"/>
                  </a:lnTo>
                  <a:lnTo>
                    <a:pt x="46" y="446"/>
                  </a:lnTo>
                  <a:lnTo>
                    <a:pt x="46" y="467"/>
                  </a:lnTo>
                  <a:lnTo>
                    <a:pt x="46" y="477"/>
                  </a:lnTo>
                  <a:lnTo>
                    <a:pt x="47" y="487"/>
                  </a:lnTo>
                  <a:lnTo>
                    <a:pt x="47" y="487"/>
                  </a:lnTo>
                  <a:lnTo>
                    <a:pt x="53" y="494"/>
                  </a:lnTo>
                  <a:lnTo>
                    <a:pt x="59" y="501"/>
                  </a:lnTo>
                  <a:lnTo>
                    <a:pt x="66" y="505"/>
                  </a:lnTo>
                  <a:lnTo>
                    <a:pt x="74" y="510"/>
                  </a:lnTo>
                  <a:lnTo>
                    <a:pt x="83" y="511"/>
                  </a:lnTo>
                  <a:lnTo>
                    <a:pt x="93" y="511"/>
                  </a:lnTo>
                  <a:lnTo>
                    <a:pt x="103" y="511"/>
                  </a:lnTo>
                  <a:lnTo>
                    <a:pt x="113" y="508"/>
                  </a:lnTo>
                  <a:lnTo>
                    <a:pt x="113" y="508"/>
                  </a:lnTo>
                  <a:lnTo>
                    <a:pt x="118" y="505"/>
                  </a:lnTo>
                  <a:lnTo>
                    <a:pt x="124" y="501"/>
                  </a:lnTo>
                  <a:lnTo>
                    <a:pt x="127" y="497"/>
                  </a:lnTo>
                  <a:lnTo>
                    <a:pt x="130" y="491"/>
                  </a:lnTo>
                  <a:lnTo>
                    <a:pt x="131" y="485"/>
                  </a:lnTo>
                  <a:lnTo>
                    <a:pt x="131" y="480"/>
                  </a:lnTo>
                  <a:lnTo>
                    <a:pt x="130" y="467"/>
                  </a:lnTo>
                  <a:lnTo>
                    <a:pt x="126" y="453"/>
                  </a:lnTo>
                  <a:lnTo>
                    <a:pt x="123" y="439"/>
                  </a:lnTo>
                  <a:lnTo>
                    <a:pt x="118" y="426"/>
                  </a:lnTo>
                  <a:lnTo>
                    <a:pt x="117" y="413"/>
                  </a:lnTo>
                  <a:lnTo>
                    <a:pt x="117" y="413"/>
                  </a:lnTo>
                  <a:lnTo>
                    <a:pt x="116" y="399"/>
                  </a:lnTo>
                  <a:lnTo>
                    <a:pt x="116" y="384"/>
                  </a:lnTo>
                  <a:lnTo>
                    <a:pt x="117" y="356"/>
                  </a:lnTo>
                  <a:lnTo>
                    <a:pt x="121" y="299"/>
                  </a:lnTo>
                  <a:lnTo>
                    <a:pt x="123" y="271"/>
                  </a:lnTo>
                  <a:lnTo>
                    <a:pt x="123" y="256"/>
                  </a:lnTo>
                  <a:lnTo>
                    <a:pt x="121" y="244"/>
                  </a:lnTo>
                  <a:lnTo>
                    <a:pt x="118" y="229"/>
                  </a:lnTo>
                  <a:lnTo>
                    <a:pt x="116" y="217"/>
                  </a:lnTo>
                  <a:lnTo>
                    <a:pt x="110" y="204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1" y="168"/>
                  </a:lnTo>
                  <a:lnTo>
                    <a:pt x="97" y="145"/>
                  </a:lnTo>
                  <a:lnTo>
                    <a:pt x="86" y="103"/>
                  </a:lnTo>
                  <a:lnTo>
                    <a:pt x="80" y="81"/>
                  </a:lnTo>
                  <a:lnTo>
                    <a:pt x="76" y="60"/>
                  </a:lnTo>
                  <a:lnTo>
                    <a:pt x="73" y="37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67" y="9"/>
                  </a:lnTo>
                  <a:lnTo>
                    <a:pt x="62" y="3"/>
                  </a:lnTo>
                  <a:lnTo>
                    <a:pt x="54" y="2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0" y="2"/>
                  </a:lnTo>
                  <a:lnTo>
                    <a:pt x="22" y="5"/>
                  </a:lnTo>
                  <a:lnTo>
                    <a:pt x="15" y="7"/>
                  </a:lnTo>
                  <a:lnTo>
                    <a:pt x="15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375"/>
            <p:cNvSpPr>
              <a:spLocks/>
            </p:cNvSpPr>
            <p:nvPr/>
          </p:nvSpPr>
          <p:spPr bwMode="auto">
            <a:xfrm>
              <a:off x="6983" y="2462"/>
              <a:ext cx="57" cy="35"/>
            </a:xfrm>
            <a:custGeom>
              <a:avLst/>
              <a:gdLst>
                <a:gd name="T0" fmla="*/ 0 w 57"/>
                <a:gd name="T1" fmla="*/ 28 h 35"/>
                <a:gd name="T2" fmla="*/ 0 w 57"/>
                <a:gd name="T3" fmla="*/ 28 h 35"/>
                <a:gd name="T4" fmla="*/ 10 w 57"/>
                <a:gd name="T5" fmla="*/ 30 h 35"/>
                <a:gd name="T6" fmla="*/ 18 w 57"/>
                <a:gd name="T7" fmla="*/ 33 h 35"/>
                <a:gd name="T8" fmla="*/ 28 w 57"/>
                <a:gd name="T9" fmla="*/ 35 h 35"/>
                <a:gd name="T10" fmla="*/ 38 w 57"/>
                <a:gd name="T11" fmla="*/ 32 h 35"/>
                <a:gd name="T12" fmla="*/ 38 w 57"/>
                <a:gd name="T13" fmla="*/ 32 h 35"/>
                <a:gd name="T14" fmla="*/ 45 w 57"/>
                <a:gd name="T15" fmla="*/ 28 h 35"/>
                <a:gd name="T16" fmla="*/ 52 w 57"/>
                <a:gd name="T17" fmla="*/ 19 h 35"/>
                <a:gd name="T18" fmla="*/ 55 w 57"/>
                <a:gd name="T19" fmla="*/ 15 h 35"/>
                <a:gd name="T20" fmla="*/ 57 w 57"/>
                <a:gd name="T21" fmla="*/ 10 h 35"/>
                <a:gd name="T22" fmla="*/ 55 w 57"/>
                <a:gd name="T23" fmla="*/ 5 h 35"/>
                <a:gd name="T24" fmla="*/ 54 w 57"/>
                <a:gd name="T25" fmla="*/ 0 h 35"/>
                <a:gd name="T26" fmla="*/ 54 w 57"/>
                <a:gd name="T27" fmla="*/ 0 h 35"/>
                <a:gd name="T28" fmla="*/ 37 w 57"/>
                <a:gd name="T29" fmla="*/ 2 h 35"/>
                <a:gd name="T30" fmla="*/ 30 w 57"/>
                <a:gd name="T31" fmla="*/ 3 h 35"/>
                <a:gd name="T32" fmla="*/ 21 w 57"/>
                <a:gd name="T33" fmla="*/ 6 h 35"/>
                <a:gd name="T34" fmla="*/ 14 w 57"/>
                <a:gd name="T35" fmla="*/ 9 h 35"/>
                <a:gd name="T36" fmla="*/ 8 w 57"/>
                <a:gd name="T37" fmla="*/ 13 h 35"/>
                <a:gd name="T38" fmla="*/ 4 w 57"/>
                <a:gd name="T39" fmla="*/ 19 h 35"/>
                <a:gd name="T40" fmla="*/ 0 w 57"/>
                <a:gd name="T41" fmla="*/ 28 h 35"/>
                <a:gd name="T42" fmla="*/ 0 w 57"/>
                <a:gd name="T43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5">
                  <a:moveTo>
                    <a:pt x="0" y="28"/>
                  </a:moveTo>
                  <a:lnTo>
                    <a:pt x="0" y="28"/>
                  </a:lnTo>
                  <a:lnTo>
                    <a:pt x="10" y="30"/>
                  </a:lnTo>
                  <a:lnTo>
                    <a:pt x="18" y="33"/>
                  </a:lnTo>
                  <a:lnTo>
                    <a:pt x="28" y="35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5" y="28"/>
                  </a:lnTo>
                  <a:lnTo>
                    <a:pt x="52" y="19"/>
                  </a:lnTo>
                  <a:lnTo>
                    <a:pt x="55" y="15"/>
                  </a:lnTo>
                  <a:lnTo>
                    <a:pt x="57" y="10"/>
                  </a:lnTo>
                  <a:lnTo>
                    <a:pt x="55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8" y="13"/>
                  </a:lnTo>
                  <a:lnTo>
                    <a:pt x="4" y="19"/>
                  </a:lnTo>
                  <a:lnTo>
                    <a:pt x="0" y="28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376"/>
            <p:cNvSpPr>
              <a:spLocks/>
            </p:cNvSpPr>
            <p:nvPr/>
          </p:nvSpPr>
          <p:spPr bwMode="auto">
            <a:xfrm>
              <a:off x="6205" y="2532"/>
              <a:ext cx="251" cy="340"/>
            </a:xfrm>
            <a:custGeom>
              <a:avLst/>
              <a:gdLst>
                <a:gd name="T0" fmla="*/ 207 w 251"/>
                <a:gd name="T1" fmla="*/ 6 h 340"/>
                <a:gd name="T2" fmla="*/ 180 w 251"/>
                <a:gd name="T3" fmla="*/ 2 h 340"/>
                <a:gd name="T4" fmla="*/ 156 w 251"/>
                <a:gd name="T5" fmla="*/ 2 h 340"/>
                <a:gd name="T6" fmla="*/ 133 w 251"/>
                <a:gd name="T7" fmla="*/ 6 h 340"/>
                <a:gd name="T8" fmla="*/ 110 w 251"/>
                <a:gd name="T9" fmla="*/ 16 h 340"/>
                <a:gd name="T10" fmla="*/ 69 w 251"/>
                <a:gd name="T11" fmla="*/ 39 h 340"/>
                <a:gd name="T12" fmla="*/ 28 w 251"/>
                <a:gd name="T13" fmla="*/ 64 h 340"/>
                <a:gd name="T14" fmla="*/ 21 w 251"/>
                <a:gd name="T15" fmla="*/ 73 h 340"/>
                <a:gd name="T16" fmla="*/ 9 w 251"/>
                <a:gd name="T17" fmla="*/ 88 h 340"/>
                <a:gd name="T18" fmla="*/ 4 w 251"/>
                <a:gd name="T19" fmla="*/ 107 h 340"/>
                <a:gd name="T20" fmla="*/ 0 w 251"/>
                <a:gd name="T21" fmla="*/ 137 h 340"/>
                <a:gd name="T22" fmla="*/ 1 w 251"/>
                <a:gd name="T23" fmla="*/ 181 h 340"/>
                <a:gd name="T24" fmla="*/ 2 w 251"/>
                <a:gd name="T25" fmla="*/ 224 h 340"/>
                <a:gd name="T26" fmla="*/ 5 w 251"/>
                <a:gd name="T27" fmla="*/ 235 h 340"/>
                <a:gd name="T28" fmla="*/ 7 w 251"/>
                <a:gd name="T29" fmla="*/ 273 h 340"/>
                <a:gd name="T30" fmla="*/ 11 w 251"/>
                <a:gd name="T31" fmla="*/ 296 h 340"/>
                <a:gd name="T32" fmla="*/ 19 w 251"/>
                <a:gd name="T33" fmla="*/ 312 h 340"/>
                <a:gd name="T34" fmla="*/ 24 w 251"/>
                <a:gd name="T35" fmla="*/ 317 h 340"/>
                <a:gd name="T36" fmla="*/ 42 w 251"/>
                <a:gd name="T37" fmla="*/ 327 h 340"/>
                <a:gd name="T38" fmla="*/ 62 w 251"/>
                <a:gd name="T39" fmla="*/ 334 h 340"/>
                <a:gd name="T40" fmla="*/ 106 w 251"/>
                <a:gd name="T41" fmla="*/ 340 h 340"/>
                <a:gd name="T42" fmla="*/ 153 w 251"/>
                <a:gd name="T43" fmla="*/ 339 h 340"/>
                <a:gd name="T44" fmla="*/ 197 w 251"/>
                <a:gd name="T45" fmla="*/ 332 h 340"/>
                <a:gd name="T46" fmla="*/ 211 w 251"/>
                <a:gd name="T47" fmla="*/ 327 h 340"/>
                <a:gd name="T48" fmla="*/ 237 w 251"/>
                <a:gd name="T49" fmla="*/ 313 h 340"/>
                <a:gd name="T50" fmla="*/ 248 w 251"/>
                <a:gd name="T51" fmla="*/ 305 h 340"/>
                <a:gd name="T52" fmla="*/ 251 w 251"/>
                <a:gd name="T53" fmla="*/ 293 h 340"/>
                <a:gd name="T54" fmla="*/ 247 w 251"/>
                <a:gd name="T55" fmla="*/ 285 h 340"/>
                <a:gd name="T56" fmla="*/ 244 w 251"/>
                <a:gd name="T57" fmla="*/ 283 h 340"/>
                <a:gd name="T58" fmla="*/ 207 w 251"/>
                <a:gd name="T59" fmla="*/ 285 h 340"/>
                <a:gd name="T60" fmla="*/ 173 w 251"/>
                <a:gd name="T61" fmla="*/ 293 h 340"/>
                <a:gd name="T62" fmla="*/ 162 w 251"/>
                <a:gd name="T63" fmla="*/ 296 h 340"/>
                <a:gd name="T64" fmla="*/ 139 w 251"/>
                <a:gd name="T65" fmla="*/ 296 h 340"/>
                <a:gd name="T66" fmla="*/ 118 w 251"/>
                <a:gd name="T67" fmla="*/ 292 h 340"/>
                <a:gd name="T68" fmla="*/ 98 w 251"/>
                <a:gd name="T69" fmla="*/ 283 h 340"/>
                <a:gd name="T70" fmla="*/ 88 w 251"/>
                <a:gd name="T71" fmla="*/ 278 h 340"/>
                <a:gd name="T72" fmla="*/ 78 w 251"/>
                <a:gd name="T73" fmla="*/ 259 h 340"/>
                <a:gd name="T74" fmla="*/ 75 w 251"/>
                <a:gd name="T75" fmla="*/ 243 h 340"/>
                <a:gd name="T76" fmla="*/ 76 w 251"/>
                <a:gd name="T77" fmla="*/ 238 h 340"/>
                <a:gd name="T78" fmla="*/ 75 w 251"/>
                <a:gd name="T79" fmla="*/ 194 h 340"/>
                <a:gd name="T80" fmla="*/ 72 w 251"/>
                <a:gd name="T81" fmla="*/ 148 h 340"/>
                <a:gd name="T82" fmla="*/ 74 w 251"/>
                <a:gd name="T83" fmla="*/ 115 h 340"/>
                <a:gd name="T84" fmla="*/ 79 w 251"/>
                <a:gd name="T85" fmla="*/ 95 h 340"/>
                <a:gd name="T86" fmla="*/ 89 w 251"/>
                <a:gd name="T87" fmla="*/ 77 h 340"/>
                <a:gd name="T88" fmla="*/ 96 w 251"/>
                <a:gd name="T89" fmla="*/ 68 h 340"/>
                <a:gd name="T90" fmla="*/ 103 w 251"/>
                <a:gd name="T91" fmla="*/ 60 h 340"/>
                <a:gd name="T92" fmla="*/ 123 w 251"/>
                <a:gd name="T93" fmla="*/ 51 h 340"/>
                <a:gd name="T94" fmla="*/ 145 w 251"/>
                <a:gd name="T95" fmla="*/ 47 h 340"/>
                <a:gd name="T96" fmla="*/ 166 w 251"/>
                <a:gd name="T97" fmla="*/ 39 h 340"/>
                <a:gd name="T98" fmla="*/ 173 w 251"/>
                <a:gd name="T99" fmla="*/ 31 h 340"/>
                <a:gd name="T100" fmla="*/ 179 w 251"/>
                <a:gd name="T101" fmla="*/ 29 h 340"/>
                <a:gd name="T102" fmla="*/ 199 w 251"/>
                <a:gd name="T103" fmla="*/ 31 h 340"/>
                <a:gd name="T104" fmla="*/ 209 w 251"/>
                <a:gd name="T105" fmla="*/ 30 h 340"/>
                <a:gd name="T106" fmla="*/ 213 w 251"/>
                <a:gd name="T107" fmla="*/ 27 h 340"/>
                <a:gd name="T108" fmla="*/ 207 w 251"/>
                <a:gd name="T109" fmla="*/ 6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1" h="340">
                  <a:moveTo>
                    <a:pt x="207" y="6"/>
                  </a:moveTo>
                  <a:lnTo>
                    <a:pt x="207" y="6"/>
                  </a:lnTo>
                  <a:lnTo>
                    <a:pt x="193" y="3"/>
                  </a:lnTo>
                  <a:lnTo>
                    <a:pt x="180" y="2"/>
                  </a:lnTo>
                  <a:lnTo>
                    <a:pt x="167" y="0"/>
                  </a:lnTo>
                  <a:lnTo>
                    <a:pt x="156" y="2"/>
                  </a:lnTo>
                  <a:lnTo>
                    <a:pt x="145" y="3"/>
                  </a:lnTo>
                  <a:lnTo>
                    <a:pt x="133" y="6"/>
                  </a:lnTo>
                  <a:lnTo>
                    <a:pt x="122" y="10"/>
                  </a:lnTo>
                  <a:lnTo>
                    <a:pt x="110" y="16"/>
                  </a:lnTo>
                  <a:lnTo>
                    <a:pt x="89" y="26"/>
                  </a:lnTo>
                  <a:lnTo>
                    <a:pt x="69" y="39"/>
                  </a:lnTo>
                  <a:lnTo>
                    <a:pt x="49" y="5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1" y="73"/>
                  </a:lnTo>
                  <a:lnTo>
                    <a:pt x="15" y="80"/>
                  </a:lnTo>
                  <a:lnTo>
                    <a:pt x="9" y="88"/>
                  </a:lnTo>
                  <a:lnTo>
                    <a:pt x="7" y="98"/>
                  </a:lnTo>
                  <a:lnTo>
                    <a:pt x="4" y="107"/>
                  </a:lnTo>
                  <a:lnTo>
                    <a:pt x="1" y="117"/>
                  </a:lnTo>
                  <a:lnTo>
                    <a:pt x="0" y="137"/>
                  </a:lnTo>
                  <a:lnTo>
                    <a:pt x="1" y="158"/>
                  </a:lnTo>
                  <a:lnTo>
                    <a:pt x="1" y="181"/>
                  </a:lnTo>
                  <a:lnTo>
                    <a:pt x="2" y="202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5" y="235"/>
                  </a:lnTo>
                  <a:lnTo>
                    <a:pt x="7" y="248"/>
                  </a:lnTo>
                  <a:lnTo>
                    <a:pt x="7" y="273"/>
                  </a:lnTo>
                  <a:lnTo>
                    <a:pt x="8" y="285"/>
                  </a:lnTo>
                  <a:lnTo>
                    <a:pt x="11" y="296"/>
                  </a:lnTo>
                  <a:lnTo>
                    <a:pt x="15" y="307"/>
                  </a:lnTo>
                  <a:lnTo>
                    <a:pt x="19" y="312"/>
                  </a:lnTo>
                  <a:lnTo>
                    <a:pt x="24" y="317"/>
                  </a:lnTo>
                  <a:lnTo>
                    <a:pt x="24" y="317"/>
                  </a:lnTo>
                  <a:lnTo>
                    <a:pt x="32" y="323"/>
                  </a:lnTo>
                  <a:lnTo>
                    <a:pt x="42" y="327"/>
                  </a:lnTo>
                  <a:lnTo>
                    <a:pt x="51" y="332"/>
                  </a:lnTo>
                  <a:lnTo>
                    <a:pt x="62" y="334"/>
                  </a:lnTo>
                  <a:lnTo>
                    <a:pt x="83" y="339"/>
                  </a:lnTo>
                  <a:lnTo>
                    <a:pt x="106" y="340"/>
                  </a:lnTo>
                  <a:lnTo>
                    <a:pt x="130" y="340"/>
                  </a:lnTo>
                  <a:lnTo>
                    <a:pt x="153" y="339"/>
                  </a:lnTo>
                  <a:lnTo>
                    <a:pt x="176" y="336"/>
                  </a:lnTo>
                  <a:lnTo>
                    <a:pt x="197" y="332"/>
                  </a:lnTo>
                  <a:lnTo>
                    <a:pt x="197" y="332"/>
                  </a:lnTo>
                  <a:lnTo>
                    <a:pt x="211" y="327"/>
                  </a:lnTo>
                  <a:lnTo>
                    <a:pt x="224" y="320"/>
                  </a:lnTo>
                  <a:lnTo>
                    <a:pt x="237" y="313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51" y="299"/>
                  </a:lnTo>
                  <a:lnTo>
                    <a:pt x="251" y="293"/>
                  </a:lnTo>
                  <a:lnTo>
                    <a:pt x="250" y="288"/>
                  </a:lnTo>
                  <a:lnTo>
                    <a:pt x="247" y="285"/>
                  </a:lnTo>
                  <a:lnTo>
                    <a:pt x="244" y="283"/>
                  </a:lnTo>
                  <a:lnTo>
                    <a:pt x="244" y="283"/>
                  </a:lnTo>
                  <a:lnTo>
                    <a:pt x="226" y="283"/>
                  </a:lnTo>
                  <a:lnTo>
                    <a:pt x="207" y="285"/>
                  </a:lnTo>
                  <a:lnTo>
                    <a:pt x="190" y="288"/>
                  </a:lnTo>
                  <a:lnTo>
                    <a:pt x="173" y="293"/>
                  </a:lnTo>
                  <a:lnTo>
                    <a:pt x="173" y="293"/>
                  </a:lnTo>
                  <a:lnTo>
                    <a:pt x="162" y="296"/>
                  </a:lnTo>
                  <a:lnTo>
                    <a:pt x="150" y="296"/>
                  </a:lnTo>
                  <a:lnTo>
                    <a:pt x="139" y="296"/>
                  </a:lnTo>
                  <a:lnTo>
                    <a:pt x="128" y="295"/>
                  </a:lnTo>
                  <a:lnTo>
                    <a:pt x="118" y="292"/>
                  </a:lnTo>
                  <a:lnTo>
                    <a:pt x="108" y="288"/>
                  </a:lnTo>
                  <a:lnTo>
                    <a:pt x="98" y="283"/>
                  </a:lnTo>
                  <a:lnTo>
                    <a:pt x="88" y="278"/>
                  </a:lnTo>
                  <a:lnTo>
                    <a:pt x="88" y="278"/>
                  </a:lnTo>
                  <a:lnTo>
                    <a:pt x="82" y="269"/>
                  </a:lnTo>
                  <a:lnTo>
                    <a:pt x="78" y="259"/>
                  </a:lnTo>
                  <a:lnTo>
                    <a:pt x="75" y="249"/>
                  </a:lnTo>
                  <a:lnTo>
                    <a:pt x="75" y="243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6" y="216"/>
                  </a:lnTo>
                  <a:lnTo>
                    <a:pt x="75" y="194"/>
                  </a:lnTo>
                  <a:lnTo>
                    <a:pt x="74" y="171"/>
                  </a:lnTo>
                  <a:lnTo>
                    <a:pt x="72" y="148"/>
                  </a:lnTo>
                  <a:lnTo>
                    <a:pt x="74" y="125"/>
                  </a:lnTo>
                  <a:lnTo>
                    <a:pt x="74" y="115"/>
                  </a:lnTo>
                  <a:lnTo>
                    <a:pt x="76" y="105"/>
                  </a:lnTo>
                  <a:lnTo>
                    <a:pt x="79" y="95"/>
                  </a:lnTo>
                  <a:lnTo>
                    <a:pt x="83" y="86"/>
                  </a:lnTo>
                  <a:lnTo>
                    <a:pt x="89" y="77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101" y="64"/>
                  </a:lnTo>
                  <a:lnTo>
                    <a:pt x="103" y="60"/>
                  </a:lnTo>
                  <a:lnTo>
                    <a:pt x="113" y="54"/>
                  </a:lnTo>
                  <a:lnTo>
                    <a:pt x="123" y="51"/>
                  </a:lnTo>
                  <a:lnTo>
                    <a:pt x="135" y="49"/>
                  </a:lnTo>
                  <a:lnTo>
                    <a:pt x="145" y="47"/>
                  </a:lnTo>
                  <a:lnTo>
                    <a:pt x="156" y="44"/>
                  </a:lnTo>
                  <a:lnTo>
                    <a:pt x="166" y="39"/>
                  </a:lnTo>
                  <a:lnTo>
                    <a:pt x="170" y="36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9" y="29"/>
                  </a:lnTo>
                  <a:lnTo>
                    <a:pt x="186" y="29"/>
                  </a:lnTo>
                  <a:lnTo>
                    <a:pt x="199" y="31"/>
                  </a:lnTo>
                  <a:lnTo>
                    <a:pt x="204" y="31"/>
                  </a:lnTo>
                  <a:lnTo>
                    <a:pt x="209" y="30"/>
                  </a:lnTo>
                  <a:lnTo>
                    <a:pt x="211" y="29"/>
                  </a:lnTo>
                  <a:lnTo>
                    <a:pt x="213" y="27"/>
                  </a:lnTo>
                  <a:lnTo>
                    <a:pt x="213" y="19"/>
                  </a:lnTo>
                  <a:lnTo>
                    <a:pt x="207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377"/>
            <p:cNvSpPr>
              <a:spLocks/>
            </p:cNvSpPr>
            <p:nvPr/>
          </p:nvSpPr>
          <p:spPr bwMode="auto">
            <a:xfrm>
              <a:off x="6930" y="2569"/>
              <a:ext cx="110" cy="295"/>
            </a:xfrm>
            <a:custGeom>
              <a:avLst/>
              <a:gdLst>
                <a:gd name="T0" fmla="*/ 73 w 110"/>
                <a:gd name="T1" fmla="*/ 0 h 295"/>
                <a:gd name="T2" fmla="*/ 73 w 110"/>
                <a:gd name="T3" fmla="*/ 0 h 295"/>
                <a:gd name="T4" fmla="*/ 67 w 110"/>
                <a:gd name="T5" fmla="*/ 2 h 295"/>
                <a:gd name="T6" fmla="*/ 61 w 110"/>
                <a:gd name="T7" fmla="*/ 4 h 295"/>
                <a:gd name="T8" fmla="*/ 57 w 110"/>
                <a:gd name="T9" fmla="*/ 7 h 295"/>
                <a:gd name="T10" fmla="*/ 54 w 110"/>
                <a:gd name="T11" fmla="*/ 12 h 295"/>
                <a:gd name="T12" fmla="*/ 48 w 110"/>
                <a:gd name="T13" fmla="*/ 20 h 295"/>
                <a:gd name="T14" fmla="*/ 43 w 110"/>
                <a:gd name="T15" fmla="*/ 30 h 295"/>
                <a:gd name="T16" fmla="*/ 43 w 110"/>
                <a:gd name="T17" fmla="*/ 30 h 295"/>
                <a:gd name="T18" fmla="*/ 44 w 110"/>
                <a:gd name="T19" fmla="*/ 57 h 295"/>
                <a:gd name="T20" fmla="*/ 41 w 110"/>
                <a:gd name="T21" fmla="*/ 83 h 295"/>
                <a:gd name="T22" fmla="*/ 37 w 110"/>
                <a:gd name="T23" fmla="*/ 108 h 295"/>
                <a:gd name="T24" fmla="*/ 33 w 110"/>
                <a:gd name="T25" fmla="*/ 132 h 295"/>
                <a:gd name="T26" fmla="*/ 26 w 110"/>
                <a:gd name="T27" fmla="*/ 157 h 295"/>
                <a:gd name="T28" fmla="*/ 17 w 110"/>
                <a:gd name="T29" fmla="*/ 181 h 295"/>
                <a:gd name="T30" fmla="*/ 0 w 110"/>
                <a:gd name="T31" fmla="*/ 225 h 295"/>
                <a:gd name="T32" fmla="*/ 0 w 110"/>
                <a:gd name="T33" fmla="*/ 225 h 295"/>
                <a:gd name="T34" fmla="*/ 3 w 110"/>
                <a:gd name="T35" fmla="*/ 245 h 295"/>
                <a:gd name="T36" fmla="*/ 7 w 110"/>
                <a:gd name="T37" fmla="*/ 265 h 295"/>
                <a:gd name="T38" fmla="*/ 11 w 110"/>
                <a:gd name="T39" fmla="*/ 273 h 295"/>
                <a:gd name="T40" fmla="*/ 16 w 110"/>
                <a:gd name="T41" fmla="*/ 280 h 295"/>
                <a:gd name="T42" fmla="*/ 21 w 110"/>
                <a:gd name="T43" fmla="*/ 288 h 295"/>
                <a:gd name="T44" fmla="*/ 28 w 110"/>
                <a:gd name="T45" fmla="*/ 292 h 295"/>
                <a:gd name="T46" fmla="*/ 28 w 110"/>
                <a:gd name="T47" fmla="*/ 292 h 295"/>
                <a:gd name="T48" fmla="*/ 36 w 110"/>
                <a:gd name="T49" fmla="*/ 295 h 295"/>
                <a:gd name="T50" fmla="*/ 44 w 110"/>
                <a:gd name="T51" fmla="*/ 295 h 295"/>
                <a:gd name="T52" fmla="*/ 51 w 110"/>
                <a:gd name="T53" fmla="*/ 295 h 295"/>
                <a:gd name="T54" fmla="*/ 58 w 110"/>
                <a:gd name="T55" fmla="*/ 293 h 295"/>
                <a:gd name="T56" fmla="*/ 65 w 110"/>
                <a:gd name="T57" fmla="*/ 290 h 295"/>
                <a:gd name="T58" fmla="*/ 71 w 110"/>
                <a:gd name="T59" fmla="*/ 286 h 295"/>
                <a:gd name="T60" fmla="*/ 77 w 110"/>
                <a:gd name="T61" fmla="*/ 282 h 295"/>
                <a:gd name="T62" fmla="*/ 81 w 110"/>
                <a:gd name="T63" fmla="*/ 276 h 295"/>
                <a:gd name="T64" fmla="*/ 81 w 110"/>
                <a:gd name="T65" fmla="*/ 276 h 295"/>
                <a:gd name="T66" fmla="*/ 83 w 110"/>
                <a:gd name="T67" fmla="*/ 270 h 295"/>
                <a:gd name="T68" fmla="*/ 84 w 110"/>
                <a:gd name="T69" fmla="*/ 266 h 295"/>
                <a:gd name="T70" fmla="*/ 84 w 110"/>
                <a:gd name="T71" fmla="*/ 262 h 295"/>
                <a:gd name="T72" fmla="*/ 84 w 110"/>
                <a:gd name="T73" fmla="*/ 258 h 295"/>
                <a:gd name="T74" fmla="*/ 81 w 110"/>
                <a:gd name="T75" fmla="*/ 249 h 295"/>
                <a:gd name="T76" fmla="*/ 77 w 110"/>
                <a:gd name="T77" fmla="*/ 242 h 295"/>
                <a:gd name="T78" fmla="*/ 71 w 110"/>
                <a:gd name="T79" fmla="*/ 235 h 295"/>
                <a:gd name="T80" fmla="*/ 68 w 110"/>
                <a:gd name="T81" fmla="*/ 226 h 295"/>
                <a:gd name="T82" fmla="*/ 67 w 110"/>
                <a:gd name="T83" fmla="*/ 222 h 295"/>
                <a:gd name="T84" fmla="*/ 67 w 110"/>
                <a:gd name="T85" fmla="*/ 218 h 295"/>
                <a:gd name="T86" fmla="*/ 68 w 110"/>
                <a:gd name="T87" fmla="*/ 214 h 295"/>
                <a:gd name="T88" fmla="*/ 70 w 110"/>
                <a:gd name="T89" fmla="*/ 209 h 295"/>
                <a:gd name="T90" fmla="*/ 70 w 110"/>
                <a:gd name="T91" fmla="*/ 209 h 295"/>
                <a:gd name="T92" fmla="*/ 81 w 110"/>
                <a:gd name="T93" fmla="*/ 188 h 295"/>
                <a:gd name="T94" fmla="*/ 90 w 110"/>
                <a:gd name="T95" fmla="*/ 167 h 295"/>
                <a:gd name="T96" fmla="*/ 98 w 110"/>
                <a:gd name="T97" fmla="*/ 145 h 295"/>
                <a:gd name="T98" fmla="*/ 102 w 110"/>
                <a:gd name="T99" fmla="*/ 122 h 295"/>
                <a:gd name="T100" fmla="*/ 107 w 110"/>
                <a:gd name="T101" fmla="*/ 98 h 295"/>
                <a:gd name="T102" fmla="*/ 110 w 110"/>
                <a:gd name="T103" fmla="*/ 74 h 295"/>
                <a:gd name="T104" fmla="*/ 110 w 110"/>
                <a:gd name="T105" fmla="*/ 50 h 295"/>
                <a:gd name="T106" fmla="*/ 108 w 110"/>
                <a:gd name="T107" fmla="*/ 24 h 295"/>
                <a:gd name="T108" fmla="*/ 108 w 110"/>
                <a:gd name="T109" fmla="*/ 24 h 295"/>
                <a:gd name="T110" fmla="*/ 105 w 110"/>
                <a:gd name="T111" fmla="*/ 17 h 295"/>
                <a:gd name="T112" fmla="*/ 102 w 110"/>
                <a:gd name="T113" fmla="*/ 13 h 295"/>
                <a:gd name="T114" fmla="*/ 100 w 110"/>
                <a:gd name="T115" fmla="*/ 9 h 295"/>
                <a:gd name="T116" fmla="*/ 95 w 110"/>
                <a:gd name="T117" fmla="*/ 6 h 295"/>
                <a:gd name="T118" fmla="*/ 90 w 110"/>
                <a:gd name="T119" fmla="*/ 3 h 295"/>
                <a:gd name="T120" fmla="*/ 84 w 110"/>
                <a:gd name="T121" fmla="*/ 2 h 295"/>
                <a:gd name="T122" fmla="*/ 73 w 110"/>
                <a:gd name="T123" fmla="*/ 0 h 295"/>
                <a:gd name="T124" fmla="*/ 73 w 110"/>
                <a:gd name="T125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0" h="295">
                  <a:moveTo>
                    <a:pt x="73" y="0"/>
                  </a:moveTo>
                  <a:lnTo>
                    <a:pt x="73" y="0"/>
                  </a:lnTo>
                  <a:lnTo>
                    <a:pt x="67" y="2"/>
                  </a:lnTo>
                  <a:lnTo>
                    <a:pt x="61" y="4"/>
                  </a:lnTo>
                  <a:lnTo>
                    <a:pt x="57" y="7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4" y="57"/>
                  </a:lnTo>
                  <a:lnTo>
                    <a:pt x="41" y="83"/>
                  </a:lnTo>
                  <a:lnTo>
                    <a:pt x="37" y="108"/>
                  </a:lnTo>
                  <a:lnTo>
                    <a:pt x="33" y="132"/>
                  </a:lnTo>
                  <a:lnTo>
                    <a:pt x="26" y="157"/>
                  </a:lnTo>
                  <a:lnTo>
                    <a:pt x="17" y="181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3" y="245"/>
                  </a:lnTo>
                  <a:lnTo>
                    <a:pt x="7" y="265"/>
                  </a:lnTo>
                  <a:lnTo>
                    <a:pt x="11" y="273"/>
                  </a:lnTo>
                  <a:lnTo>
                    <a:pt x="16" y="280"/>
                  </a:lnTo>
                  <a:lnTo>
                    <a:pt x="21" y="288"/>
                  </a:lnTo>
                  <a:lnTo>
                    <a:pt x="28" y="292"/>
                  </a:lnTo>
                  <a:lnTo>
                    <a:pt x="28" y="292"/>
                  </a:lnTo>
                  <a:lnTo>
                    <a:pt x="36" y="295"/>
                  </a:lnTo>
                  <a:lnTo>
                    <a:pt x="44" y="295"/>
                  </a:lnTo>
                  <a:lnTo>
                    <a:pt x="51" y="295"/>
                  </a:lnTo>
                  <a:lnTo>
                    <a:pt x="58" y="293"/>
                  </a:lnTo>
                  <a:lnTo>
                    <a:pt x="65" y="290"/>
                  </a:lnTo>
                  <a:lnTo>
                    <a:pt x="71" y="286"/>
                  </a:lnTo>
                  <a:lnTo>
                    <a:pt x="77" y="282"/>
                  </a:lnTo>
                  <a:lnTo>
                    <a:pt x="81" y="276"/>
                  </a:lnTo>
                  <a:lnTo>
                    <a:pt x="81" y="276"/>
                  </a:lnTo>
                  <a:lnTo>
                    <a:pt x="83" y="270"/>
                  </a:lnTo>
                  <a:lnTo>
                    <a:pt x="84" y="266"/>
                  </a:lnTo>
                  <a:lnTo>
                    <a:pt x="84" y="262"/>
                  </a:lnTo>
                  <a:lnTo>
                    <a:pt x="84" y="258"/>
                  </a:lnTo>
                  <a:lnTo>
                    <a:pt x="81" y="249"/>
                  </a:lnTo>
                  <a:lnTo>
                    <a:pt x="77" y="242"/>
                  </a:lnTo>
                  <a:lnTo>
                    <a:pt x="71" y="235"/>
                  </a:lnTo>
                  <a:lnTo>
                    <a:pt x="68" y="226"/>
                  </a:lnTo>
                  <a:lnTo>
                    <a:pt x="67" y="222"/>
                  </a:lnTo>
                  <a:lnTo>
                    <a:pt x="67" y="218"/>
                  </a:lnTo>
                  <a:lnTo>
                    <a:pt x="68" y="214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81" y="188"/>
                  </a:lnTo>
                  <a:lnTo>
                    <a:pt x="90" y="167"/>
                  </a:lnTo>
                  <a:lnTo>
                    <a:pt x="98" y="145"/>
                  </a:lnTo>
                  <a:lnTo>
                    <a:pt x="102" y="122"/>
                  </a:lnTo>
                  <a:lnTo>
                    <a:pt x="107" y="98"/>
                  </a:lnTo>
                  <a:lnTo>
                    <a:pt x="110" y="74"/>
                  </a:lnTo>
                  <a:lnTo>
                    <a:pt x="110" y="50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5" y="17"/>
                  </a:lnTo>
                  <a:lnTo>
                    <a:pt x="102" y="13"/>
                  </a:lnTo>
                  <a:lnTo>
                    <a:pt x="100" y="9"/>
                  </a:lnTo>
                  <a:lnTo>
                    <a:pt x="95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3" y="0"/>
                  </a:lnTo>
                  <a:lnTo>
                    <a:pt x="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378"/>
            <p:cNvSpPr>
              <a:spLocks/>
            </p:cNvSpPr>
            <p:nvPr/>
          </p:nvSpPr>
          <p:spPr bwMode="auto">
            <a:xfrm>
              <a:off x="7382" y="2317"/>
              <a:ext cx="375" cy="548"/>
            </a:xfrm>
            <a:custGeom>
              <a:avLst/>
              <a:gdLst>
                <a:gd name="T0" fmla="*/ 306 w 375"/>
                <a:gd name="T1" fmla="*/ 3 h 548"/>
                <a:gd name="T2" fmla="*/ 296 w 375"/>
                <a:gd name="T3" fmla="*/ 17 h 548"/>
                <a:gd name="T4" fmla="*/ 292 w 375"/>
                <a:gd name="T5" fmla="*/ 63 h 548"/>
                <a:gd name="T6" fmla="*/ 303 w 375"/>
                <a:gd name="T7" fmla="*/ 214 h 548"/>
                <a:gd name="T8" fmla="*/ 305 w 375"/>
                <a:gd name="T9" fmla="*/ 323 h 548"/>
                <a:gd name="T10" fmla="*/ 295 w 375"/>
                <a:gd name="T11" fmla="*/ 329 h 548"/>
                <a:gd name="T12" fmla="*/ 284 w 375"/>
                <a:gd name="T13" fmla="*/ 325 h 548"/>
                <a:gd name="T14" fmla="*/ 239 w 375"/>
                <a:gd name="T15" fmla="*/ 278 h 548"/>
                <a:gd name="T16" fmla="*/ 235 w 375"/>
                <a:gd name="T17" fmla="*/ 268 h 548"/>
                <a:gd name="T18" fmla="*/ 215 w 375"/>
                <a:gd name="T19" fmla="*/ 258 h 548"/>
                <a:gd name="T20" fmla="*/ 184 w 375"/>
                <a:gd name="T21" fmla="*/ 255 h 548"/>
                <a:gd name="T22" fmla="*/ 167 w 375"/>
                <a:gd name="T23" fmla="*/ 264 h 548"/>
                <a:gd name="T24" fmla="*/ 130 w 375"/>
                <a:gd name="T25" fmla="*/ 268 h 548"/>
                <a:gd name="T26" fmla="*/ 87 w 375"/>
                <a:gd name="T27" fmla="*/ 279 h 548"/>
                <a:gd name="T28" fmla="*/ 27 w 375"/>
                <a:gd name="T29" fmla="*/ 309 h 548"/>
                <a:gd name="T30" fmla="*/ 8 w 375"/>
                <a:gd name="T31" fmla="*/ 363 h 548"/>
                <a:gd name="T32" fmla="*/ 0 w 375"/>
                <a:gd name="T33" fmla="*/ 409 h 548"/>
                <a:gd name="T34" fmla="*/ 6 w 375"/>
                <a:gd name="T35" fmla="*/ 441 h 548"/>
                <a:gd name="T36" fmla="*/ 25 w 375"/>
                <a:gd name="T37" fmla="*/ 480 h 548"/>
                <a:gd name="T38" fmla="*/ 29 w 375"/>
                <a:gd name="T39" fmla="*/ 495 h 548"/>
                <a:gd name="T40" fmla="*/ 40 w 375"/>
                <a:gd name="T41" fmla="*/ 505 h 548"/>
                <a:gd name="T42" fmla="*/ 60 w 375"/>
                <a:gd name="T43" fmla="*/ 508 h 548"/>
                <a:gd name="T44" fmla="*/ 133 w 375"/>
                <a:gd name="T45" fmla="*/ 541 h 548"/>
                <a:gd name="T46" fmla="*/ 192 w 375"/>
                <a:gd name="T47" fmla="*/ 548 h 548"/>
                <a:gd name="T48" fmla="*/ 222 w 375"/>
                <a:gd name="T49" fmla="*/ 544 h 548"/>
                <a:gd name="T50" fmla="*/ 241 w 375"/>
                <a:gd name="T51" fmla="*/ 532 h 548"/>
                <a:gd name="T52" fmla="*/ 261 w 375"/>
                <a:gd name="T53" fmla="*/ 508 h 548"/>
                <a:gd name="T54" fmla="*/ 278 w 375"/>
                <a:gd name="T55" fmla="*/ 508 h 548"/>
                <a:gd name="T56" fmla="*/ 301 w 375"/>
                <a:gd name="T57" fmla="*/ 522 h 548"/>
                <a:gd name="T58" fmla="*/ 325 w 375"/>
                <a:gd name="T59" fmla="*/ 544 h 548"/>
                <a:gd name="T60" fmla="*/ 336 w 375"/>
                <a:gd name="T61" fmla="*/ 547 h 548"/>
                <a:gd name="T62" fmla="*/ 363 w 375"/>
                <a:gd name="T63" fmla="*/ 538 h 548"/>
                <a:gd name="T64" fmla="*/ 375 w 375"/>
                <a:gd name="T65" fmla="*/ 525 h 548"/>
                <a:gd name="T66" fmla="*/ 370 w 375"/>
                <a:gd name="T67" fmla="*/ 504 h 548"/>
                <a:gd name="T68" fmla="*/ 356 w 375"/>
                <a:gd name="T69" fmla="*/ 464 h 548"/>
                <a:gd name="T70" fmla="*/ 355 w 375"/>
                <a:gd name="T71" fmla="*/ 443 h 548"/>
                <a:gd name="T72" fmla="*/ 365 w 375"/>
                <a:gd name="T73" fmla="*/ 325 h 548"/>
                <a:gd name="T74" fmla="*/ 363 w 375"/>
                <a:gd name="T75" fmla="*/ 204 h 548"/>
                <a:gd name="T76" fmla="*/ 356 w 375"/>
                <a:gd name="T77" fmla="*/ 126 h 548"/>
                <a:gd name="T78" fmla="*/ 345 w 375"/>
                <a:gd name="T79" fmla="*/ 42 h 548"/>
                <a:gd name="T80" fmla="*/ 336 w 375"/>
                <a:gd name="T81" fmla="*/ 10 h 548"/>
                <a:gd name="T82" fmla="*/ 318 w 375"/>
                <a:gd name="T83" fmla="*/ 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548">
                  <a:moveTo>
                    <a:pt x="311" y="0"/>
                  </a:moveTo>
                  <a:lnTo>
                    <a:pt x="311" y="0"/>
                  </a:lnTo>
                  <a:lnTo>
                    <a:pt x="306" y="3"/>
                  </a:lnTo>
                  <a:lnTo>
                    <a:pt x="303" y="5"/>
                  </a:lnTo>
                  <a:lnTo>
                    <a:pt x="299" y="10"/>
                  </a:lnTo>
                  <a:lnTo>
                    <a:pt x="296" y="17"/>
                  </a:lnTo>
                  <a:lnTo>
                    <a:pt x="292" y="23"/>
                  </a:lnTo>
                  <a:lnTo>
                    <a:pt x="292" y="23"/>
                  </a:lnTo>
                  <a:lnTo>
                    <a:pt x="292" y="63"/>
                  </a:lnTo>
                  <a:lnTo>
                    <a:pt x="293" y="101"/>
                  </a:lnTo>
                  <a:lnTo>
                    <a:pt x="301" y="177"/>
                  </a:lnTo>
                  <a:lnTo>
                    <a:pt x="303" y="214"/>
                  </a:lnTo>
                  <a:lnTo>
                    <a:pt x="306" y="251"/>
                  </a:lnTo>
                  <a:lnTo>
                    <a:pt x="306" y="288"/>
                  </a:lnTo>
                  <a:lnTo>
                    <a:pt x="305" y="323"/>
                  </a:lnTo>
                  <a:lnTo>
                    <a:pt x="305" y="323"/>
                  </a:lnTo>
                  <a:lnTo>
                    <a:pt x="299" y="329"/>
                  </a:lnTo>
                  <a:lnTo>
                    <a:pt x="295" y="329"/>
                  </a:lnTo>
                  <a:lnTo>
                    <a:pt x="292" y="330"/>
                  </a:lnTo>
                  <a:lnTo>
                    <a:pt x="292" y="330"/>
                  </a:lnTo>
                  <a:lnTo>
                    <a:pt x="284" y="325"/>
                  </a:lnTo>
                  <a:lnTo>
                    <a:pt x="276" y="320"/>
                  </a:lnTo>
                  <a:lnTo>
                    <a:pt x="264" y="308"/>
                  </a:lnTo>
                  <a:lnTo>
                    <a:pt x="239" y="278"/>
                  </a:lnTo>
                  <a:lnTo>
                    <a:pt x="239" y="273"/>
                  </a:lnTo>
                  <a:lnTo>
                    <a:pt x="239" y="273"/>
                  </a:lnTo>
                  <a:lnTo>
                    <a:pt x="235" y="268"/>
                  </a:lnTo>
                  <a:lnTo>
                    <a:pt x="228" y="264"/>
                  </a:lnTo>
                  <a:lnTo>
                    <a:pt x="222" y="261"/>
                  </a:lnTo>
                  <a:lnTo>
                    <a:pt x="215" y="258"/>
                  </a:lnTo>
                  <a:lnTo>
                    <a:pt x="208" y="255"/>
                  </a:lnTo>
                  <a:lnTo>
                    <a:pt x="200" y="255"/>
                  </a:lnTo>
                  <a:lnTo>
                    <a:pt x="184" y="255"/>
                  </a:lnTo>
                  <a:lnTo>
                    <a:pt x="184" y="255"/>
                  </a:lnTo>
                  <a:lnTo>
                    <a:pt x="175" y="261"/>
                  </a:lnTo>
                  <a:lnTo>
                    <a:pt x="167" y="264"/>
                  </a:lnTo>
                  <a:lnTo>
                    <a:pt x="158" y="266"/>
                  </a:lnTo>
                  <a:lnTo>
                    <a:pt x="150" y="266"/>
                  </a:lnTo>
                  <a:lnTo>
                    <a:pt x="13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87" y="279"/>
                  </a:lnTo>
                  <a:lnTo>
                    <a:pt x="63" y="291"/>
                  </a:lnTo>
                  <a:lnTo>
                    <a:pt x="39" y="302"/>
                  </a:lnTo>
                  <a:lnTo>
                    <a:pt x="27" y="309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8" y="363"/>
                  </a:lnTo>
                  <a:lnTo>
                    <a:pt x="3" y="386"/>
                  </a:lnTo>
                  <a:lnTo>
                    <a:pt x="0" y="409"/>
                  </a:lnTo>
                  <a:lnTo>
                    <a:pt x="0" y="409"/>
                  </a:lnTo>
                  <a:lnTo>
                    <a:pt x="0" y="421"/>
                  </a:lnTo>
                  <a:lnTo>
                    <a:pt x="2" y="431"/>
                  </a:lnTo>
                  <a:lnTo>
                    <a:pt x="6" y="441"/>
                  </a:lnTo>
                  <a:lnTo>
                    <a:pt x="10" y="451"/>
                  </a:lnTo>
                  <a:lnTo>
                    <a:pt x="20" y="470"/>
                  </a:lnTo>
                  <a:lnTo>
                    <a:pt x="25" y="480"/>
                  </a:lnTo>
                  <a:lnTo>
                    <a:pt x="27" y="490"/>
                  </a:lnTo>
                  <a:lnTo>
                    <a:pt x="27" y="490"/>
                  </a:lnTo>
                  <a:lnTo>
                    <a:pt x="29" y="495"/>
                  </a:lnTo>
                  <a:lnTo>
                    <a:pt x="32" y="500"/>
                  </a:lnTo>
                  <a:lnTo>
                    <a:pt x="36" y="503"/>
                  </a:lnTo>
                  <a:lnTo>
                    <a:pt x="40" y="505"/>
                  </a:lnTo>
                  <a:lnTo>
                    <a:pt x="50" y="508"/>
                  </a:lnTo>
                  <a:lnTo>
                    <a:pt x="60" y="508"/>
                  </a:lnTo>
                  <a:lnTo>
                    <a:pt x="60" y="508"/>
                  </a:lnTo>
                  <a:lnTo>
                    <a:pt x="96" y="527"/>
                  </a:lnTo>
                  <a:lnTo>
                    <a:pt x="114" y="534"/>
                  </a:lnTo>
                  <a:lnTo>
                    <a:pt x="133" y="541"/>
                  </a:lnTo>
                  <a:lnTo>
                    <a:pt x="151" y="545"/>
                  </a:lnTo>
                  <a:lnTo>
                    <a:pt x="171" y="548"/>
                  </a:lnTo>
                  <a:lnTo>
                    <a:pt x="192" y="548"/>
                  </a:lnTo>
                  <a:lnTo>
                    <a:pt x="215" y="547"/>
                  </a:lnTo>
                  <a:lnTo>
                    <a:pt x="215" y="547"/>
                  </a:lnTo>
                  <a:lnTo>
                    <a:pt x="222" y="544"/>
                  </a:lnTo>
                  <a:lnTo>
                    <a:pt x="229" y="541"/>
                  </a:lnTo>
                  <a:lnTo>
                    <a:pt x="235" y="537"/>
                  </a:lnTo>
                  <a:lnTo>
                    <a:pt x="241" y="532"/>
                  </a:lnTo>
                  <a:lnTo>
                    <a:pt x="249" y="521"/>
                  </a:lnTo>
                  <a:lnTo>
                    <a:pt x="261" y="508"/>
                  </a:lnTo>
                  <a:lnTo>
                    <a:pt x="261" y="508"/>
                  </a:lnTo>
                  <a:lnTo>
                    <a:pt x="266" y="507"/>
                  </a:lnTo>
                  <a:lnTo>
                    <a:pt x="274" y="507"/>
                  </a:lnTo>
                  <a:lnTo>
                    <a:pt x="278" y="508"/>
                  </a:lnTo>
                  <a:lnTo>
                    <a:pt x="284" y="510"/>
                  </a:lnTo>
                  <a:lnTo>
                    <a:pt x="292" y="515"/>
                  </a:lnTo>
                  <a:lnTo>
                    <a:pt x="301" y="522"/>
                  </a:lnTo>
                  <a:lnTo>
                    <a:pt x="308" y="531"/>
                  </a:lnTo>
                  <a:lnTo>
                    <a:pt x="316" y="538"/>
                  </a:lnTo>
                  <a:lnTo>
                    <a:pt x="325" y="544"/>
                  </a:lnTo>
                  <a:lnTo>
                    <a:pt x="330" y="545"/>
                  </a:lnTo>
                  <a:lnTo>
                    <a:pt x="336" y="547"/>
                  </a:lnTo>
                  <a:lnTo>
                    <a:pt x="336" y="547"/>
                  </a:lnTo>
                  <a:lnTo>
                    <a:pt x="348" y="545"/>
                  </a:lnTo>
                  <a:lnTo>
                    <a:pt x="359" y="541"/>
                  </a:lnTo>
                  <a:lnTo>
                    <a:pt x="363" y="538"/>
                  </a:lnTo>
                  <a:lnTo>
                    <a:pt x="369" y="535"/>
                  </a:lnTo>
                  <a:lnTo>
                    <a:pt x="372" y="531"/>
                  </a:lnTo>
                  <a:lnTo>
                    <a:pt x="375" y="525"/>
                  </a:lnTo>
                  <a:lnTo>
                    <a:pt x="375" y="525"/>
                  </a:lnTo>
                  <a:lnTo>
                    <a:pt x="373" y="515"/>
                  </a:lnTo>
                  <a:lnTo>
                    <a:pt x="370" y="504"/>
                  </a:lnTo>
                  <a:lnTo>
                    <a:pt x="363" y="484"/>
                  </a:lnTo>
                  <a:lnTo>
                    <a:pt x="359" y="474"/>
                  </a:lnTo>
                  <a:lnTo>
                    <a:pt x="356" y="464"/>
                  </a:lnTo>
                  <a:lnTo>
                    <a:pt x="355" y="454"/>
                  </a:lnTo>
                  <a:lnTo>
                    <a:pt x="355" y="443"/>
                  </a:lnTo>
                  <a:lnTo>
                    <a:pt x="355" y="443"/>
                  </a:lnTo>
                  <a:lnTo>
                    <a:pt x="359" y="404"/>
                  </a:lnTo>
                  <a:lnTo>
                    <a:pt x="363" y="366"/>
                  </a:lnTo>
                  <a:lnTo>
                    <a:pt x="365" y="325"/>
                  </a:lnTo>
                  <a:lnTo>
                    <a:pt x="366" y="285"/>
                  </a:lnTo>
                  <a:lnTo>
                    <a:pt x="365" y="244"/>
                  </a:lnTo>
                  <a:lnTo>
                    <a:pt x="363" y="204"/>
                  </a:lnTo>
                  <a:lnTo>
                    <a:pt x="360" y="164"/>
                  </a:lnTo>
                  <a:lnTo>
                    <a:pt x="356" y="126"/>
                  </a:lnTo>
                  <a:lnTo>
                    <a:pt x="356" y="126"/>
                  </a:lnTo>
                  <a:lnTo>
                    <a:pt x="352" y="97"/>
                  </a:lnTo>
                  <a:lnTo>
                    <a:pt x="348" y="70"/>
                  </a:lnTo>
                  <a:lnTo>
                    <a:pt x="345" y="42"/>
                  </a:lnTo>
                  <a:lnTo>
                    <a:pt x="339" y="13"/>
                  </a:lnTo>
                  <a:lnTo>
                    <a:pt x="339" y="13"/>
                  </a:lnTo>
                  <a:lnTo>
                    <a:pt x="336" y="10"/>
                  </a:lnTo>
                  <a:lnTo>
                    <a:pt x="333" y="7"/>
                  </a:lnTo>
                  <a:lnTo>
                    <a:pt x="326" y="5"/>
                  </a:lnTo>
                  <a:lnTo>
                    <a:pt x="318" y="3"/>
                  </a:lnTo>
                  <a:lnTo>
                    <a:pt x="311" y="0"/>
                  </a:lnTo>
                  <a:lnTo>
                    <a:pt x="3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379"/>
            <p:cNvSpPr>
              <a:spLocks/>
            </p:cNvSpPr>
            <p:nvPr/>
          </p:nvSpPr>
          <p:spPr bwMode="auto">
            <a:xfrm>
              <a:off x="7461" y="2618"/>
              <a:ext cx="166" cy="203"/>
            </a:xfrm>
            <a:custGeom>
              <a:avLst/>
              <a:gdLst>
                <a:gd name="T0" fmla="*/ 143 w 166"/>
                <a:gd name="T1" fmla="*/ 25 h 203"/>
                <a:gd name="T2" fmla="*/ 143 w 166"/>
                <a:gd name="T3" fmla="*/ 25 h 203"/>
                <a:gd name="T4" fmla="*/ 146 w 166"/>
                <a:gd name="T5" fmla="*/ 41 h 203"/>
                <a:gd name="T6" fmla="*/ 150 w 166"/>
                <a:gd name="T7" fmla="*/ 55 h 203"/>
                <a:gd name="T8" fmla="*/ 153 w 166"/>
                <a:gd name="T9" fmla="*/ 62 h 203"/>
                <a:gd name="T10" fmla="*/ 156 w 166"/>
                <a:gd name="T11" fmla="*/ 69 h 203"/>
                <a:gd name="T12" fmla="*/ 160 w 166"/>
                <a:gd name="T13" fmla="*/ 75 h 203"/>
                <a:gd name="T14" fmla="*/ 166 w 166"/>
                <a:gd name="T15" fmla="*/ 81 h 203"/>
                <a:gd name="T16" fmla="*/ 166 w 166"/>
                <a:gd name="T17" fmla="*/ 81 h 203"/>
                <a:gd name="T18" fmla="*/ 165 w 166"/>
                <a:gd name="T19" fmla="*/ 102 h 203"/>
                <a:gd name="T20" fmla="*/ 162 w 166"/>
                <a:gd name="T21" fmla="*/ 125 h 203"/>
                <a:gd name="T22" fmla="*/ 153 w 166"/>
                <a:gd name="T23" fmla="*/ 169 h 203"/>
                <a:gd name="T24" fmla="*/ 153 w 166"/>
                <a:gd name="T25" fmla="*/ 169 h 203"/>
                <a:gd name="T26" fmla="*/ 146 w 166"/>
                <a:gd name="T27" fmla="*/ 180 h 203"/>
                <a:gd name="T28" fmla="*/ 136 w 166"/>
                <a:gd name="T29" fmla="*/ 189 h 203"/>
                <a:gd name="T30" fmla="*/ 126 w 166"/>
                <a:gd name="T31" fmla="*/ 197 h 203"/>
                <a:gd name="T32" fmla="*/ 113 w 166"/>
                <a:gd name="T33" fmla="*/ 202 h 203"/>
                <a:gd name="T34" fmla="*/ 113 w 166"/>
                <a:gd name="T35" fmla="*/ 202 h 203"/>
                <a:gd name="T36" fmla="*/ 99 w 166"/>
                <a:gd name="T37" fmla="*/ 203 h 203"/>
                <a:gd name="T38" fmla="*/ 85 w 166"/>
                <a:gd name="T39" fmla="*/ 202 h 203"/>
                <a:gd name="T40" fmla="*/ 71 w 166"/>
                <a:gd name="T41" fmla="*/ 199 h 203"/>
                <a:gd name="T42" fmla="*/ 58 w 166"/>
                <a:gd name="T43" fmla="*/ 193 h 203"/>
                <a:gd name="T44" fmla="*/ 47 w 166"/>
                <a:gd name="T45" fmla="*/ 187 h 203"/>
                <a:gd name="T46" fmla="*/ 35 w 166"/>
                <a:gd name="T47" fmla="*/ 179 h 203"/>
                <a:gd name="T48" fmla="*/ 25 w 166"/>
                <a:gd name="T49" fmla="*/ 169 h 203"/>
                <a:gd name="T50" fmla="*/ 18 w 166"/>
                <a:gd name="T51" fmla="*/ 157 h 203"/>
                <a:gd name="T52" fmla="*/ 18 w 166"/>
                <a:gd name="T53" fmla="*/ 157 h 203"/>
                <a:gd name="T54" fmla="*/ 11 w 166"/>
                <a:gd name="T55" fmla="*/ 146 h 203"/>
                <a:gd name="T56" fmla="*/ 5 w 166"/>
                <a:gd name="T57" fmla="*/ 132 h 203"/>
                <a:gd name="T58" fmla="*/ 1 w 166"/>
                <a:gd name="T59" fmla="*/ 116 h 203"/>
                <a:gd name="T60" fmla="*/ 0 w 166"/>
                <a:gd name="T61" fmla="*/ 102 h 203"/>
                <a:gd name="T62" fmla="*/ 0 w 166"/>
                <a:gd name="T63" fmla="*/ 86 h 203"/>
                <a:gd name="T64" fmla="*/ 1 w 166"/>
                <a:gd name="T65" fmla="*/ 71 h 203"/>
                <a:gd name="T66" fmla="*/ 5 w 166"/>
                <a:gd name="T67" fmla="*/ 56 h 203"/>
                <a:gd name="T68" fmla="*/ 12 w 166"/>
                <a:gd name="T69" fmla="*/ 44 h 203"/>
                <a:gd name="T70" fmla="*/ 12 w 166"/>
                <a:gd name="T71" fmla="*/ 44 h 203"/>
                <a:gd name="T72" fmla="*/ 20 w 166"/>
                <a:gd name="T73" fmla="*/ 32 h 203"/>
                <a:gd name="T74" fmla="*/ 30 w 166"/>
                <a:gd name="T75" fmla="*/ 24 h 203"/>
                <a:gd name="T76" fmla="*/ 41 w 166"/>
                <a:gd name="T77" fmla="*/ 17 h 203"/>
                <a:gd name="T78" fmla="*/ 54 w 166"/>
                <a:gd name="T79" fmla="*/ 9 h 203"/>
                <a:gd name="T80" fmla="*/ 68 w 166"/>
                <a:gd name="T81" fmla="*/ 5 h 203"/>
                <a:gd name="T82" fmla="*/ 82 w 166"/>
                <a:gd name="T83" fmla="*/ 2 h 203"/>
                <a:gd name="T84" fmla="*/ 96 w 166"/>
                <a:gd name="T85" fmla="*/ 0 h 203"/>
                <a:gd name="T86" fmla="*/ 109 w 166"/>
                <a:gd name="T87" fmla="*/ 0 h 203"/>
                <a:gd name="T88" fmla="*/ 109 w 166"/>
                <a:gd name="T89" fmla="*/ 0 h 203"/>
                <a:gd name="T90" fmla="*/ 121 w 166"/>
                <a:gd name="T91" fmla="*/ 4 h 203"/>
                <a:gd name="T92" fmla="*/ 129 w 166"/>
                <a:gd name="T93" fmla="*/ 9 h 203"/>
                <a:gd name="T94" fmla="*/ 138 w 166"/>
                <a:gd name="T95" fmla="*/ 17 h 203"/>
                <a:gd name="T96" fmla="*/ 143 w 166"/>
                <a:gd name="T97" fmla="*/ 25 h 203"/>
                <a:gd name="T98" fmla="*/ 143 w 166"/>
                <a:gd name="T99" fmla="*/ 2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6" h="203">
                  <a:moveTo>
                    <a:pt x="143" y="25"/>
                  </a:moveTo>
                  <a:lnTo>
                    <a:pt x="143" y="25"/>
                  </a:lnTo>
                  <a:lnTo>
                    <a:pt x="146" y="41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6" y="69"/>
                  </a:lnTo>
                  <a:lnTo>
                    <a:pt x="160" y="75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5" y="102"/>
                  </a:lnTo>
                  <a:lnTo>
                    <a:pt x="162" y="125"/>
                  </a:lnTo>
                  <a:lnTo>
                    <a:pt x="153" y="169"/>
                  </a:lnTo>
                  <a:lnTo>
                    <a:pt x="153" y="169"/>
                  </a:lnTo>
                  <a:lnTo>
                    <a:pt x="146" y="180"/>
                  </a:lnTo>
                  <a:lnTo>
                    <a:pt x="136" y="189"/>
                  </a:lnTo>
                  <a:lnTo>
                    <a:pt x="126" y="197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99" y="203"/>
                  </a:lnTo>
                  <a:lnTo>
                    <a:pt x="85" y="202"/>
                  </a:lnTo>
                  <a:lnTo>
                    <a:pt x="71" y="199"/>
                  </a:lnTo>
                  <a:lnTo>
                    <a:pt x="58" y="193"/>
                  </a:lnTo>
                  <a:lnTo>
                    <a:pt x="47" y="187"/>
                  </a:lnTo>
                  <a:lnTo>
                    <a:pt x="35" y="179"/>
                  </a:lnTo>
                  <a:lnTo>
                    <a:pt x="25" y="169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1" y="146"/>
                  </a:lnTo>
                  <a:lnTo>
                    <a:pt x="5" y="132"/>
                  </a:lnTo>
                  <a:lnTo>
                    <a:pt x="1" y="116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1" y="71"/>
                  </a:lnTo>
                  <a:lnTo>
                    <a:pt x="5" y="5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20" y="32"/>
                  </a:lnTo>
                  <a:lnTo>
                    <a:pt x="30" y="24"/>
                  </a:lnTo>
                  <a:lnTo>
                    <a:pt x="41" y="17"/>
                  </a:lnTo>
                  <a:lnTo>
                    <a:pt x="54" y="9"/>
                  </a:lnTo>
                  <a:lnTo>
                    <a:pt x="68" y="5"/>
                  </a:lnTo>
                  <a:lnTo>
                    <a:pt x="82" y="2"/>
                  </a:lnTo>
                  <a:lnTo>
                    <a:pt x="9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21" y="4"/>
                  </a:lnTo>
                  <a:lnTo>
                    <a:pt x="129" y="9"/>
                  </a:lnTo>
                  <a:lnTo>
                    <a:pt x="138" y="17"/>
                  </a:lnTo>
                  <a:lnTo>
                    <a:pt x="143" y="25"/>
                  </a:lnTo>
                  <a:lnTo>
                    <a:pt x="143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380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381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382"/>
            <p:cNvSpPr>
              <a:spLocks noEditPoints="1"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  <a:gd name="T18" fmla="*/ 200 w 535"/>
                <a:gd name="T19" fmla="*/ 322 h 541"/>
                <a:gd name="T20" fmla="*/ 299 w 535"/>
                <a:gd name="T21" fmla="*/ 322 h 541"/>
                <a:gd name="T22" fmla="*/ 252 w 535"/>
                <a:gd name="T23" fmla="*/ 137 h 541"/>
                <a:gd name="T24" fmla="*/ 200 w 535"/>
                <a:gd name="T25" fmla="*/ 32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  <a:close/>
                  <a:moveTo>
                    <a:pt x="200" y="322"/>
                  </a:moveTo>
                  <a:lnTo>
                    <a:pt x="299" y="322"/>
                  </a:lnTo>
                  <a:lnTo>
                    <a:pt x="252" y="137"/>
                  </a:lnTo>
                  <a:lnTo>
                    <a:pt x="200" y="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383"/>
            <p:cNvSpPr>
              <a:spLocks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384"/>
            <p:cNvSpPr>
              <a:spLocks/>
            </p:cNvSpPr>
            <p:nvPr/>
          </p:nvSpPr>
          <p:spPr bwMode="auto">
            <a:xfrm>
              <a:off x="6986" y="1551"/>
              <a:ext cx="99" cy="185"/>
            </a:xfrm>
            <a:custGeom>
              <a:avLst/>
              <a:gdLst>
                <a:gd name="T0" fmla="*/ 0 w 99"/>
                <a:gd name="T1" fmla="*/ 185 h 185"/>
                <a:gd name="T2" fmla="*/ 99 w 99"/>
                <a:gd name="T3" fmla="*/ 185 h 185"/>
                <a:gd name="T4" fmla="*/ 52 w 99"/>
                <a:gd name="T5" fmla="*/ 0 h 185"/>
                <a:gd name="T6" fmla="*/ 0 w 99"/>
                <a:gd name="T7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85">
                  <a:moveTo>
                    <a:pt x="0" y="185"/>
                  </a:moveTo>
                  <a:lnTo>
                    <a:pt x="99" y="185"/>
                  </a:lnTo>
                  <a:lnTo>
                    <a:pt x="52" y="0"/>
                  </a:lnTo>
                  <a:lnTo>
                    <a:pt x="0" y="18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385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386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387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  <a:gd name="T52" fmla="*/ 166 w 166"/>
                <a:gd name="T53" fmla="*/ 5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  <a:lnTo>
                    <a:pt x="166" y="54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388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38420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1130300"/>
            <a:ext cx="3932237" cy="11788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171" y="1130301"/>
            <a:ext cx="6172200" cy="504718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365892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126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2192000" cy="11811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708"/>
            <a:ext cx="12192000" cy="1205784"/>
          </a:xfrm>
          <a:prstGeom prst="rect">
            <a:avLst/>
          </a:prstGeom>
        </p:spPr>
      </p:pic>
      <p:grpSp>
        <p:nvGrpSpPr>
          <p:cNvPr id="11" name="Group 363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11500627" y="6215063"/>
            <a:ext cx="585788" cy="538162"/>
            <a:chOff x="5907" y="1132"/>
            <a:chExt cx="2151" cy="1976"/>
          </a:xfrm>
        </p:grpSpPr>
        <p:sp>
          <p:nvSpPr>
            <p:cNvPr id="12" name="Freeform 364"/>
            <p:cNvSpPr>
              <a:spLocks/>
            </p:cNvSpPr>
            <p:nvPr/>
          </p:nvSpPr>
          <p:spPr bwMode="auto">
            <a:xfrm>
              <a:off x="5966" y="2117"/>
              <a:ext cx="2028" cy="0"/>
            </a:xfrm>
            <a:custGeom>
              <a:avLst/>
              <a:gdLst>
                <a:gd name="T0" fmla="*/ 0 w 2028"/>
                <a:gd name="T1" fmla="*/ 2028 w 2028"/>
                <a:gd name="T2" fmla="*/ 0 w 202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28">
                  <a:moveTo>
                    <a:pt x="0" y="0"/>
                  </a:moveTo>
                  <a:lnTo>
                    <a:pt x="202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Line 365"/>
            <p:cNvSpPr>
              <a:spLocks noChangeShapeType="1"/>
            </p:cNvSpPr>
            <p:nvPr/>
          </p:nvSpPr>
          <p:spPr bwMode="auto">
            <a:xfrm>
              <a:off x="5966" y="2117"/>
              <a:ext cx="202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Rectangle 366"/>
            <p:cNvSpPr>
              <a:spLocks noChangeArrowheads="1"/>
            </p:cNvSpPr>
            <p:nvPr/>
          </p:nvSpPr>
          <p:spPr bwMode="auto">
            <a:xfrm>
              <a:off x="5968" y="1194"/>
              <a:ext cx="2030" cy="1853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367"/>
            <p:cNvSpPr>
              <a:spLocks noEditPoints="1"/>
            </p:cNvSpPr>
            <p:nvPr/>
          </p:nvSpPr>
          <p:spPr bwMode="auto">
            <a:xfrm>
              <a:off x="5907" y="1132"/>
              <a:ext cx="2151" cy="1976"/>
            </a:xfrm>
            <a:custGeom>
              <a:avLst/>
              <a:gdLst>
                <a:gd name="T0" fmla="*/ 0 w 2151"/>
                <a:gd name="T1" fmla="*/ 1976 h 1976"/>
                <a:gd name="T2" fmla="*/ 2151 w 2151"/>
                <a:gd name="T3" fmla="*/ 1976 h 1976"/>
                <a:gd name="T4" fmla="*/ 2151 w 2151"/>
                <a:gd name="T5" fmla="*/ 0 h 1976"/>
                <a:gd name="T6" fmla="*/ 0 w 2151"/>
                <a:gd name="T7" fmla="*/ 0 h 1976"/>
                <a:gd name="T8" fmla="*/ 0 w 2151"/>
                <a:gd name="T9" fmla="*/ 1976 h 1976"/>
                <a:gd name="T10" fmla="*/ 123 w 2151"/>
                <a:gd name="T11" fmla="*/ 1854 h 1976"/>
                <a:gd name="T12" fmla="*/ 123 w 2151"/>
                <a:gd name="T13" fmla="*/ 1854 h 1976"/>
                <a:gd name="T14" fmla="*/ 123 w 2151"/>
                <a:gd name="T15" fmla="*/ 1046 h 1976"/>
                <a:gd name="T16" fmla="*/ 2030 w 2151"/>
                <a:gd name="T17" fmla="*/ 1046 h 1976"/>
                <a:gd name="T18" fmla="*/ 2030 w 2151"/>
                <a:gd name="T19" fmla="*/ 1046 h 1976"/>
                <a:gd name="T20" fmla="*/ 2030 w 2151"/>
                <a:gd name="T21" fmla="*/ 1854 h 1976"/>
                <a:gd name="T22" fmla="*/ 2030 w 2151"/>
                <a:gd name="T23" fmla="*/ 1854 h 1976"/>
                <a:gd name="T24" fmla="*/ 123 w 2151"/>
                <a:gd name="T25" fmla="*/ 1854 h 1976"/>
                <a:gd name="T26" fmla="*/ 123 w 2151"/>
                <a:gd name="T27" fmla="*/ 1854 h 1976"/>
                <a:gd name="T28" fmla="*/ 2030 w 2151"/>
                <a:gd name="T29" fmla="*/ 123 h 1976"/>
                <a:gd name="T30" fmla="*/ 2030 w 2151"/>
                <a:gd name="T31" fmla="*/ 123 h 1976"/>
                <a:gd name="T32" fmla="*/ 2030 w 2151"/>
                <a:gd name="T33" fmla="*/ 924 h 1976"/>
                <a:gd name="T34" fmla="*/ 123 w 2151"/>
                <a:gd name="T35" fmla="*/ 924 h 1976"/>
                <a:gd name="T36" fmla="*/ 123 w 2151"/>
                <a:gd name="T37" fmla="*/ 924 h 1976"/>
                <a:gd name="T38" fmla="*/ 123 w 2151"/>
                <a:gd name="T39" fmla="*/ 123 h 1976"/>
                <a:gd name="T40" fmla="*/ 123 w 2151"/>
                <a:gd name="T41" fmla="*/ 123 h 1976"/>
                <a:gd name="T42" fmla="*/ 2030 w 2151"/>
                <a:gd name="T43" fmla="*/ 123 h 1976"/>
                <a:gd name="T44" fmla="*/ 2030 w 2151"/>
                <a:gd name="T45" fmla="*/ 123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51" h="1976">
                  <a:moveTo>
                    <a:pt x="0" y="1976"/>
                  </a:moveTo>
                  <a:lnTo>
                    <a:pt x="2151" y="1976"/>
                  </a:lnTo>
                  <a:lnTo>
                    <a:pt x="2151" y="0"/>
                  </a:lnTo>
                  <a:lnTo>
                    <a:pt x="0" y="0"/>
                  </a:lnTo>
                  <a:lnTo>
                    <a:pt x="0" y="1976"/>
                  </a:lnTo>
                  <a:close/>
                  <a:moveTo>
                    <a:pt x="123" y="1854"/>
                  </a:moveTo>
                  <a:lnTo>
                    <a:pt x="123" y="1854"/>
                  </a:lnTo>
                  <a:lnTo>
                    <a:pt x="123" y="1046"/>
                  </a:lnTo>
                  <a:lnTo>
                    <a:pt x="2030" y="1046"/>
                  </a:lnTo>
                  <a:lnTo>
                    <a:pt x="2030" y="1046"/>
                  </a:lnTo>
                  <a:lnTo>
                    <a:pt x="2030" y="1854"/>
                  </a:lnTo>
                  <a:lnTo>
                    <a:pt x="2030" y="1854"/>
                  </a:lnTo>
                  <a:lnTo>
                    <a:pt x="123" y="1854"/>
                  </a:lnTo>
                  <a:lnTo>
                    <a:pt x="123" y="1854"/>
                  </a:lnTo>
                  <a:close/>
                  <a:moveTo>
                    <a:pt x="2030" y="123"/>
                  </a:moveTo>
                  <a:lnTo>
                    <a:pt x="2030" y="123"/>
                  </a:lnTo>
                  <a:lnTo>
                    <a:pt x="2030" y="924"/>
                  </a:lnTo>
                  <a:lnTo>
                    <a:pt x="123" y="924"/>
                  </a:lnTo>
                  <a:lnTo>
                    <a:pt x="123" y="924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2030" y="123"/>
                  </a:lnTo>
                  <a:lnTo>
                    <a:pt x="2030" y="123"/>
                  </a:lnTo>
                  <a:close/>
                </a:path>
              </a:pathLst>
            </a:custGeom>
            <a:solidFill>
              <a:srgbClr val="EF3E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368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64 h 587"/>
                <a:gd name="T34" fmla="*/ 953 w 1552"/>
                <a:gd name="T35" fmla="*/ 227 h 587"/>
                <a:gd name="T36" fmla="*/ 960 w 1552"/>
                <a:gd name="T37" fmla="*/ 419 h 587"/>
                <a:gd name="T38" fmla="*/ 968 w 1552"/>
                <a:gd name="T39" fmla="*/ 519 h 587"/>
                <a:gd name="T40" fmla="*/ 1034 w 1552"/>
                <a:gd name="T41" fmla="*/ 540 h 587"/>
                <a:gd name="T42" fmla="*/ 1039 w 1552"/>
                <a:gd name="T43" fmla="*/ 458 h 587"/>
                <a:gd name="T44" fmla="*/ 1039 w 1552"/>
                <a:gd name="T45" fmla="*/ 261 h 587"/>
                <a:gd name="T46" fmla="*/ 994 w 1552"/>
                <a:gd name="T47" fmla="*/ 69 h 587"/>
                <a:gd name="T48" fmla="*/ 936 w 1552"/>
                <a:gd name="T49" fmla="*/ 39 h 587"/>
                <a:gd name="T50" fmla="*/ 830 w 1552"/>
                <a:gd name="T51" fmla="*/ 196 h 587"/>
                <a:gd name="T52" fmla="*/ 786 w 1552"/>
                <a:gd name="T53" fmla="*/ 190 h 587"/>
                <a:gd name="T54" fmla="*/ 145 w 1552"/>
                <a:gd name="T55" fmla="*/ 250 h 587"/>
                <a:gd name="T56" fmla="*/ 15 w 1552"/>
                <a:gd name="T57" fmla="*/ 327 h 587"/>
                <a:gd name="T58" fmla="*/ 2 w 1552"/>
                <a:gd name="T59" fmla="*/ 471 h 587"/>
                <a:gd name="T60" fmla="*/ 32 w 1552"/>
                <a:gd name="T61" fmla="*/ 570 h 587"/>
                <a:gd name="T62" fmla="*/ 197 w 1552"/>
                <a:gd name="T63" fmla="*/ 579 h 587"/>
                <a:gd name="T64" fmla="*/ 244 w 1552"/>
                <a:gd name="T65" fmla="*/ 530 h 587"/>
                <a:gd name="T66" fmla="*/ 128 w 1552"/>
                <a:gd name="T67" fmla="*/ 542 h 587"/>
                <a:gd name="T68" fmla="*/ 76 w 1552"/>
                <a:gd name="T69" fmla="*/ 485 h 587"/>
                <a:gd name="T70" fmla="*/ 83 w 1552"/>
                <a:gd name="T71" fmla="*/ 333 h 587"/>
                <a:gd name="T72" fmla="*/ 156 w 1552"/>
                <a:gd name="T73" fmla="*/ 291 h 587"/>
                <a:gd name="T74" fmla="*/ 211 w 1552"/>
                <a:gd name="T75" fmla="*/ 276 h 587"/>
                <a:gd name="T76" fmla="*/ 773 w 1552"/>
                <a:gd name="T77" fmla="*/ 304 h 587"/>
                <a:gd name="T78" fmla="*/ 725 w 1552"/>
                <a:gd name="T79" fmla="*/ 509 h 587"/>
                <a:gd name="T80" fmla="*/ 776 w 1552"/>
                <a:gd name="T81" fmla="*/ 579 h 587"/>
                <a:gd name="T82" fmla="*/ 809 w 1552"/>
                <a:gd name="T83" fmla="*/ 542 h 587"/>
                <a:gd name="T84" fmla="*/ 806 w 1552"/>
                <a:gd name="T85" fmla="*/ 472 h 587"/>
                <a:gd name="T86" fmla="*/ 827 w 1552"/>
                <a:gd name="T87" fmla="*/ 297 h 587"/>
                <a:gd name="T88" fmla="*/ 1480 w 1552"/>
                <a:gd name="T89" fmla="*/ 37 h 587"/>
                <a:gd name="T90" fmla="*/ 1483 w 1552"/>
                <a:gd name="T91" fmla="*/ 320 h 587"/>
                <a:gd name="T92" fmla="*/ 1416 w 1552"/>
                <a:gd name="T93" fmla="*/ 310 h 587"/>
                <a:gd name="T94" fmla="*/ 1361 w 1552"/>
                <a:gd name="T95" fmla="*/ 287 h 587"/>
                <a:gd name="T96" fmla="*/ 1216 w 1552"/>
                <a:gd name="T97" fmla="*/ 334 h 587"/>
                <a:gd name="T98" fmla="*/ 1183 w 1552"/>
                <a:gd name="T99" fmla="*/ 473 h 587"/>
                <a:gd name="T100" fmla="*/ 1227 w 1552"/>
                <a:gd name="T101" fmla="*/ 540 h 587"/>
                <a:gd name="T102" fmla="*/ 1392 w 1552"/>
                <a:gd name="T103" fmla="*/ 579 h 587"/>
                <a:gd name="T104" fmla="*/ 1455 w 1552"/>
                <a:gd name="T105" fmla="*/ 540 h 587"/>
                <a:gd name="T106" fmla="*/ 1525 w 1552"/>
                <a:gd name="T107" fmla="*/ 577 h 587"/>
                <a:gd name="T108" fmla="*/ 1536 w 1552"/>
                <a:gd name="T109" fmla="*/ 506 h 587"/>
                <a:gd name="T110" fmla="*/ 1540 w 1552"/>
                <a:gd name="T111" fmla="*/ 236 h 587"/>
                <a:gd name="T112" fmla="*/ 1510 w 1552"/>
                <a:gd name="T113" fmla="*/ 39 h 587"/>
                <a:gd name="T114" fmla="*/ 1412 w 1552"/>
                <a:gd name="T115" fmla="*/ 402 h 587"/>
                <a:gd name="T116" fmla="*/ 1382 w 1552"/>
                <a:gd name="T117" fmla="*/ 530 h 587"/>
                <a:gd name="T118" fmla="*/ 1274 w 1552"/>
                <a:gd name="T119" fmla="*/ 490 h 587"/>
                <a:gd name="T120" fmla="*/ 1268 w 1552"/>
                <a:gd name="T121" fmla="*/ 377 h 587"/>
                <a:gd name="T122" fmla="*/ 1377 w 1552"/>
                <a:gd name="T123" fmla="*/ 337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noFill/>
            <a:ln w="0">
              <a:solidFill>
                <a:srgbClr val="231F2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369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370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371"/>
            <p:cNvSpPr>
              <a:spLocks/>
            </p:cNvSpPr>
            <p:nvPr/>
          </p:nvSpPr>
          <p:spPr bwMode="auto">
            <a:xfrm>
              <a:off x="6991" y="2462"/>
              <a:ext cx="57" cy="33"/>
            </a:xfrm>
            <a:custGeom>
              <a:avLst/>
              <a:gdLst>
                <a:gd name="T0" fmla="*/ 0 w 57"/>
                <a:gd name="T1" fmla="*/ 26 h 33"/>
                <a:gd name="T2" fmla="*/ 0 w 57"/>
                <a:gd name="T3" fmla="*/ 26 h 33"/>
                <a:gd name="T4" fmla="*/ 10 w 57"/>
                <a:gd name="T5" fmla="*/ 30 h 33"/>
                <a:gd name="T6" fmla="*/ 19 w 57"/>
                <a:gd name="T7" fmla="*/ 33 h 33"/>
                <a:gd name="T8" fmla="*/ 29 w 57"/>
                <a:gd name="T9" fmla="*/ 33 h 33"/>
                <a:gd name="T10" fmla="*/ 39 w 57"/>
                <a:gd name="T11" fmla="*/ 32 h 33"/>
                <a:gd name="T12" fmla="*/ 39 w 57"/>
                <a:gd name="T13" fmla="*/ 32 h 33"/>
                <a:gd name="T14" fmla="*/ 46 w 57"/>
                <a:gd name="T15" fmla="*/ 26 h 33"/>
                <a:gd name="T16" fmla="*/ 53 w 57"/>
                <a:gd name="T17" fmla="*/ 19 h 33"/>
                <a:gd name="T18" fmla="*/ 56 w 57"/>
                <a:gd name="T19" fmla="*/ 15 h 33"/>
                <a:gd name="T20" fmla="*/ 57 w 57"/>
                <a:gd name="T21" fmla="*/ 10 h 33"/>
                <a:gd name="T22" fmla="*/ 56 w 57"/>
                <a:gd name="T23" fmla="*/ 5 h 33"/>
                <a:gd name="T24" fmla="*/ 54 w 57"/>
                <a:gd name="T25" fmla="*/ 0 h 33"/>
                <a:gd name="T26" fmla="*/ 54 w 57"/>
                <a:gd name="T27" fmla="*/ 0 h 33"/>
                <a:gd name="T28" fmla="*/ 37 w 57"/>
                <a:gd name="T29" fmla="*/ 2 h 33"/>
                <a:gd name="T30" fmla="*/ 30 w 57"/>
                <a:gd name="T31" fmla="*/ 3 h 33"/>
                <a:gd name="T32" fmla="*/ 22 w 57"/>
                <a:gd name="T33" fmla="*/ 5 h 33"/>
                <a:gd name="T34" fmla="*/ 16 w 57"/>
                <a:gd name="T35" fmla="*/ 8 h 33"/>
                <a:gd name="T36" fmla="*/ 9 w 57"/>
                <a:gd name="T37" fmla="*/ 13 h 33"/>
                <a:gd name="T38" fmla="*/ 4 w 57"/>
                <a:gd name="T39" fmla="*/ 19 h 33"/>
                <a:gd name="T40" fmla="*/ 0 w 57"/>
                <a:gd name="T41" fmla="*/ 26 h 33"/>
                <a:gd name="T42" fmla="*/ 0 w 57"/>
                <a:gd name="T43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3">
                  <a:moveTo>
                    <a:pt x="0" y="26"/>
                  </a:moveTo>
                  <a:lnTo>
                    <a:pt x="0" y="26"/>
                  </a:lnTo>
                  <a:lnTo>
                    <a:pt x="10" y="30"/>
                  </a:lnTo>
                  <a:lnTo>
                    <a:pt x="19" y="33"/>
                  </a:lnTo>
                  <a:lnTo>
                    <a:pt x="29" y="33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6" y="26"/>
                  </a:lnTo>
                  <a:lnTo>
                    <a:pt x="53" y="19"/>
                  </a:lnTo>
                  <a:lnTo>
                    <a:pt x="56" y="15"/>
                  </a:lnTo>
                  <a:lnTo>
                    <a:pt x="57" y="10"/>
                  </a:lnTo>
                  <a:lnTo>
                    <a:pt x="56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2" y="5"/>
                  </a:lnTo>
                  <a:lnTo>
                    <a:pt x="16" y="8"/>
                  </a:lnTo>
                  <a:lnTo>
                    <a:pt x="9" y="13"/>
                  </a:lnTo>
                  <a:lnTo>
                    <a:pt x="4" y="19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372"/>
            <p:cNvSpPr>
              <a:spLocks noEditPoints="1"/>
            </p:cNvSpPr>
            <p:nvPr/>
          </p:nvSpPr>
          <p:spPr bwMode="auto">
            <a:xfrm>
              <a:off x="6205" y="2285"/>
              <a:ext cx="1552" cy="587"/>
            </a:xfrm>
            <a:custGeom>
              <a:avLst/>
              <a:gdLst>
                <a:gd name="T0" fmla="*/ 442 w 1552"/>
                <a:gd name="T1" fmla="*/ 256 h 587"/>
                <a:gd name="T2" fmla="*/ 553 w 1552"/>
                <a:gd name="T3" fmla="*/ 305 h 587"/>
                <a:gd name="T4" fmla="*/ 618 w 1552"/>
                <a:gd name="T5" fmla="*/ 421 h 587"/>
                <a:gd name="T6" fmla="*/ 591 w 1552"/>
                <a:gd name="T7" fmla="*/ 539 h 587"/>
                <a:gd name="T8" fmla="*/ 540 w 1552"/>
                <a:gd name="T9" fmla="*/ 530 h 587"/>
                <a:gd name="T10" fmla="*/ 550 w 1552"/>
                <a:gd name="T11" fmla="*/ 398 h 587"/>
                <a:gd name="T12" fmla="*/ 468 w 1552"/>
                <a:gd name="T13" fmla="*/ 338 h 587"/>
                <a:gd name="T14" fmla="*/ 415 w 1552"/>
                <a:gd name="T15" fmla="*/ 425 h 587"/>
                <a:gd name="T16" fmla="*/ 398 w 1552"/>
                <a:gd name="T17" fmla="*/ 542 h 587"/>
                <a:gd name="T18" fmla="*/ 340 w 1552"/>
                <a:gd name="T19" fmla="*/ 525 h 587"/>
                <a:gd name="T20" fmla="*/ 335 w 1552"/>
                <a:gd name="T21" fmla="*/ 377 h 587"/>
                <a:gd name="T22" fmla="*/ 358 w 1552"/>
                <a:gd name="T23" fmla="*/ 331 h 587"/>
                <a:gd name="T24" fmla="*/ 391 w 1552"/>
                <a:gd name="T25" fmla="*/ 264 h 587"/>
                <a:gd name="T26" fmla="*/ 379 w 1552"/>
                <a:gd name="T27" fmla="*/ 160 h 587"/>
                <a:gd name="T28" fmla="*/ 354 w 1552"/>
                <a:gd name="T29" fmla="*/ 32 h 587"/>
                <a:gd name="T30" fmla="*/ 402 w 1552"/>
                <a:gd name="T31" fmla="*/ 24 h 587"/>
                <a:gd name="T32" fmla="*/ 921 w 1552"/>
                <a:gd name="T33" fmla="*/ 79 h 587"/>
                <a:gd name="T34" fmla="*/ 954 w 1552"/>
                <a:gd name="T35" fmla="*/ 298 h 587"/>
                <a:gd name="T36" fmla="*/ 958 w 1552"/>
                <a:gd name="T37" fmla="*/ 429 h 587"/>
                <a:gd name="T38" fmla="*/ 968 w 1552"/>
                <a:gd name="T39" fmla="*/ 519 h 587"/>
                <a:gd name="T40" fmla="*/ 1039 w 1552"/>
                <a:gd name="T41" fmla="*/ 537 h 587"/>
                <a:gd name="T42" fmla="*/ 1038 w 1552"/>
                <a:gd name="T43" fmla="*/ 445 h 587"/>
                <a:gd name="T44" fmla="*/ 1037 w 1552"/>
                <a:gd name="T45" fmla="*/ 249 h 587"/>
                <a:gd name="T46" fmla="*/ 994 w 1552"/>
                <a:gd name="T47" fmla="*/ 48 h 587"/>
                <a:gd name="T48" fmla="*/ 936 w 1552"/>
                <a:gd name="T49" fmla="*/ 39 h 587"/>
                <a:gd name="T50" fmla="*/ 833 w 1552"/>
                <a:gd name="T51" fmla="*/ 192 h 587"/>
                <a:gd name="T52" fmla="*/ 782 w 1552"/>
                <a:gd name="T53" fmla="*/ 196 h 587"/>
                <a:gd name="T54" fmla="*/ 133 w 1552"/>
                <a:gd name="T55" fmla="*/ 253 h 587"/>
                <a:gd name="T56" fmla="*/ 9 w 1552"/>
                <a:gd name="T57" fmla="*/ 335 h 587"/>
                <a:gd name="T58" fmla="*/ 5 w 1552"/>
                <a:gd name="T59" fmla="*/ 482 h 587"/>
                <a:gd name="T60" fmla="*/ 42 w 1552"/>
                <a:gd name="T61" fmla="*/ 574 h 587"/>
                <a:gd name="T62" fmla="*/ 211 w 1552"/>
                <a:gd name="T63" fmla="*/ 574 h 587"/>
                <a:gd name="T64" fmla="*/ 244 w 1552"/>
                <a:gd name="T65" fmla="*/ 530 h 587"/>
                <a:gd name="T66" fmla="*/ 118 w 1552"/>
                <a:gd name="T67" fmla="*/ 539 h 587"/>
                <a:gd name="T68" fmla="*/ 76 w 1552"/>
                <a:gd name="T69" fmla="*/ 485 h 587"/>
                <a:gd name="T70" fmla="*/ 89 w 1552"/>
                <a:gd name="T71" fmla="*/ 324 h 587"/>
                <a:gd name="T72" fmla="*/ 166 w 1552"/>
                <a:gd name="T73" fmla="*/ 286 h 587"/>
                <a:gd name="T74" fmla="*/ 213 w 1552"/>
                <a:gd name="T75" fmla="*/ 274 h 587"/>
                <a:gd name="T76" fmla="*/ 768 w 1552"/>
                <a:gd name="T77" fmla="*/ 314 h 587"/>
                <a:gd name="T78" fmla="*/ 728 w 1552"/>
                <a:gd name="T79" fmla="*/ 529 h 587"/>
                <a:gd name="T80" fmla="*/ 783 w 1552"/>
                <a:gd name="T81" fmla="*/ 577 h 587"/>
                <a:gd name="T82" fmla="*/ 806 w 1552"/>
                <a:gd name="T83" fmla="*/ 533 h 587"/>
                <a:gd name="T84" fmla="*/ 815 w 1552"/>
                <a:gd name="T85" fmla="*/ 451 h 587"/>
                <a:gd name="T86" fmla="*/ 825 w 1552"/>
                <a:gd name="T87" fmla="*/ 293 h 587"/>
                <a:gd name="T88" fmla="*/ 1476 w 1552"/>
                <a:gd name="T89" fmla="*/ 42 h 587"/>
                <a:gd name="T90" fmla="*/ 1482 w 1552"/>
                <a:gd name="T91" fmla="*/ 355 h 587"/>
                <a:gd name="T92" fmla="*/ 1416 w 1552"/>
                <a:gd name="T93" fmla="*/ 305 h 587"/>
                <a:gd name="T94" fmla="*/ 1352 w 1552"/>
                <a:gd name="T95" fmla="*/ 293 h 587"/>
                <a:gd name="T96" fmla="*/ 1204 w 1552"/>
                <a:gd name="T97" fmla="*/ 341 h 587"/>
                <a:gd name="T98" fmla="*/ 1187 w 1552"/>
                <a:gd name="T99" fmla="*/ 483 h 587"/>
                <a:gd name="T100" fmla="*/ 1237 w 1552"/>
                <a:gd name="T101" fmla="*/ 540 h 587"/>
                <a:gd name="T102" fmla="*/ 1399 w 1552"/>
                <a:gd name="T103" fmla="*/ 576 h 587"/>
                <a:gd name="T104" fmla="*/ 1461 w 1552"/>
                <a:gd name="T105" fmla="*/ 542 h 587"/>
                <a:gd name="T106" fmla="*/ 1536 w 1552"/>
                <a:gd name="T107" fmla="*/ 573 h 587"/>
                <a:gd name="T108" fmla="*/ 1533 w 1552"/>
                <a:gd name="T109" fmla="*/ 496 h 587"/>
                <a:gd name="T110" fmla="*/ 1537 w 1552"/>
                <a:gd name="T111" fmla="*/ 196 h 587"/>
                <a:gd name="T112" fmla="*/ 1503 w 1552"/>
                <a:gd name="T113" fmla="*/ 37 h 587"/>
                <a:gd name="T114" fmla="*/ 1416 w 1552"/>
                <a:gd name="T115" fmla="*/ 408 h 587"/>
                <a:gd name="T116" fmla="*/ 1369 w 1552"/>
                <a:gd name="T117" fmla="*/ 535 h 587"/>
                <a:gd name="T118" fmla="*/ 1274 w 1552"/>
                <a:gd name="T119" fmla="*/ 490 h 587"/>
                <a:gd name="T120" fmla="*/ 1276 w 1552"/>
                <a:gd name="T121" fmla="*/ 365 h 587"/>
                <a:gd name="T122" fmla="*/ 1385 w 1552"/>
                <a:gd name="T123" fmla="*/ 34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2" h="587">
                  <a:moveTo>
                    <a:pt x="412" y="62"/>
                  </a:moveTo>
                  <a:lnTo>
                    <a:pt x="412" y="62"/>
                  </a:lnTo>
                  <a:lnTo>
                    <a:pt x="418" y="84"/>
                  </a:lnTo>
                  <a:lnTo>
                    <a:pt x="423" y="105"/>
                  </a:lnTo>
                  <a:lnTo>
                    <a:pt x="429" y="152"/>
                  </a:lnTo>
                  <a:lnTo>
                    <a:pt x="435" y="197"/>
                  </a:lnTo>
                  <a:lnTo>
                    <a:pt x="439" y="219"/>
                  </a:lnTo>
                  <a:lnTo>
                    <a:pt x="446" y="241"/>
                  </a:lnTo>
                  <a:lnTo>
                    <a:pt x="446" y="241"/>
                  </a:lnTo>
                  <a:lnTo>
                    <a:pt x="442" y="256"/>
                  </a:lnTo>
                  <a:lnTo>
                    <a:pt x="439" y="273"/>
                  </a:lnTo>
                  <a:lnTo>
                    <a:pt x="439" y="280"/>
                  </a:lnTo>
                  <a:lnTo>
                    <a:pt x="439" y="288"/>
                  </a:lnTo>
                  <a:lnTo>
                    <a:pt x="441" y="296"/>
                  </a:lnTo>
                  <a:lnTo>
                    <a:pt x="443" y="304"/>
                  </a:lnTo>
                  <a:lnTo>
                    <a:pt x="443" y="304"/>
                  </a:lnTo>
                  <a:lnTo>
                    <a:pt x="492" y="301"/>
                  </a:lnTo>
                  <a:lnTo>
                    <a:pt x="517" y="301"/>
                  </a:lnTo>
                  <a:lnTo>
                    <a:pt x="542" y="304"/>
                  </a:lnTo>
                  <a:lnTo>
                    <a:pt x="553" y="305"/>
                  </a:lnTo>
                  <a:lnTo>
                    <a:pt x="564" y="310"/>
                  </a:lnTo>
                  <a:lnTo>
                    <a:pt x="574" y="314"/>
                  </a:lnTo>
                  <a:lnTo>
                    <a:pt x="584" y="318"/>
                  </a:lnTo>
                  <a:lnTo>
                    <a:pt x="593" y="325"/>
                  </a:lnTo>
                  <a:lnTo>
                    <a:pt x="600" y="334"/>
                  </a:lnTo>
                  <a:lnTo>
                    <a:pt x="607" y="344"/>
                  </a:lnTo>
                  <a:lnTo>
                    <a:pt x="613" y="355"/>
                  </a:lnTo>
                  <a:lnTo>
                    <a:pt x="613" y="355"/>
                  </a:lnTo>
                  <a:lnTo>
                    <a:pt x="617" y="398"/>
                  </a:lnTo>
                  <a:lnTo>
                    <a:pt x="618" y="421"/>
                  </a:lnTo>
                  <a:lnTo>
                    <a:pt x="620" y="445"/>
                  </a:lnTo>
                  <a:lnTo>
                    <a:pt x="620" y="468"/>
                  </a:lnTo>
                  <a:lnTo>
                    <a:pt x="617" y="489"/>
                  </a:lnTo>
                  <a:lnTo>
                    <a:pt x="614" y="499"/>
                  </a:lnTo>
                  <a:lnTo>
                    <a:pt x="611" y="510"/>
                  </a:lnTo>
                  <a:lnTo>
                    <a:pt x="607" y="519"/>
                  </a:lnTo>
                  <a:lnTo>
                    <a:pt x="601" y="529"/>
                  </a:lnTo>
                  <a:lnTo>
                    <a:pt x="601" y="529"/>
                  </a:lnTo>
                  <a:lnTo>
                    <a:pt x="597" y="535"/>
                  </a:lnTo>
                  <a:lnTo>
                    <a:pt x="591" y="539"/>
                  </a:lnTo>
                  <a:lnTo>
                    <a:pt x="584" y="543"/>
                  </a:lnTo>
                  <a:lnTo>
                    <a:pt x="579" y="546"/>
                  </a:lnTo>
                  <a:lnTo>
                    <a:pt x="571" y="547"/>
                  </a:lnTo>
                  <a:lnTo>
                    <a:pt x="564" y="547"/>
                  </a:lnTo>
                  <a:lnTo>
                    <a:pt x="557" y="547"/>
                  </a:lnTo>
                  <a:lnTo>
                    <a:pt x="550" y="546"/>
                  </a:lnTo>
                  <a:lnTo>
                    <a:pt x="550" y="546"/>
                  </a:lnTo>
                  <a:lnTo>
                    <a:pt x="544" y="540"/>
                  </a:lnTo>
                  <a:lnTo>
                    <a:pt x="542" y="536"/>
                  </a:lnTo>
                  <a:lnTo>
                    <a:pt x="540" y="530"/>
                  </a:lnTo>
                  <a:lnTo>
                    <a:pt x="539" y="523"/>
                  </a:lnTo>
                  <a:lnTo>
                    <a:pt x="540" y="512"/>
                  </a:lnTo>
                  <a:lnTo>
                    <a:pt x="542" y="499"/>
                  </a:lnTo>
                  <a:lnTo>
                    <a:pt x="546" y="493"/>
                  </a:lnTo>
                  <a:lnTo>
                    <a:pt x="546" y="493"/>
                  </a:lnTo>
                  <a:lnTo>
                    <a:pt x="550" y="463"/>
                  </a:lnTo>
                  <a:lnTo>
                    <a:pt x="553" y="446"/>
                  </a:lnTo>
                  <a:lnTo>
                    <a:pt x="553" y="431"/>
                  </a:lnTo>
                  <a:lnTo>
                    <a:pt x="553" y="414"/>
                  </a:lnTo>
                  <a:lnTo>
                    <a:pt x="550" y="398"/>
                  </a:lnTo>
                  <a:lnTo>
                    <a:pt x="544" y="385"/>
                  </a:lnTo>
                  <a:lnTo>
                    <a:pt x="542" y="378"/>
                  </a:lnTo>
                  <a:lnTo>
                    <a:pt x="537" y="372"/>
                  </a:lnTo>
                  <a:lnTo>
                    <a:pt x="537" y="372"/>
                  </a:lnTo>
                  <a:lnTo>
                    <a:pt x="529" y="361"/>
                  </a:lnTo>
                  <a:lnTo>
                    <a:pt x="519" y="352"/>
                  </a:lnTo>
                  <a:lnTo>
                    <a:pt x="507" y="347"/>
                  </a:lnTo>
                  <a:lnTo>
                    <a:pt x="495" y="342"/>
                  </a:lnTo>
                  <a:lnTo>
                    <a:pt x="480" y="340"/>
                  </a:lnTo>
                  <a:lnTo>
                    <a:pt x="468" y="338"/>
                  </a:lnTo>
                  <a:lnTo>
                    <a:pt x="453" y="340"/>
                  </a:lnTo>
                  <a:lnTo>
                    <a:pt x="439" y="341"/>
                  </a:lnTo>
                  <a:lnTo>
                    <a:pt x="439" y="341"/>
                  </a:lnTo>
                  <a:lnTo>
                    <a:pt x="433" y="348"/>
                  </a:lnTo>
                  <a:lnTo>
                    <a:pt x="429" y="355"/>
                  </a:lnTo>
                  <a:lnTo>
                    <a:pt x="425" y="362"/>
                  </a:lnTo>
                  <a:lnTo>
                    <a:pt x="422" y="371"/>
                  </a:lnTo>
                  <a:lnTo>
                    <a:pt x="418" y="388"/>
                  </a:lnTo>
                  <a:lnTo>
                    <a:pt x="415" y="405"/>
                  </a:lnTo>
                  <a:lnTo>
                    <a:pt x="415" y="425"/>
                  </a:lnTo>
                  <a:lnTo>
                    <a:pt x="415" y="445"/>
                  </a:lnTo>
                  <a:lnTo>
                    <a:pt x="415" y="483"/>
                  </a:lnTo>
                  <a:lnTo>
                    <a:pt x="415" y="483"/>
                  </a:lnTo>
                  <a:lnTo>
                    <a:pt x="415" y="492"/>
                  </a:lnTo>
                  <a:lnTo>
                    <a:pt x="415" y="500"/>
                  </a:lnTo>
                  <a:lnTo>
                    <a:pt x="414" y="510"/>
                  </a:lnTo>
                  <a:lnTo>
                    <a:pt x="411" y="519"/>
                  </a:lnTo>
                  <a:lnTo>
                    <a:pt x="408" y="527"/>
                  </a:lnTo>
                  <a:lnTo>
                    <a:pt x="404" y="535"/>
                  </a:lnTo>
                  <a:lnTo>
                    <a:pt x="398" y="542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2" y="549"/>
                  </a:lnTo>
                  <a:lnTo>
                    <a:pt x="374" y="547"/>
                  </a:lnTo>
                  <a:lnTo>
                    <a:pt x="367" y="547"/>
                  </a:lnTo>
                  <a:lnTo>
                    <a:pt x="359" y="544"/>
                  </a:lnTo>
                  <a:lnTo>
                    <a:pt x="354" y="542"/>
                  </a:lnTo>
                  <a:lnTo>
                    <a:pt x="348" y="537"/>
                  </a:lnTo>
                  <a:lnTo>
                    <a:pt x="344" y="532"/>
                  </a:lnTo>
                  <a:lnTo>
                    <a:pt x="340" y="525"/>
                  </a:lnTo>
                  <a:lnTo>
                    <a:pt x="340" y="525"/>
                  </a:lnTo>
                  <a:lnTo>
                    <a:pt x="340" y="503"/>
                  </a:lnTo>
                  <a:lnTo>
                    <a:pt x="341" y="482"/>
                  </a:lnTo>
                  <a:lnTo>
                    <a:pt x="344" y="459"/>
                  </a:lnTo>
                  <a:lnTo>
                    <a:pt x="347" y="436"/>
                  </a:lnTo>
                  <a:lnTo>
                    <a:pt x="347" y="415"/>
                  </a:lnTo>
                  <a:lnTo>
                    <a:pt x="345" y="405"/>
                  </a:lnTo>
                  <a:lnTo>
                    <a:pt x="342" y="395"/>
                  </a:lnTo>
                  <a:lnTo>
                    <a:pt x="340" y="387"/>
                  </a:lnTo>
                  <a:lnTo>
                    <a:pt x="335" y="377"/>
                  </a:lnTo>
                  <a:lnTo>
                    <a:pt x="328" y="370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58"/>
                  </a:lnTo>
                  <a:lnTo>
                    <a:pt x="324" y="354"/>
                  </a:lnTo>
                  <a:lnTo>
                    <a:pt x="328" y="348"/>
                  </a:lnTo>
                  <a:lnTo>
                    <a:pt x="337" y="344"/>
                  </a:lnTo>
                  <a:lnTo>
                    <a:pt x="344" y="340"/>
                  </a:lnTo>
                  <a:lnTo>
                    <a:pt x="352" y="337"/>
                  </a:lnTo>
                  <a:lnTo>
                    <a:pt x="358" y="331"/>
                  </a:lnTo>
                  <a:lnTo>
                    <a:pt x="361" y="328"/>
                  </a:lnTo>
                  <a:lnTo>
                    <a:pt x="362" y="324"/>
                  </a:lnTo>
                  <a:lnTo>
                    <a:pt x="364" y="320"/>
                  </a:lnTo>
                  <a:lnTo>
                    <a:pt x="364" y="314"/>
                  </a:lnTo>
                  <a:lnTo>
                    <a:pt x="364" y="314"/>
                  </a:lnTo>
                  <a:lnTo>
                    <a:pt x="372" y="305"/>
                  </a:lnTo>
                  <a:lnTo>
                    <a:pt x="379" y="296"/>
                  </a:lnTo>
                  <a:lnTo>
                    <a:pt x="385" y="286"/>
                  </a:lnTo>
                  <a:lnTo>
                    <a:pt x="388" y="276"/>
                  </a:lnTo>
                  <a:lnTo>
                    <a:pt x="391" y="264"/>
                  </a:lnTo>
                  <a:lnTo>
                    <a:pt x="392" y="253"/>
                  </a:lnTo>
                  <a:lnTo>
                    <a:pt x="392" y="241"/>
                  </a:lnTo>
                  <a:lnTo>
                    <a:pt x="391" y="230"/>
                  </a:lnTo>
                  <a:lnTo>
                    <a:pt x="391" y="230"/>
                  </a:lnTo>
                  <a:lnTo>
                    <a:pt x="386" y="224"/>
                  </a:lnTo>
                  <a:lnTo>
                    <a:pt x="384" y="219"/>
                  </a:lnTo>
                  <a:lnTo>
                    <a:pt x="379" y="205"/>
                  </a:lnTo>
                  <a:lnTo>
                    <a:pt x="378" y="190"/>
                  </a:lnTo>
                  <a:lnTo>
                    <a:pt x="378" y="176"/>
                  </a:lnTo>
                  <a:lnTo>
                    <a:pt x="379" y="160"/>
                  </a:lnTo>
                  <a:lnTo>
                    <a:pt x="378" y="146"/>
                  </a:lnTo>
                  <a:lnTo>
                    <a:pt x="377" y="133"/>
                  </a:lnTo>
                  <a:lnTo>
                    <a:pt x="374" y="126"/>
                  </a:lnTo>
                  <a:lnTo>
                    <a:pt x="371" y="121"/>
                  </a:lnTo>
                  <a:lnTo>
                    <a:pt x="371" y="121"/>
                  </a:lnTo>
                  <a:lnTo>
                    <a:pt x="362" y="91"/>
                  </a:lnTo>
                  <a:lnTo>
                    <a:pt x="358" y="74"/>
                  </a:lnTo>
                  <a:lnTo>
                    <a:pt x="354" y="57"/>
                  </a:lnTo>
                  <a:lnTo>
                    <a:pt x="354" y="41"/>
                  </a:lnTo>
                  <a:lnTo>
                    <a:pt x="354" y="32"/>
                  </a:lnTo>
                  <a:lnTo>
                    <a:pt x="357" y="25"/>
                  </a:lnTo>
                  <a:lnTo>
                    <a:pt x="358" y="18"/>
                  </a:lnTo>
                  <a:lnTo>
                    <a:pt x="362" y="11"/>
                  </a:lnTo>
                  <a:lnTo>
                    <a:pt x="368" y="5"/>
                  </a:lnTo>
                  <a:lnTo>
                    <a:pt x="375" y="0"/>
                  </a:lnTo>
                  <a:lnTo>
                    <a:pt x="375" y="0"/>
                  </a:lnTo>
                  <a:lnTo>
                    <a:pt x="385" y="3"/>
                  </a:lnTo>
                  <a:lnTo>
                    <a:pt x="392" y="8"/>
                  </a:lnTo>
                  <a:lnTo>
                    <a:pt x="398" y="15"/>
                  </a:lnTo>
                  <a:lnTo>
                    <a:pt x="402" y="24"/>
                  </a:lnTo>
                  <a:lnTo>
                    <a:pt x="405" y="34"/>
                  </a:lnTo>
                  <a:lnTo>
                    <a:pt x="408" y="44"/>
                  </a:lnTo>
                  <a:lnTo>
                    <a:pt x="412" y="62"/>
                  </a:lnTo>
                  <a:close/>
                  <a:moveTo>
                    <a:pt x="936" y="39"/>
                  </a:moveTo>
                  <a:lnTo>
                    <a:pt x="936" y="39"/>
                  </a:lnTo>
                  <a:lnTo>
                    <a:pt x="930" y="44"/>
                  </a:lnTo>
                  <a:lnTo>
                    <a:pt x="924" y="49"/>
                  </a:lnTo>
                  <a:lnTo>
                    <a:pt x="923" y="55"/>
                  </a:lnTo>
                  <a:lnTo>
                    <a:pt x="921" y="64"/>
                  </a:lnTo>
                  <a:lnTo>
                    <a:pt x="921" y="79"/>
                  </a:lnTo>
                  <a:lnTo>
                    <a:pt x="923" y="95"/>
                  </a:lnTo>
                  <a:lnTo>
                    <a:pt x="923" y="95"/>
                  </a:lnTo>
                  <a:lnTo>
                    <a:pt x="931" y="109"/>
                  </a:lnTo>
                  <a:lnTo>
                    <a:pt x="937" y="125"/>
                  </a:lnTo>
                  <a:lnTo>
                    <a:pt x="943" y="142"/>
                  </a:lnTo>
                  <a:lnTo>
                    <a:pt x="946" y="158"/>
                  </a:lnTo>
                  <a:lnTo>
                    <a:pt x="948" y="175"/>
                  </a:lnTo>
                  <a:lnTo>
                    <a:pt x="951" y="192"/>
                  </a:lnTo>
                  <a:lnTo>
                    <a:pt x="953" y="227"/>
                  </a:lnTo>
                  <a:lnTo>
                    <a:pt x="954" y="298"/>
                  </a:lnTo>
                  <a:lnTo>
                    <a:pt x="957" y="333"/>
                  </a:lnTo>
                  <a:lnTo>
                    <a:pt x="960" y="367"/>
                  </a:lnTo>
                  <a:lnTo>
                    <a:pt x="960" y="367"/>
                  </a:lnTo>
                  <a:lnTo>
                    <a:pt x="965" y="375"/>
                  </a:lnTo>
                  <a:lnTo>
                    <a:pt x="967" y="384"/>
                  </a:lnTo>
                  <a:lnTo>
                    <a:pt x="967" y="392"/>
                  </a:lnTo>
                  <a:lnTo>
                    <a:pt x="964" y="401"/>
                  </a:lnTo>
                  <a:lnTo>
                    <a:pt x="961" y="409"/>
                  </a:lnTo>
                  <a:lnTo>
                    <a:pt x="960" y="419"/>
                  </a:lnTo>
                  <a:lnTo>
                    <a:pt x="958" y="429"/>
                  </a:lnTo>
                  <a:lnTo>
                    <a:pt x="960" y="439"/>
                  </a:lnTo>
                  <a:lnTo>
                    <a:pt x="960" y="439"/>
                  </a:lnTo>
                  <a:lnTo>
                    <a:pt x="964" y="448"/>
                  </a:lnTo>
                  <a:lnTo>
                    <a:pt x="965" y="458"/>
                  </a:lnTo>
                  <a:lnTo>
                    <a:pt x="967" y="468"/>
                  </a:lnTo>
                  <a:lnTo>
                    <a:pt x="967" y="478"/>
                  </a:lnTo>
                  <a:lnTo>
                    <a:pt x="967" y="499"/>
                  </a:lnTo>
                  <a:lnTo>
                    <a:pt x="967" y="509"/>
                  </a:lnTo>
                  <a:lnTo>
                    <a:pt x="968" y="519"/>
                  </a:lnTo>
                  <a:lnTo>
                    <a:pt x="968" y="519"/>
                  </a:lnTo>
                  <a:lnTo>
                    <a:pt x="974" y="526"/>
                  </a:lnTo>
                  <a:lnTo>
                    <a:pt x="980" y="533"/>
                  </a:lnTo>
                  <a:lnTo>
                    <a:pt x="987" y="537"/>
                  </a:lnTo>
                  <a:lnTo>
                    <a:pt x="995" y="542"/>
                  </a:lnTo>
                  <a:lnTo>
                    <a:pt x="1004" y="543"/>
                  </a:lnTo>
                  <a:lnTo>
                    <a:pt x="1014" y="543"/>
                  </a:lnTo>
                  <a:lnTo>
                    <a:pt x="1024" y="543"/>
                  </a:lnTo>
                  <a:lnTo>
                    <a:pt x="1034" y="540"/>
                  </a:lnTo>
                  <a:lnTo>
                    <a:pt x="1034" y="540"/>
                  </a:lnTo>
                  <a:lnTo>
                    <a:pt x="1039" y="537"/>
                  </a:lnTo>
                  <a:lnTo>
                    <a:pt x="1045" y="533"/>
                  </a:lnTo>
                  <a:lnTo>
                    <a:pt x="1048" y="529"/>
                  </a:lnTo>
                  <a:lnTo>
                    <a:pt x="1051" y="523"/>
                  </a:lnTo>
                  <a:lnTo>
                    <a:pt x="1052" y="517"/>
                  </a:lnTo>
                  <a:lnTo>
                    <a:pt x="1052" y="512"/>
                  </a:lnTo>
                  <a:lnTo>
                    <a:pt x="1051" y="499"/>
                  </a:lnTo>
                  <a:lnTo>
                    <a:pt x="1047" y="485"/>
                  </a:lnTo>
                  <a:lnTo>
                    <a:pt x="1044" y="471"/>
                  </a:lnTo>
                  <a:lnTo>
                    <a:pt x="1039" y="458"/>
                  </a:lnTo>
                  <a:lnTo>
                    <a:pt x="1038" y="445"/>
                  </a:lnTo>
                  <a:lnTo>
                    <a:pt x="1038" y="445"/>
                  </a:lnTo>
                  <a:lnTo>
                    <a:pt x="1037" y="431"/>
                  </a:lnTo>
                  <a:lnTo>
                    <a:pt x="1037" y="416"/>
                  </a:lnTo>
                  <a:lnTo>
                    <a:pt x="1038" y="388"/>
                  </a:lnTo>
                  <a:lnTo>
                    <a:pt x="1042" y="331"/>
                  </a:lnTo>
                  <a:lnTo>
                    <a:pt x="1044" y="303"/>
                  </a:lnTo>
                  <a:lnTo>
                    <a:pt x="1044" y="288"/>
                  </a:lnTo>
                  <a:lnTo>
                    <a:pt x="1042" y="276"/>
                  </a:lnTo>
                  <a:lnTo>
                    <a:pt x="1039" y="261"/>
                  </a:lnTo>
                  <a:lnTo>
                    <a:pt x="1037" y="249"/>
                  </a:lnTo>
                  <a:lnTo>
                    <a:pt x="1031" y="236"/>
                  </a:lnTo>
                  <a:lnTo>
                    <a:pt x="1025" y="223"/>
                  </a:lnTo>
                  <a:lnTo>
                    <a:pt x="1025" y="223"/>
                  </a:lnTo>
                  <a:lnTo>
                    <a:pt x="1022" y="200"/>
                  </a:lnTo>
                  <a:lnTo>
                    <a:pt x="1018" y="177"/>
                  </a:lnTo>
                  <a:lnTo>
                    <a:pt x="1007" y="135"/>
                  </a:lnTo>
                  <a:lnTo>
                    <a:pt x="1001" y="113"/>
                  </a:lnTo>
                  <a:lnTo>
                    <a:pt x="997" y="92"/>
                  </a:lnTo>
                  <a:lnTo>
                    <a:pt x="994" y="69"/>
                  </a:lnTo>
                  <a:lnTo>
                    <a:pt x="994" y="48"/>
                  </a:lnTo>
                  <a:lnTo>
                    <a:pt x="994" y="48"/>
                  </a:lnTo>
                  <a:lnTo>
                    <a:pt x="988" y="41"/>
                  </a:lnTo>
                  <a:lnTo>
                    <a:pt x="983" y="35"/>
                  </a:lnTo>
                  <a:lnTo>
                    <a:pt x="975" y="34"/>
                  </a:lnTo>
                  <a:lnTo>
                    <a:pt x="968" y="32"/>
                  </a:lnTo>
                  <a:lnTo>
                    <a:pt x="960" y="32"/>
                  </a:lnTo>
                  <a:lnTo>
                    <a:pt x="951" y="34"/>
                  </a:lnTo>
                  <a:lnTo>
                    <a:pt x="943" y="37"/>
                  </a:lnTo>
                  <a:lnTo>
                    <a:pt x="936" y="39"/>
                  </a:lnTo>
                  <a:lnTo>
                    <a:pt x="936" y="39"/>
                  </a:lnTo>
                  <a:close/>
                  <a:moveTo>
                    <a:pt x="778" y="205"/>
                  </a:moveTo>
                  <a:lnTo>
                    <a:pt x="778" y="205"/>
                  </a:lnTo>
                  <a:lnTo>
                    <a:pt x="788" y="207"/>
                  </a:lnTo>
                  <a:lnTo>
                    <a:pt x="796" y="210"/>
                  </a:lnTo>
                  <a:lnTo>
                    <a:pt x="806" y="212"/>
                  </a:lnTo>
                  <a:lnTo>
                    <a:pt x="816" y="209"/>
                  </a:lnTo>
                  <a:lnTo>
                    <a:pt x="816" y="209"/>
                  </a:lnTo>
                  <a:lnTo>
                    <a:pt x="823" y="205"/>
                  </a:lnTo>
                  <a:lnTo>
                    <a:pt x="830" y="196"/>
                  </a:lnTo>
                  <a:lnTo>
                    <a:pt x="833" y="192"/>
                  </a:lnTo>
                  <a:lnTo>
                    <a:pt x="835" y="187"/>
                  </a:lnTo>
                  <a:lnTo>
                    <a:pt x="833" y="182"/>
                  </a:lnTo>
                  <a:lnTo>
                    <a:pt x="832" y="177"/>
                  </a:lnTo>
                  <a:lnTo>
                    <a:pt x="832" y="177"/>
                  </a:lnTo>
                  <a:lnTo>
                    <a:pt x="815" y="179"/>
                  </a:lnTo>
                  <a:lnTo>
                    <a:pt x="808" y="180"/>
                  </a:lnTo>
                  <a:lnTo>
                    <a:pt x="799" y="183"/>
                  </a:lnTo>
                  <a:lnTo>
                    <a:pt x="792" y="186"/>
                  </a:lnTo>
                  <a:lnTo>
                    <a:pt x="786" y="190"/>
                  </a:lnTo>
                  <a:lnTo>
                    <a:pt x="782" y="196"/>
                  </a:lnTo>
                  <a:lnTo>
                    <a:pt x="778" y="205"/>
                  </a:lnTo>
                  <a:lnTo>
                    <a:pt x="778" y="205"/>
                  </a:lnTo>
                  <a:close/>
                  <a:moveTo>
                    <a:pt x="207" y="253"/>
                  </a:moveTo>
                  <a:lnTo>
                    <a:pt x="207" y="253"/>
                  </a:lnTo>
                  <a:lnTo>
                    <a:pt x="193" y="250"/>
                  </a:lnTo>
                  <a:lnTo>
                    <a:pt x="180" y="249"/>
                  </a:lnTo>
                  <a:lnTo>
                    <a:pt x="167" y="247"/>
                  </a:lnTo>
                  <a:lnTo>
                    <a:pt x="156" y="249"/>
                  </a:lnTo>
                  <a:lnTo>
                    <a:pt x="145" y="250"/>
                  </a:lnTo>
                  <a:lnTo>
                    <a:pt x="133" y="253"/>
                  </a:lnTo>
                  <a:lnTo>
                    <a:pt x="122" y="257"/>
                  </a:lnTo>
                  <a:lnTo>
                    <a:pt x="110" y="263"/>
                  </a:lnTo>
                  <a:lnTo>
                    <a:pt x="89" y="273"/>
                  </a:lnTo>
                  <a:lnTo>
                    <a:pt x="69" y="286"/>
                  </a:lnTo>
                  <a:lnTo>
                    <a:pt x="49" y="300"/>
                  </a:lnTo>
                  <a:lnTo>
                    <a:pt x="28" y="311"/>
                  </a:lnTo>
                  <a:lnTo>
                    <a:pt x="28" y="311"/>
                  </a:lnTo>
                  <a:lnTo>
                    <a:pt x="21" y="320"/>
                  </a:lnTo>
                  <a:lnTo>
                    <a:pt x="15" y="327"/>
                  </a:lnTo>
                  <a:lnTo>
                    <a:pt x="9" y="335"/>
                  </a:lnTo>
                  <a:lnTo>
                    <a:pt x="7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84"/>
                  </a:lnTo>
                  <a:lnTo>
                    <a:pt x="1" y="405"/>
                  </a:lnTo>
                  <a:lnTo>
                    <a:pt x="1" y="428"/>
                  </a:lnTo>
                  <a:lnTo>
                    <a:pt x="2" y="449"/>
                  </a:lnTo>
                  <a:lnTo>
                    <a:pt x="2" y="471"/>
                  </a:lnTo>
                  <a:lnTo>
                    <a:pt x="2" y="471"/>
                  </a:lnTo>
                  <a:lnTo>
                    <a:pt x="5" y="482"/>
                  </a:lnTo>
                  <a:lnTo>
                    <a:pt x="7" y="495"/>
                  </a:lnTo>
                  <a:lnTo>
                    <a:pt x="7" y="520"/>
                  </a:lnTo>
                  <a:lnTo>
                    <a:pt x="8" y="532"/>
                  </a:lnTo>
                  <a:lnTo>
                    <a:pt x="11" y="543"/>
                  </a:lnTo>
                  <a:lnTo>
                    <a:pt x="15" y="554"/>
                  </a:lnTo>
                  <a:lnTo>
                    <a:pt x="19" y="559"/>
                  </a:lnTo>
                  <a:lnTo>
                    <a:pt x="24" y="564"/>
                  </a:lnTo>
                  <a:lnTo>
                    <a:pt x="24" y="564"/>
                  </a:lnTo>
                  <a:lnTo>
                    <a:pt x="32" y="570"/>
                  </a:lnTo>
                  <a:lnTo>
                    <a:pt x="42" y="574"/>
                  </a:lnTo>
                  <a:lnTo>
                    <a:pt x="51" y="579"/>
                  </a:lnTo>
                  <a:lnTo>
                    <a:pt x="62" y="581"/>
                  </a:lnTo>
                  <a:lnTo>
                    <a:pt x="83" y="586"/>
                  </a:lnTo>
                  <a:lnTo>
                    <a:pt x="106" y="587"/>
                  </a:lnTo>
                  <a:lnTo>
                    <a:pt x="130" y="587"/>
                  </a:lnTo>
                  <a:lnTo>
                    <a:pt x="153" y="586"/>
                  </a:lnTo>
                  <a:lnTo>
                    <a:pt x="176" y="583"/>
                  </a:lnTo>
                  <a:lnTo>
                    <a:pt x="197" y="579"/>
                  </a:lnTo>
                  <a:lnTo>
                    <a:pt x="197" y="579"/>
                  </a:lnTo>
                  <a:lnTo>
                    <a:pt x="211" y="574"/>
                  </a:lnTo>
                  <a:lnTo>
                    <a:pt x="224" y="567"/>
                  </a:lnTo>
                  <a:lnTo>
                    <a:pt x="237" y="560"/>
                  </a:lnTo>
                  <a:lnTo>
                    <a:pt x="248" y="552"/>
                  </a:lnTo>
                  <a:lnTo>
                    <a:pt x="248" y="552"/>
                  </a:lnTo>
                  <a:lnTo>
                    <a:pt x="251" y="546"/>
                  </a:lnTo>
                  <a:lnTo>
                    <a:pt x="251" y="540"/>
                  </a:lnTo>
                  <a:lnTo>
                    <a:pt x="250" y="535"/>
                  </a:lnTo>
                  <a:lnTo>
                    <a:pt x="247" y="532"/>
                  </a:lnTo>
                  <a:lnTo>
                    <a:pt x="244" y="530"/>
                  </a:lnTo>
                  <a:lnTo>
                    <a:pt x="244" y="530"/>
                  </a:lnTo>
                  <a:lnTo>
                    <a:pt x="226" y="530"/>
                  </a:lnTo>
                  <a:lnTo>
                    <a:pt x="207" y="532"/>
                  </a:lnTo>
                  <a:lnTo>
                    <a:pt x="190" y="535"/>
                  </a:lnTo>
                  <a:lnTo>
                    <a:pt x="173" y="540"/>
                  </a:lnTo>
                  <a:lnTo>
                    <a:pt x="173" y="540"/>
                  </a:lnTo>
                  <a:lnTo>
                    <a:pt x="162" y="543"/>
                  </a:lnTo>
                  <a:lnTo>
                    <a:pt x="150" y="543"/>
                  </a:lnTo>
                  <a:lnTo>
                    <a:pt x="139" y="543"/>
                  </a:lnTo>
                  <a:lnTo>
                    <a:pt x="128" y="542"/>
                  </a:lnTo>
                  <a:lnTo>
                    <a:pt x="118" y="539"/>
                  </a:lnTo>
                  <a:lnTo>
                    <a:pt x="108" y="535"/>
                  </a:lnTo>
                  <a:lnTo>
                    <a:pt x="98" y="530"/>
                  </a:lnTo>
                  <a:lnTo>
                    <a:pt x="88" y="525"/>
                  </a:lnTo>
                  <a:lnTo>
                    <a:pt x="88" y="525"/>
                  </a:lnTo>
                  <a:lnTo>
                    <a:pt x="82" y="516"/>
                  </a:lnTo>
                  <a:lnTo>
                    <a:pt x="78" y="506"/>
                  </a:lnTo>
                  <a:lnTo>
                    <a:pt x="75" y="496"/>
                  </a:lnTo>
                  <a:lnTo>
                    <a:pt x="75" y="490"/>
                  </a:lnTo>
                  <a:lnTo>
                    <a:pt x="76" y="485"/>
                  </a:lnTo>
                  <a:lnTo>
                    <a:pt x="76" y="485"/>
                  </a:lnTo>
                  <a:lnTo>
                    <a:pt x="76" y="463"/>
                  </a:lnTo>
                  <a:lnTo>
                    <a:pt x="75" y="441"/>
                  </a:lnTo>
                  <a:lnTo>
                    <a:pt x="74" y="418"/>
                  </a:lnTo>
                  <a:lnTo>
                    <a:pt x="72" y="395"/>
                  </a:lnTo>
                  <a:lnTo>
                    <a:pt x="74" y="372"/>
                  </a:lnTo>
                  <a:lnTo>
                    <a:pt x="74" y="362"/>
                  </a:lnTo>
                  <a:lnTo>
                    <a:pt x="76" y="352"/>
                  </a:lnTo>
                  <a:lnTo>
                    <a:pt x="79" y="342"/>
                  </a:lnTo>
                  <a:lnTo>
                    <a:pt x="83" y="333"/>
                  </a:lnTo>
                  <a:lnTo>
                    <a:pt x="89" y="324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101" y="311"/>
                  </a:lnTo>
                  <a:lnTo>
                    <a:pt x="103" y="307"/>
                  </a:lnTo>
                  <a:lnTo>
                    <a:pt x="113" y="301"/>
                  </a:lnTo>
                  <a:lnTo>
                    <a:pt x="123" y="298"/>
                  </a:lnTo>
                  <a:lnTo>
                    <a:pt x="135" y="296"/>
                  </a:lnTo>
                  <a:lnTo>
                    <a:pt x="145" y="294"/>
                  </a:lnTo>
                  <a:lnTo>
                    <a:pt x="156" y="291"/>
                  </a:lnTo>
                  <a:lnTo>
                    <a:pt x="166" y="286"/>
                  </a:lnTo>
                  <a:lnTo>
                    <a:pt x="170" y="283"/>
                  </a:lnTo>
                  <a:lnTo>
                    <a:pt x="173" y="278"/>
                  </a:lnTo>
                  <a:lnTo>
                    <a:pt x="173" y="278"/>
                  </a:lnTo>
                  <a:lnTo>
                    <a:pt x="179" y="276"/>
                  </a:lnTo>
                  <a:lnTo>
                    <a:pt x="186" y="276"/>
                  </a:lnTo>
                  <a:lnTo>
                    <a:pt x="199" y="278"/>
                  </a:lnTo>
                  <a:lnTo>
                    <a:pt x="204" y="278"/>
                  </a:lnTo>
                  <a:lnTo>
                    <a:pt x="209" y="277"/>
                  </a:lnTo>
                  <a:lnTo>
                    <a:pt x="211" y="276"/>
                  </a:lnTo>
                  <a:lnTo>
                    <a:pt x="213" y="274"/>
                  </a:lnTo>
                  <a:lnTo>
                    <a:pt x="213" y="266"/>
                  </a:lnTo>
                  <a:lnTo>
                    <a:pt x="207" y="253"/>
                  </a:lnTo>
                  <a:close/>
                  <a:moveTo>
                    <a:pt x="798" y="284"/>
                  </a:moveTo>
                  <a:lnTo>
                    <a:pt x="798" y="284"/>
                  </a:lnTo>
                  <a:lnTo>
                    <a:pt x="792" y="286"/>
                  </a:lnTo>
                  <a:lnTo>
                    <a:pt x="786" y="288"/>
                  </a:lnTo>
                  <a:lnTo>
                    <a:pt x="782" y="291"/>
                  </a:lnTo>
                  <a:lnTo>
                    <a:pt x="779" y="296"/>
                  </a:lnTo>
                  <a:lnTo>
                    <a:pt x="773" y="304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9" y="341"/>
                  </a:lnTo>
                  <a:lnTo>
                    <a:pt x="766" y="367"/>
                  </a:lnTo>
                  <a:lnTo>
                    <a:pt x="762" y="392"/>
                  </a:lnTo>
                  <a:lnTo>
                    <a:pt x="758" y="416"/>
                  </a:lnTo>
                  <a:lnTo>
                    <a:pt x="751" y="441"/>
                  </a:lnTo>
                  <a:lnTo>
                    <a:pt x="742" y="465"/>
                  </a:lnTo>
                  <a:lnTo>
                    <a:pt x="725" y="509"/>
                  </a:lnTo>
                  <a:lnTo>
                    <a:pt x="725" y="509"/>
                  </a:lnTo>
                  <a:lnTo>
                    <a:pt x="728" y="529"/>
                  </a:lnTo>
                  <a:lnTo>
                    <a:pt x="732" y="549"/>
                  </a:lnTo>
                  <a:lnTo>
                    <a:pt x="736" y="557"/>
                  </a:lnTo>
                  <a:lnTo>
                    <a:pt x="741" y="564"/>
                  </a:lnTo>
                  <a:lnTo>
                    <a:pt x="746" y="572"/>
                  </a:lnTo>
                  <a:lnTo>
                    <a:pt x="753" y="576"/>
                  </a:lnTo>
                  <a:lnTo>
                    <a:pt x="753" y="576"/>
                  </a:lnTo>
                  <a:lnTo>
                    <a:pt x="761" y="579"/>
                  </a:lnTo>
                  <a:lnTo>
                    <a:pt x="769" y="579"/>
                  </a:lnTo>
                  <a:lnTo>
                    <a:pt x="776" y="579"/>
                  </a:lnTo>
                  <a:lnTo>
                    <a:pt x="783" y="577"/>
                  </a:lnTo>
                  <a:lnTo>
                    <a:pt x="790" y="574"/>
                  </a:lnTo>
                  <a:lnTo>
                    <a:pt x="796" y="570"/>
                  </a:lnTo>
                  <a:lnTo>
                    <a:pt x="802" y="566"/>
                  </a:lnTo>
                  <a:lnTo>
                    <a:pt x="806" y="560"/>
                  </a:lnTo>
                  <a:lnTo>
                    <a:pt x="806" y="560"/>
                  </a:lnTo>
                  <a:lnTo>
                    <a:pt x="808" y="554"/>
                  </a:lnTo>
                  <a:lnTo>
                    <a:pt x="809" y="550"/>
                  </a:lnTo>
                  <a:lnTo>
                    <a:pt x="809" y="546"/>
                  </a:lnTo>
                  <a:lnTo>
                    <a:pt x="809" y="542"/>
                  </a:lnTo>
                  <a:lnTo>
                    <a:pt x="806" y="533"/>
                  </a:lnTo>
                  <a:lnTo>
                    <a:pt x="802" y="526"/>
                  </a:lnTo>
                  <a:lnTo>
                    <a:pt x="796" y="519"/>
                  </a:lnTo>
                  <a:lnTo>
                    <a:pt x="793" y="510"/>
                  </a:lnTo>
                  <a:lnTo>
                    <a:pt x="792" y="506"/>
                  </a:lnTo>
                  <a:lnTo>
                    <a:pt x="792" y="502"/>
                  </a:lnTo>
                  <a:lnTo>
                    <a:pt x="793" y="498"/>
                  </a:lnTo>
                  <a:lnTo>
                    <a:pt x="795" y="493"/>
                  </a:lnTo>
                  <a:lnTo>
                    <a:pt x="795" y="493"/>
                  </a:lnTo>
                  <a:lnTo>
                    <a:pt x="806" y="472"/>
                  </a:lnTo>
                  <a:lnTo>
                    <a:pt x="815" y="451"/>
                  </a:lnTo>
                  <a:lnTo>
                    <a:pt x="823" y="429"/>
                  </a:lnTo>
                  <a:lnTo>
                    <a:pt x="827" y="406"/>
                  </a:lnTo>
                  <a:lnTo>
                    <a:pt x="832" y="382"/>
                  </a:lnTo>
                  <a:lnTo>
                    <a:pt x="835" y="358"/>
                  </a:lnTo>
                  <a:lnTo>
                    <a:pt x="835" y="334"/>
                  </a:lnTo>
                  <a:lnTo>
                    <a:pt x="833" y="308"/>
                  </a:lnTo>
                  <a:lnTo>
                    <a:pt x="833" y="308"/>
                  </a:lnTo>
                  <a:lnTo>
                    <a:pt x="830" y="301"/>
                  </a:lnTo>
                  <a:lnTo>
                    <a:pt x="827" y="297"/>
                  </a:lnTo>
                  <a:lnTo>
                    <a:pt x="825" y="293"/>
                  </a:lnTo>
                  <a:lnTo>
                    <a:pt x="820" y="290"/>
                  </a:lnTo>
                  <a:lnTo>
                    <a:pt x="815" y="287"/>
                  </a:lnTo>
                  <a:lnTo>
                    <a:pt x="809" y="286"/>
                  </a:lnTo>
                  <a:lnTo>
                    <a:pt x="798" y="284"/>
                  </a:lnTo>
                  <a:lnTo>
                    <a:pt x="798" y="284"/>
                  </a:lnTo>
                  <a:close/>
                  <a:moveTo>
                    <a:pt x="1488" y="32"/>
                  </a:moveTo>
                  <a:lnTo>
                    <a:pt x="1488" y="32"/>
                  </a:lnTo>
                  <a:lnTo>
                    <a:pt x="1483" y="35"/>
                  </a:lnTo>
                  <a:lnTo>
                    <a:pt x="1480" y="37"/>
                  </a:lnTo>
                  <a:lnTo>
                    <a:pt x="1476" y="42"/>
                  </a:lnTo>
                  <a:lnTo>
                    <a:pt x="1473" y="49"/>
                  </a:lnTo>
                  <a:lnTo>
                    <a:pt x="1469" y="55"/>
                  </a:lnTo>
                  <a:lnTo>
                    <a:pt x="1469" y="55"/>
                  </a:lnTo>
                  <a:lnTo>
                    <a:pt x="1469" y="95"/>
                  </a:lnTo>
                  <a:lnTo>
                    <a:pt x="1470" y="133"/>
                  </a:lnTo>
                  <a:lnTo>
                    <a:pt x="1478" y="209"/>
                  </a:lnTo>
                  <a:lnTo>
                    <a:pt x="1480" y="246"/>
                  </a:lnTo>
                  <a:lnTo>
                    <a:pt x="1483" y="283"/>
                  </a:lnTo>
                  <a:lnTo>
                    <a:pt x="1483" y="320"/>
                  </a:lnTo>
                  <a:lnTo>
                    <a:pt x="1482" y="355"/>
                  </a:lnTo>
                  <a:lnTo>
                    <a:pt x="1482" y="355"/>
                  </a:lnTo>
                  <a:lnTo>
                    <a:pt x="1476" y="361"/>
                  </a:lnTo>
                  <a:lnTo>
                    <a:pt x="1472" y="361"/>
                  </a:lnTo>
                  <a:lnTo>
                    <a:pt x="1469" y="362"/>
                  </a:lnTo>
                  <a:lnTo>
                    <a:pt x="1469" y="362"/>
                  </a:lnTo>
                  <a:lnTo>
                    <a:pt x="1461" y="357"/>
                  </a:lnTo>
                  <a:lnTo>
                    <a:pt x="1453" y="352"/>
                  </a:lnTo>
                  <a:lnTo>
                    <a:pt x="1441" y="340"/>
                  </a:lnTo>
                  <a:lnTo>
                    <a:pt x="1416" y="310"/>
                  </a:lnTo>
                  <a:lnTo>
                    <a:pt x="1416" y="305"/>
                  </a:lnTo>
                  <a:lnTo>
                    <a:pt x="1416" y="305"/>
                  </a:lnTo>
                  <a:lnTo>
                    <a:pt x="1412" y="300"/>
                  </a:lnTo>
                  <a:lnTo>
                    <a:pt x="1405" y="296"/>
                  </a:lnTo>
                  <a:lnTo>
                    <a:pt x="1399" y="293"/>
                  </a:lnTo>
                  <a:lnTo>
                    <a:pt x="1392" y="290"/>
                  </a:lnTo>
                  <a:lnTo>
                    <a:pt x="1385" y="287"/>
                  </a:lnTo>
                  <a:lnTo>
                    <a:pt x="1377" y="287"/>
                  </a:lnTo>
                  <a:lnTo>
                    <a:pt x="1361" y="287"/>
                  </a:lnTo>
                  <a:lnTo>
                    <a:pt x="1361" y="287"/>
                  </a:lnTo>
                  <a:lnTo>
                    <a:pt x="1352" y="293"/>
                  </a:lnTo>
                  <a:lnTo>
                    <a:pt x="1344" y="296"/>
                  </a:lnTo>
                  <a:lnTo>
                    <a:pt x="1335" y="298"/>
                  </a:lnTo>
                  <a:lnTo>
                    <a:pt x="1327" y="298"/>
                  </a:lnTo>
                  <a:lnTo>
                    <a:pt x="1307" y="300"/>
                  </a:lnTo>
                  <a:lnTo>
                    <a:pt x="1287" y="300"/>
                  </a:lnTo>
                  <a:lnTo>
                    <a:pt x="1287" y="300"/>
                  </a:lnTo>
                  <a:lnTo>
                    <a:pt x="1264" y="311"/>
                  </a:lnTo>
                  <a:lnTo>
                    <a:pt x="1240" y="323"/>
                  </a:lnTo>
                  <a:lnTo>
                    <a:pt x="1216" y="334"/>
                  </a:lnTo>
                  <a:lnTo>
                    <a:pt x="1204" y="341"/>
                  </a:lnTo>
                  <a:lnTo>
                    <a:pt x="1193" y="350"/>
                  </a:lnTo>
                  <a:lnTo>
                    <a:pt x="1193" y="350"/>
                  </a:lnTo>
                  <a:lnTo>
                    <a:pt x="1185" y="395"/>
                  </a:lnTo>
                  <a:lnTo>
                    <a:pt x="1180" y="418"/>
                  </a:lnTo>
                  <a:lnTo>
                    <a:pt x="1177" y="441"/>
                  </a:lnTo>
                  <a:lnTo>
                    <a:pt x="1177" y="441"/>
                  </a:lnTo>
                  <a:lnTo>
                    <a:pt x="1177" y="453"/>
                  </a:lnTo>
                  <a:lnTo>
                    <a:pt x="1179" y="463"/>
                  </a:lnTo>
                  <a:lnTo>
                    <a:pt x="1183" y="473"/>
                  </a:lnTo>
                  <a:lnTo>
                    <a:pt x="1187" y="483"/>
                  </a:lnTo>
                  <a:lnTo>
                    <a:pt x="1197" y="502"/>
                  </a:lnTo>
                  <a:lnTo>
                    <a:pt x="1202" y="512"/>
                  </a:lnTo>
                  <a:lnTo>
                    <a:pt x="1204" y="522"/>
                  </a:lnTo>
                  <a:lnTo>
                    <a:pt x="1204" y="522"/>
                  </a:lnTo>
                  <a:lnTo>
                    <a:pt x="1206" y="527"/>
                  </a:lnTo>
                  <a:lnTo>
                    <a:pt x="1209" y="532"/>
                  </a:lnTo>
                  <a:lnTo>
                    <a:pt x="1213" y="535"/>
                  </a:lnTo>
                  <a:lnTo>
                    <a:pt x="1217" y="537"/>
                  </a:lnTo>
                  <a:lnTo>
                    <a:pt x="1227" y="540"/>
                  </a:lnTo>
                  <a:lnTo>
                    <a:pt x="1237" y="540"/>
                  </a:lnTo>
                  <a:lnTo>
                    <a:pt x="1237" y="540"/>
                  </a:lnTo>
                  <a:lnTo>
                    <a:pt x="1273" y="559"/>
                  </a:lnTo>
                  <a:lnTo>
                    <a:pt x="1291" y="566"/>
                  </a:lnTo>
                  <a:lnTo>
                    <a:pt x="1310" y="573"/>
                  </a:lnTo>
                  <a:lnTo>
                    <a:pt x="1328" y="577"/>
                  </a:lnTo>
                  <a:lnTo>
                    <a:pt x="1348" y="580"/>
                  </a:lnTo>
                  <a:lnTo>
                    <a:pt x="1369" y="580"/>
                  </a:lnTo>
                  <a:lnTo>
                    <a:pt x="1392" y="579"/>
                  </a:lnTo>
                  <a:lnTo>
                    <a:pt x="1392" y="579"/>
                  </a:lnTo>
                  <a:lnTo>
                    <a:pt x="1399" y="576"/>
                  </a:lnTo>
                  <a:lnTo>
                    <a:pt x="1406" y="573"/>
                  </a:lnTo>
                  <a:lnTo>
                    <a:pt x="1412" y="569"/>
                  </a:lnTo>
                  <a:lnTo>
                    <a:pt x="1418" y="564"/>
                  </a:lnTo>
                  <a:lnTo>
                    <a:pt x="1426" y="553"/>
                  </a:lnTo>
                  <a:lnTo>
                    <a:pt x="1438" y="540"/>
                  </a:lnTo>
                  <a:lnTo>
                    <a:pt x="1438" y="540"/>
                  </a:lnTo>
                  <a:lnTo>
                    <a:pt x="1443" y="539"/>
                  </a:lnTo>
                  <a:lnTo>
                    <a:pt x="1451" y="539"/>
                  </a:lnTo>
                  <a:lnTo>
                    <a:pt x="1455" y="540"/>
                  </a:lnTo>
                  <a:lnTo>
                    <a:pt x="1461" y="542"/>
                  </a:lnTo>
                  <a:lnTo>
                    <a:pt x="1469" y="547"/>
                  </a:lnTo>
                  <a:lnTo>
                    <a:pt x="1478" y="554"/>
                  </a:lnTo>
                  <a:lnTo>
                    <a:pt x="1485" y="563"/>
                  </a:lnTo>
                  <a:lnTo>
                    <a:pt x="1493" y="570"/>
                  </a:lnTo>
                  <a:lnTo>
                    <a:pt x="1502" y="576"/>
                  </a:lnTo>
                  <a:lnTo>
                    <a:pt x="1507" y="577"/>
                  </a:lnTo>
                  <a:lnTo>
                    <a:pt x="1513" y="579"/>
                  </a:lnTo>
                  <a:lnTo>
                    <a:pt x="1513" y="579"/>
                  </a:lnTo>
                  <a:lnTo>
                    <a:pt x="1525" y="577"/>
                  </a:lnTo>
                  <a:lnTo>
                    <a:pt x="1536" y="573"/>
                  </a:lnTo>
                  <a:lnTo>
                    <a:pt x="1540" y="570"/>
                  </a:lnTo>
                  <a:lnTo>
                    <a:pt x="1546" y="567"/>
                  </a:lnTo>
                  <a:lnTo>
                    <a:pt x="1549" y="563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0" y="547"/>
                  </a:lnTo>
                  <a:lnTo>
                    <a:pt x="1547" y="536"/>
                  </a:lnTo>
                  <a:lnTo>
                    <a:pt x="1540" y="516"/>
                  </a:lnTo>
                  <a:lnTo>
                    <a:pt x="1536" y="506"/>
                  </a:lnTo>
                  <a:lnTo>
                    <a:pt x="1533" y="496"/>
                  </a:lnTo>
                  <a:lnTo>
                    <a:pt x="1532" y="486"/>
                  </a:lnTo>
                  <a:lnTo>
                    <a:pt x="1532" y="475"/>
                  </a:lnTo>
                  <a:lnTo>
                    <a:pt x="1532" y="475"/>
                  </a:lnTo>
                  <a:lnTo>
                    <a:pt x="1536" y="436"/>
                  </a:lnTo>
                  <a:lnTo>
                    <a:pt x="1540" y="398"/>
                  </a:lnTo>
                  <a:lnTo>
                    <a:pt x="1542" y="357"/>
                  </a:lnTo>
                  <a:lnTo>
                    <a:pt x="1543" y="317"/>
                  </a:lnTo>
                  <a:lnTo>
                    <a:pt x="1542" y="276"/>
                  </a:lnTo>
                  <a:lnTo>
                    <a:pt x="1540" y="236"/>
                  </a:lnTo>
                  <a:lnTo>
                    <a:pt x="1537" y="196"/>
                  </a:lnTo>
                  <a:lnTo>
                    <a:pt x="1533" y="158"/>
                  </a:lnTo>
                  <a:lnTo>
                    <a:pt x="1533" y="158"/>
                  </a:lnTo>
                  <a:lnTo>
                    <a:pt x="1529" y="129"/>
                  </a:lnTo>
                  <a:lnTo>
                    <a:pt x="1525" y="102"/>
                  </a:lnTo>
                  <a:lnTo>
                    <a:pt x="1522" y="74"/>
                  </a:lnTo>
                  <a:lnTo>
                    <a:pt x="1516" y="45"/>
                  </a:lnTo>
                  <a:lnTo>
                    <a:pt x="1516" y="45"/>
                  </a:lnTo>
                  <a:lnTo>
                    <a:pt x="1513" y="42"/>
                  </a:lnTo>
                  <a:lnTo>
                    <a:pt x="1510" y="39"/>
                  </a:lnTo>
                  <a:lnTo>
                    <a:pt x="1503" y="37"/>
                  </a:lnTo>
                  <a:lnTo>
                    <a:pt x="1495" y="35"/>
                  </a:lnTo>
                  <a:lnTo>
                    <a:pt x="1488" y="32"/>
                  </a:lnTo>
                  <a:lnTo>
                    <a:pt x="1488" y="32"/>
                  </a:lnTo>
                  <a:close/>
                  <a:moveTo>
                    <a:pt x="1399" y="358"/>
                  </a:moveTo>
                  <a:lnTo>
                    <a:pt x="1399" y="358"/>
                  </a:lnTo>
                  <a:lnTo>
                    <a:pt x="1402" y="374"/>
                  </a:lnTo>
                  <a:lnTo>
                    <a:pt x="1406" y="388"/>
                  </a:lnTo>
                  <a:lnTo>
                    <a:pt x="1409" y="395"/>
                  </a:lnTo>
                  <a:lnTo>
                    <a:pt x="1412" y="402"/>
                  </a:lnTo>
                  <a:lnTo>
                    <a:pt x="1416" y="408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21" y="435"/>
                  </a:lnTo>
                  <a:lnTo>
                    <a:pt x="1418" y="458"/>
                  </a:lnTo>
                  <a:lnTo>
                    <a:pt x="1409" y="502"/>
                  </a:lnTo>
                  <a:lnTo>
                    <a:pt x="1409" y="502"/>
                  </a:lnTo>
                  <a:lnTo>
                    <a:pt x="1402" y="513"/>
                  </a:lnTo>
                  <a:lnTo>
                    <a:pt x="1392" y="522"/>
                  </a:lnTo>
                  <a:lnTo>
                    <a:pt x="1382" y="530"/>
                  </a:lnTo>
                  <a:lnTo>
                    <a:pt x="1369" y="535"/>
                  </a:lnTo>
                  <a:lnTo>
                    <a:pt x="1369" y="535"/>
                  </a:lnTo>
                  <a:lnTo>
                    <a:pt x="1355" y="536"/>
                  </a:lnTo>
                  <a:lnTo>
                    <a:pt x="1341" y="535"/>
                  </a:lnTo>
                  <a:lnTo>
                    <a:pt x="1327" y="532"/>
                  </a:lnTo>
                  <a:lnTo>
                    <a:pt x="1314" y="526"/>
                  </a:lnTo>
                  <a:lnTo>
                    <a:pt x="1303" y="520"/>
                  </a:lnTo>
                  <a:lnTo>
                    <a:pt x="1291" y="512"/>
                  </a:lnTo>
                  <a:lnTo>
                    <a:pt x="1281" y="502"/>
                  </a:lnTo>
                  <a:lnTo>
                    <a:pt x="1274" y="490"/>
                  </a:lnTo>
                  <a:lnTo>
                    <a:pt x="1274" y="490"/>
                  </a:lnTo>
                  <a:lnTo>
                    <a:pt x="1267" y="479"/>
                  </a:lnTo>
                  <a:lnTo>
                    <a:pt x="1261" y="465"/>
                  </a:lnTo>
                  <a:lnTo>
                    <a:pt x="1257" y="449"/>
                  </a:lnTo>
                  <a:lnTo>
                    <a:pt x="1256" y="435"/>
                  </a:lnTo>
                  <a:lnTo>
                    <a:pt x="1256" y="419"/>
                  </a:lnTo>
                  <a:lnTo>
                    <a:pt x="1257" y="404"/>
                  </a:lnTo>
                  <a:lnTo>
                    <a:pt x="1261" y="389"/>
                  </a:lnTo>
                  <a:lnTo>
                    <a:pt x="1268" y="377"/>
                  </a:lnTo>
                  <a:lnTo>
                    <a:pt x="1268" y="377"/>
                  </a:lnTo>
                  <a:lnTo>
                    <a:pt x="1276" y="365"/>
                  </a:lnTo>
                  <a:lnTo>
                    <a:pt x="1286" y="357"/>
                  </a:lnTo>
                  <a:lnTo>
                    <a:pt x="1297" y="350"/>
                  </a:lnTo>
                  <a:lnTo>
                    <a:pt x="1310" y="342"/>
                  </a:lnTo>
                  <a:lnTo>
                    <a:pt x="1324" y="338"/>
                  </a:lnTo>
                  <a:lnTo>
                    <a:pt x="1338" y="335"/>
                  </a:lnTo>
                  <a:lnTo>
                    <a:pt x="1352" y="333"/>
                  </a:lnTo>
                  <a:lnTo>
                    <a:pt x="1365" y="333"/>
                  </a:lnTo>
                  <a:lnTo>
                    <a:pt x="1365" y="333"/>
                  </a:lnTo>
                  <a:lnTo>
                    <a:pt x="1377" y="337"/>
                  </a:lnTo>
                  <a:lnTo>
                    <a:pt x="1385" y="342"/>
                  </a:lnTo>
                  <a:lnTo>
                    <a:pt x="1394" y="350"/>
                  </a:lnTo>
                  <a:lnTo>
                    <a:pt x="1399" y="358"/>
                  </a:lnTo>
                  <a:lnTo>
                    <a:pt x="1399" y="3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373"/>
            <p:cNvSpPr>
              <a:spLocks/>
            </p:cNvSpPr>
            <p:nvPr/>
          </p:nvSpPr>
          <p:spPr bwMode="auto">
            <a:xfrm>
              <a:off x="6526" y="2285"/>
              <a:ext cx="299" cy="549"/>
            </a:xfrm>
            <a:custGeom>
              <a:avLst/>
              <a:gdLst>
                <a:gd name="T0" fmla="*/ 97 w 299"/>
                <a:gd name="T1" fmla="*/ 84 h 549"/>
                <a:gd name="T2" fmla="*/ 114 w 299"/>
                <a:gd name="T3" fmla="*/ 197 h 549"/>
                <a:gd name="T4" fmla="*/ 125 w 299"/>
                <a:gd name="T5" fmla="*/ 241 h 549"/>
                <a:gd name="T6" fmla="*/ 118 w 299"/>
                <a:gd name="T7" fmla="*/ 280 h 549"/>
                <a:gd name="T8" fmla="*/ 122 w 299"/>
                <a:gd name="T9" fmla="*/ 304 h 549"/>
                <a:gd name="T10" fmla="*/ 196 w 299"/>
                <a:gd name="T11" fmla="*/ 301 h 549"/>
                <a:gd name="T12" fmla="*/ 243 w 299"/>
                <a:gd name="T13" fmla="*/ 310 h 549"/>
                <a:gd name="T14" fmla="*/ 272 w 299"/>
                <a:gd name="T15" fmla="*/ 325 h 549"/>
                <a:gd name="T16" fmla="*/ 292 w 299"/>
                <a:gd name="T17" fmla="*/ 355 h 549"/>
                <a:gd name="T18" fmla="*/ 297 w 299"/>
                <a:gd name="T19" fmla="*/ 421 h 549"/>
                <a:gd name="T20" fmla="*/ 296 w 299"/>
                <a:gd name="T21" fmla="*/ 489 h 549"/>
                <a:gd name="T22" fmla="*/ 286 w 299"/>
                <a:gd name="T23" fmla="*/ 519 h 549"/>
                <a:gd name="T24" fmla="*/ 276 w 299"/>
                <a:gd name="T25" fmla="*/ 535 h 549"/>
                <a:gd name="T26" fmla="*/ 258 w 299"/>
                <a:gd name="T27" fmla="*/ 546 h 549"/>
                <a:gd name="T28" fmla="*/ 236 w 299"/>
                <a:gd name="T29" fmla="*/ 547 h 549"/>
                <a:gd name="T30" fmla="*/ 223 w 299"/>
                <a:gd name="T31" fmla="*/ 540 h 549"/>
                <a:gd name="T32" fmla="*/ 218 w 299"/>
                <a:gd name="T33" fmla="*/ 523 h 549"/>
                <a:gd name="T34" fmla="*/ 225 w 299"/>
                <a:gd name="T35" fmla="*/ 493 h 549"/>
                <a:gd name="T36" fmla="*/ 232 w 299"/>
                <a:gd name="T37" fmla="*/ 446 h 549"/>
                <a:gd name="T38" fmla="*/ 229 w 299"/>
                <a:gd name="T39" fmla="*/ 398 h 549"/>
                <a:gd name="T40" fmla="*/ 216 w 299"/>
                <a:gd name="T41" fmla="*/ 372 h 549"/>
                <a:gd name="T42" fmla="*/ 198 w 299"/>
                <a:gd name="T43" fmla="*/ 352 h 549"/>
                <a:gd name="T44" fmla="*/ 159 w 299"/>
                <a:gd name="T45" fmla="*/ 340 h 549"/>
                <a:gd name="T46" fmla="*/ 118 w 299"/>
                <a:gd name="T47" fmla="*/ 341 h 549"/>
                <a:gd name="T48" fmla="*/ 108 w 299"/>
                <a:gd name="T49" fmla="*/ 355 h 549"/>
                <a:gd name="T50" fmla="*/ 97 w 299"/>
                <a:gd name="T51" fmla="*/ 388 h 549"/>
                <a:gd name="T52" fmla="*/ 94 w 299"/>
                <a:gd name="T53" fmla="*/ 445 h 549"/>
                <a:gd name="T54" fmla="*/ 94 w 299"/>
                <a:gd name="T55" fmla="*/ 492 h 549"/>
                <a:gd name="T56" fmla="*/ 90 w 299"/>
                <a:gd name="T57" fmla="*/ 519 h 549"/>
                <a:gd name="T58" fmla="*/ 77 w 299"/>
                <a:gd name="T59" fmla="*/ 542 h 549"/>
                <a:gd name="T60" fmla="*/ 61 w 299"/>
                <a:gd name="T61" fmla="*/ 549 h 549"/>
                <a:gd name="T62" fmla="*/ 38 w 299"/>
                <a:gd name="T63" fmla="*/ 544 h 549"/>
                <a:gd name="T64" fmla="*/ 23 w 299"/>
                <a:gd name="T65" fmla="*/ 532 h 549"/>
                <a:gd name="T66" fmla="*/ 19 w 299"/>
                <a:gd name="T67" fmla="*/ 503 h 549"/>
                <a:gd name="T68" fmla="*/ 26 w 299"/>
                <a:gd name="T69" fmla="*/ 436 h 549"/>
                <a:gd name="T70" fmla="*/ 21 w 299"/>
                <a:gd name="T71" fmla="*/ 395 h 549"/>
                <a:gd name="T72" fmla="*/ 7 w 299"/>
                <a:gd name="T73" fmla="*/ 370 h 549"/>
                <a:gd name="T74" fmla="*/ 0 w 299"/>
                <a:gd name="T75" fmla="*/ 358 h 549"/>
                <a:gd name="T76" fmla="*/ 16 w 299"/>
                <a:gd name="T77" fmla="*/ 344 h 549"/>
                <a:gd name="T78" fmla="*/ 37 w 299"/>
                <a:gd name="T79" fmla="*/ 331 h 549"/>
                <a:gd name="T80" fmla="*/ 43 w 299"/>
                <a:gd name="T81" fmla="*/ 320 h 549"/>
                <a:gd name="T82" fmla="*/ 51 w 299"/>
                <a:gd name="T83" fmla="*/ 305 h 549"/>
                <a:gd name="T84" fmla="*/ 67 w 299"/>
                <a:gd name="T85" fmla="*/ 276 h 549"/>
                <a:gd name="T86" fmla="*/ 71 w 299"/>
                <a:gd name="T87" fmla="*/ 241 h 549"/>
                <a:gd name="T88" fmla="*/ 65 w 299"/>
                <a:gd name="T89" fmla="*/ 224 h 549"/>
                <a:gd name="T90" fmla="*/ 57 w 299"/>
                <a:gd name="T91" fmla="*/ 190 h 549"/>
                <a:gd name="T92" fmla="*/ 57 w 299"/>
                <a:gd name="T93" fmla="*/ 146 h 549"/>
                <a:gd name="T94" fmla="*/ 50 w 299"/>
                <a:gd name="T95" fmla="*/ 121 h 549"/>
                <a:gd name="T96" fmla="*/ 37 w 299"/>
                <a:gd name="T97" fmla="*/ 74 h 549"/>
                <a:gd name="T98" fmla="*/ 33 w 299"/>
                <a:gd name="T99" fmla="*/ 32 h 549"/>
                <a:gd name="T100" fmla="*/ 41 w 299"/>
                <a:gd name="T101" fmla="*/ 11 h 549"/>
                <a:gd name="T102" fmla="*/ 54 w 299"/>
                <a:gd name="T103" fmla="*/ 0 h 549"/>
                <a:gd name="T104" fmla="*/ 77 w 299"/>
                <a:gd name="T105" fmla="*/ 15 h 549"/>
                <a:gd name="T106" fmla="*/ 87 w 299"/>
                <a:gd name="T107" fmla="*/ 44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9" h="549">
                  <a:moveTo>
                    <a:pt x="91" y="62"/>
                  </a:moveTo>
                  <a:lnTo>
                    <a:pt x="91" y="62"/>
                  </a:lnTo>
                  <a:lnTo>
                    <a:pt x="97" y="84"/>
                  </a:lnTo>
                  <a:lnTo>
                    <a:pt x="102" y="105"/>
                  </a:lnTo>
                  <a:lnTo>
                    <a:pt x="108" y="152"/>
                  </a:lnTo>
                  <a:lnTo>
                    <a:pt x="114" y="197"/>
                  </a:lnTo>
                  <a:lnTo>
                    <a:pt x="118" y="219"/>
                  </a:lnTo>
                  <a:lnTo>
                    <a:pt x="125" y="241"/>
                  </a:lnTo>
                  <a:lnTo>
                    <a:pt x="125" y="241"/>
                  </a:lnTo>
                  <a:lnTo>
                    <a:pt x="121" y="256"/>
                  </a:lnTo>
                  <a:lnTo>
                    <a:pt x="118" y="273"/>
                  </a:lnTo>
                  <a:lnTo>
                    <a:pt x="118" y="280"/>
                  </a:lnTo>
                  <a:lnTo>
                    <a:pt x="118" y="288"/>
                  </a:lnTo>
                  <a:lnTo>
                    <a:pt x="120" y="296"/>
                  </a:lnTo>
                  <a:lnTo>
                    <a:pt x="122" y="304"/>
                  </a:lnTo>
                  <a:lnTo>
                    <a:pt x="122" y="304"/>
                  </a:lnTo>
                  <a:lnTo>
                    <a:pt x="171" y="301"/>
                  </a:lnTo>
                  <a:lnTo>
                    <a:pt x="196" y="301"/>
                  </a:lnTo>
                  <a:lnTo>
                    <a:pt x="221" y="304"/>
                  </a:lnTo>
                  <a:lnTo>
                    <a:pt x="232" y="305"/>
                  </a:lnTo>
                  <a:lnTo>
                    <a:pt x="243" y="310"/>
                  </a:lnTo>
                  <a:lnTo>
                    <a:pt x="253" y="314"/>
                  </a:lnTo>
                  <a:lnTo>
                    <a:pt x="263" y="318"/>
                  </a:lnTo>
                  <a:lnTo>
                    <a:pt x="272" y="325"/>
                  </a:lnTo>
                  <a:lnTo>
                    <a:pt x="279" y="334"/>
                  </a:lnTo>
                  <a:lnTo>
                    <a:pt x="286" y="344"/>
                  </a:lnTo>
                  <a:lnTo>
                    <a:pt x="292" y="355"/>
                  </a:lnTo>
                  <a:lnTo>
                    <a:pt x="292" y="355"/>
                  </a:lnTo>
                  <a:lnTo>
                    <a:pt x="296" y="398"/>
                  </a:lnTo>
                  <a:lnTo>
                    <a:pt x="297" y="421"/>
                  </a:lnTo>
                  <a:lnTo>
                    <a:pt x="299" y="445"/>
                  </a:lnTo>
                  <a:lnTo>
                    <a:pt x="299" y="468"/>
                  </a:lnTo>
                  <a:lnTo>
                    <a:pt x="296" y="489"/>
                  </a:lnTo>
                  <a:lnTo>
                    <a:pt x="293" y="499"/>
                  </a:lnTo>
                  <a:lnTo>
                    <a:pt x="290" y="510"/>
                  </a:lnTo>
                  <a:lnTo>
                    <a:pt x="286" y="519"/>
                  </a:lnTo>
                  <a:lnTo>
                    <a:pt x="280" y="529"/>
                  </a:lnTo>
                  <a:lnTo>
                    <a:pt x="280" y="529"/>
                  </a:lnTo>
                  <a:lnTo>
                    <a:pt x="276" y="535"/>
                  </a:lnTo>
                  <a:lnTo>
                    <a:pt x="270" y="539"/>
                  </a:lnTo>
                  <a:lnTo>
                    <a:pt x="263" y="543"/>
                  </a:lnTo>
                  <a:lnTo>
                    <a:pt x="258" y="546"/>
                  </a:lnTo>
                  <a:lnTo>
                    <a:pt x="250" y="547"/>
                  </a:lnTo>
                  <a:lnTo>
                    <a:pt x="243" y="547"/>
                  </a:lnTo>
                  <a:lnTo>
                    <a:pt x="236" y="547"/>
                  </a:lnTo>
                  <a:lnTo>
                    <a:pt x="229" y="546"/>
                  </a:lnTo>
                  <a:lnTo>
                    <a:pt x="229" y="546"/>
                  </a:lnTo>
                  <a:lnTo>
                    <a:pt x="223" y="540"/>
                  </a:lnTo>
                  <a:lnTo>
                    <a:pt x="221" y="536"/>
                  </a:lnTo>
                  <a:lnTo>
                    <a:pt x="219" y="530"/>
                  </a:lnTo>
                  <a:lnTo>
                    <a:pt x="218" y="523"/>
                  </a:lnTo>
                  <a:lnTo>
                    <a:pt x="219" y="512"/>
                  </a:lnTo>
                  <a:lnTo>
                    <a:pt x="221" y="499"/>
                  </a:lnTo>
                  <a:lnTo>
                    <a:pt x="225" y="493"/>
                  </a:lnTo>
                  <a:lnTo>
                    <a:pt x="225" y="493"/>
                  </a:lnTo>
                  <a:lnTo>
                    <a:pt x="229" y="463"/>
                  </a:lnTo>
                  <a:lnTo>
                    <a:pt x="232" y="446"/>
                  </a:lnTo>
                  <a:lnTo>
                    <a:pt x="232" y="431"/>
                  </a:lnTo>
                  <a:lnTo>
                    <a:pt x="232" y="414"/>
                  </a:lnTo>
                  <a:lnTo>
                    <a:pt x="229" y="398"/>
                  </a:lnTo>
                  <a:lnTo>
                    <a:pt x="223" y="385"/>
                  </a:lnTo>
                  <a:lnTo>
                    <a:pt x="221" y="378"/>
                  </a:lnTo>
                  <a:lnTo>
                    <a:pt x="216" y="372"/>
                  </a:lnTo>
                  <a:lnTo>
                    <a:pt x="216" y="372"/>
                  </a:lnTo>
                  <a:lnTo>
                    <a:pt x="208" y="361"/>
                  </a:lnTo>
                  <a:lnTo>
                    <a:pt x="198" y="352"/>
                  </a:lnTo>
                  <a:lnTo>
                    <a:pt x="186" y="347"/>
                  </a:lnTo>
                  <a:lnTo>
                    <a:pt x="174" y="342"/>
                  </a:lnTo>
                  <a:lnTo>
                    <a:pt x="159" y="340"/>
                  </a:lnTo>
                  <a:lnTo>
                    <a:pt x="147" y="338"/>
                  </a:lnTo>
                  <a:lnTo>
                    <a:pt x="132" y="340"/>
                  </a:lnTo>
                  <a:lnTo>
                    <a:pt x="118" y="341"/>
                  </a:lnTo>
                  <a:lnTo>
                    <a:pt x="118" y="341"/>
                  </a:lnTo>
                  <a:lnTo>
                    <a:pt x="112" y="348"/>
                  </a:lnTo>
                  <a:lnTo>
                    <a:pt x="108" y="355"/>
                  </a:lnTo>
                  <a:lnTo>
                    <a:pt x="104" y="362"/>
                  </a:lnTo>
                  <a:lnTo>
                    <a:pt x="101" y="371"/>
                  </a:lnTo>
                  <a:lnTo>
                    <a:pt x="97" y="388"/>
                  </a:lnTo>
                  <a:lnTo>
                    <a:pt x="94" y="405"/>
                  </a:lnTo>
                  <a:lnTo>
                    <a:pt x="94" y="425"/>
                  </a:lnTo>
                  <a:lnTo>
                    <a:pt x="94" y="445"/>
                  </a:lnTo>
                  <a:lnTo>
                    <a:pt x="94" y="483"/>
                  </a:lnTo>
                  <a:lnTo>
                    <a:pt x="94" y="483"/>
                  </a:lnTo>
                  <a:lnTo>
                    <a:pt x="94" y="492"/>
                  </a:lnTo>
                  <a:lnTo>
                    <a:pt x="94" y="500"/>
                  </a:lnTo>
                  <a:lnTo>
                    <a:pt x="93" y="510"/>
                  </a:lnTo>
                  <a:lnTo>
                    <a:pt x="90" y="519"/>
                  </a:lnTo>
                  <a:lnTo>
                    <a:pt x="87" y="527"/>
                  </a:lnTo>
                  <a:lnTo>
                    <a:pt x="83" y="535"/>
                  </a:lnTo>
                  <a:lnTo>
                    <a:pt x="77" y="542"/>
                  </a:lnTo>
                  <a:lnTo>
                    <a:pt x="70" y="547"/>
                  </a:lnTo>
                  <a:lnTo>
                    <a:pt x="70" y="547"/>
                  </a:lnTo>
                  <a:lnTo>
                    <a:pt x="61" y="549"/>
                  </a:lnTo>
                  <a:lnTo>
                    <a:pt x="53" y="547"/>
                  </a:lnTo>
                  <a:lnTo>
                    <a:pt x="46" y="547"/>
                  </a:lnTo>
                  <a:lnTo>
                    <a:pt x="38" y="544"/>
                  </a:lnTo>
                  <a:lnTo>
                    <a:pt x="33" y="542"/>
                  </a:lnTo>
                  <a:lnTo>
                    <a:pt x="27" y="537"/>
                  </a:lnTo>
                  <a:lnTo>
                    <a:pt x="23" y="532"/>
                  </a:lnTo>
                  <a:lnTo>
                    <a:pt x="19" y="525"/>
                  </a:lnTo>
                  <a:lnTo>
                    <a:pt x="19" y="525"/>
                  </a:lnTo>
                  <a:lnTo>
                    <a:pt x="19" y="503"/>
                  </a:lnTo>
                  <a:lnTo>
                    <a:pt x="20" y="482"/>
                  </a:lnTo>
                  <a:lnTo>
                    <a:pt x="23" y="459"/>
                  </a:lnTo>
                  <a:lnTo>
                    <a:pt x="26" y="436"/>
                  </a:lnTo>
                  <a:lnTo>
                    <a:pt x="26" y="415"/>
                  </a:lnTo>
                  <a:lnTo>
                    <a:pt x="24" y="405"/>
                  </a:lnTo>
                  <a:lnTo>
                    <a:pt x="21" y="395"/>
                  </a:lnTo>
                  <a:lnTo>
                    <a:pt x="19" y="387"/>
                  </a:lnTo>
                  <a:lnTo>
                    <a:pt x="14" y="377"/>
                  </a:lnTo>
                  <a:lnTo>
                    <a:pt x="7" y="370"/>
                  </a:lnTo>
                  <a:lnTo>
                    <a:pt x="0" y="362"/>
                  </a:lnTo>
                  <a:lnTo>
                    <a:pt x="0" y="362"/>
                  </a:lnTo>
                  <a:lnTo>
                    <a:pt x="0" y="358"/>
                  </a:lnTo>
                  <a:lnTo>
                    <a:pt x="3" y="354"/>
                  </a:lnTo>
                  <a:lnTo>
                    <a:pt x="7" y="348"/>
                  </a:lnTo>
                  <a:lnTo>
                    <a:pt x="16" y="344"/>
                  </a:lnTo>
                  <a:lnTo>
                    <a:pt x="23" y="340"/>
                  </a:lnTo>
                  <a:lnTo>
                    <a:pt x="31" y="337"/>
                  </a:lnTo>
                  <a:lnTo>
                    <a:pt x="37" y="331"/>
                  </a:lnTo>
                  <a:lnTo>
                    <a:pt x="40" y="328"/>
                  </a:lnTo>
                  <a:lnTo>
                    <a:pt x="41" y="324"/>
                  </a:lnTo>
                  <a:lnTo>
                    <a:pt x="43" y="320"/>
                  </a:lnTo>
                  <a:lnTo>
                    <a:pt x="43" y="314"/>
                  </a:lnTo>
                  <a:lnTo>
                    <a:pt x="43" y="314"/>
                  </a:lnTo>
                  <a:lnTo>
                    <a:pt x="51" y="305"/>
                  </a:lnTo>
                  <a:lnTo>
                    <a:pt x="58" y="296"/>
                  </a:lnTo>
                  <a:lnTo>
                    <a:pt x="64" y="286"/>
                  </a:lnTo>
                  <a:lnTo>
                    <a:pt x="67" y="276"/>
                  </a:lnTo>
                  <a:lnTo>
                    <a:pt x="70" y="264"/>
                  </a:lnTo>
                  <a:lnTo>
                    <a:pt x="71" y="253"/>
                  </a:lnTo>
                  <a:lnTo>
                    <a:pt x="71" y="241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5" y="224"/>
                  </a:lnTo>
                  <a:lnTo>
                    <a:pt x="63" y="219"/>
                  </a:lnTo>
                  <a:lnTo>
                    <a:pt x="58" y="205"/>
                  </a:lnTo>
                  <a:lnTo>
                    <a:pt x="57" y="190"/>
                  </a:lnTo>
                  <a:lnTo>
                    <a:pt x="57" y="176"/>
                  </a:lnTo>
                  <a:lnTo>
                    <a:pt x="58" y="160"/>
                  </a:lnTo>
                  <a:lnTo>
                    <a:pt x="57" y="146"/>
                  </a:lnTo>
                  <a:lnTo>
                    <a:pt x="56" y="133"/>
                  </a:lnTo>
                  <a:lnTo>
                    <a:pt x="53" y="126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41" y="91"/>
                  </a:lnTo>
                  <a:lnTo>
                    <a:pt x="37" y="74"/>
                  </a:lnTo>
                  <a:lnTo>
                    <a:pt x="33" y="57"/>
                  </a:lnTo>
                  <a:lnTo>
                    <a:pt x="33" y="41"/>
                  </a:lnTo>
                  <a:lnTo>
                    <a:pt x="33" y="32"/>
                  </a:lnTo>
                  <a:lnTo>
                    <a:pt x="36" y="25"/>
                  </a:lnTo>
                  <a:lnTo>
                    <a:pt x="37" y="18"/>
                  </a:lnTo>
                  <a:lnTo>
                    <a:pt x="41" y="11"/>
                  </a:lnTo>
                  <a:lnTo>
                    <a:pt x="47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64" y="3"/>
                  </a:lnTo>
                  <a:lnTo>
                    <a:pt x="71" y="8"/>
                  </a:lnTo>
                  <a:lnTo>
                    <a:pt x="77" y="15"/>
                  </a:lnTo>
                  <a:lnTo>
                    <a:pt x="81" y="24"/>
                  </a:lnTo>
                  <a:lnTo>
                    <a:pt x="84" y="34"/>
                  </a:lnTo>
                  <a:lnTo>
                    <a:pt x="87" y="44"/>
                  </a:lnTo>
                  <a:lnTo>
                    <a:pt x="91" y="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374"/>
            <p:cNvSpPr>
              <a:spLocks/>
            </p:cNvSpPr>
            <p:nvPr/>
          </p:nvSpPr>
          <p:spPr bwMode="auto">
            <a:xfrm>
              <a:off x="7126" y="2317"/>
              <a:ext cx="131" cy="511"/>
            </a:xfrm>
            <a:custGeom>
              <a:avLst/>
              <a:gdLst>
                <a:gd name="T0" fmla="*/ 15 w 131"/>
                <a:gd name="T1" fmla="*/ 7 h 511"/>
                <a:gd name="T2" fmla="*/ 3 w 131"/>
                <a:gd name="T3" fmla="*/ 17 h 511"/>
                <a:gd name="T4" fmla="*/ 0 w 131"/>
                <a:gd name="T5" fmla="*/ 32 h 511"/>
                <a:gd name="T6" fmla="*/ 2 w 131"/>
                <a:gd name="T7" fmla="*/ 63 h 511"/>
                <a:gd name="T8" fmla="*/ 10 w 131"/>
                <a:gd name="T9" fmla="*/ 77 h 511"/>
                <a:gd name="T10" fmla="*/ 22 w 131"/>
                <a:gd name="T11" fmla="*/ 110 h 511"/>
                <a:gd name="T12" fmla="*/ 27 w 131"/>
                <a:gd name="T13" fmla="*/ 143 h 511"/>
                <a:gd name="T14" fmla="*/ 32 w 131"/>
                <a:gd name="T15" fmla="*/ 195 h 511"/>
                <a:gd name="T16" fmla="*/ 36 w 131"/>
                <a:gd name="T17" fmla="*/ 301 h 511"/>
                <a:gd name="T18" fmla="*/ 39 w 131"/>
                <a:gd name="T19" fmla="*/ 335 h 511"/>
                <a:gd name="T20" fmla="*/ 46 w 131"/>
                <a:gd name="T21" fmla="*/ 352 h 511"/>
                <a:gd name="T22" fmla="*/ 43 w 131"/>
                <a:gd name="T23" fmla="*/ 369 h 511"/>
                <a:gd name="T24" fmla="*/ 39 w 131"/>
                <a:gd name="T25" fmla="*/ 387 h 511"/>
                <a:gd name="T26" fmla="*/ 39 w 131"/>
                <a:gd name="T27" fmla="*/ 407 h 511"/>
                <a:gd name="T28" fmla="*/ 43 w 131"/>
                <a:gd name="T29" fmla="*/ 416 h 511"/>
                <a:gd name="T30" fmla="*/ 46 w 131"/>
                <a:gd name="T31" fmla="*/ 436 h 511"/>
                <a:gd name="T32" fmla="*/ 46 w 131"/>
                <a:gd name="T33" fmla="*/ 467 h 511"/>
                <a:gd name="T34" fmla="*/ 47 w 131"/>
                <a:gd name="T35" fmla="*/ 487 h 511"/>
                <a:gd name="T36" fmla="*/ 53 w 131"/>
                <a:gd name="T37" fmla="*/ 494 h 511"/>
                <a:gd name="T38" fmla="*/ 66 w 131"/>
                <a:gd name="T39" fmla="*/ 505 h 511"/>
                <a:gd name="T40" fmla="*/ 83 w 131"/>
                <a:gd name="T41" fmla="*/ 511 h 511"/>
                <a:gd name="T42" fmla="*/ 103 w 131"/>
                <a:gd name="T43" fmla="*/ 511 h 511"/>
                <a:gd name="T44" fmla="*/ 113 w 131"/>
                <a:gd name="T45" fmla="*/ 508 h 511"/>
                <a:gd name="T46" fmla="*/ 124 w 131"/>
                <a:gd name="T47" fmla="*/ 501 h 511"/>
                <a:gd name="T48" fmla="*/ 130 w 131"/>
                <a:gd name="T49" fmla="*/ 491 h 511"/>
                <a:gd name="T50" fmla="*/ 131 w 131"/>
                <a:gd name="T51" fmla="*/ 480 h 511"/>
                <a:gd name="T52" fmla="*/ 126 w 131"/>
                <a:gd name="T53" fmla="*/ 453 h 511"/>
                <a:gd name="T54" fmla="*/ 118 w 131"/>
                <a:gd name="T55" fmla="*/ 426 h 511"/>
                <a:gd name="T56" fmla="*/ 117 w 131"/>
                <a:gd name="T57" fmla="*/ 413 h 511"/>
                <a:gd name="T58" fmla="*/ 116 w 131"/>
                <a:gd name="T59" fmla="*/ 384 h 511"/>
                <a:gd name="T60" fmla="*/ 121 w 131"/>
                <a:gd name="T61" fmla="*/ 299 h 511"/>
                <a:gd name="T62" fmla="*/ 123 w 131"/>
                <a:gd name="T63" fmla="*/ 256 h 511"/>
                <a:gd name="T64" fmla="*/ 118 w 131"/>
                <a:gd name="T65" fmla="*/ 229 h 511"/>
                <a:gd name="T66" fmla="*/ 110 w 131"/>
                <a:gd name="T67" fmla="*/ 204 h 511"/>
                <a:gd name="T68" fmla="*/ 104 w 131"/>
                <a:gd name="T69" fmla="*/ 191 h 511"/>
                <a:gd name="T70" fmla="*/ 97 w 131"/>
                <a:gd name="T71" fmla="*/ 145 h 511"/>
                <a:gd name="T72" fmla="*/ 80 w 131"/>
                <a:gd name="T73" fmla="*/ 81 h 511"/>
                <a:gd name="T74" fmla="*/ 73 w 131"/>
                <a:gd name="T75" fmla="*/ 37 h 511"/>
                <a:gd name="T76" fmla="*/ 73 w 131"/>
                <a:gd name="T77" fmla="*/ 16 h 511"/>
                <a:gd name="T78" fmla="*/ 62 w 131"/>
                <a:gd name="T79" fmla="*/ 3 h 511"/>
                <a:gd name="T80" fmla="*/ 47 w 131"/>
                <a:gd name="T81" fmla="*/ 0 h 511"/>
                <a:gd name="T82" fmla="*/ 30 w 131"/>
                <a:gd name="T83" fmla="*/ 2 h 511"/>
                <a:gd name="T84" fmla="*/ 15 w 131"/>
                <a:gd name="T85" fmla="*/ 7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" h="511">
                  <a:moveTo>
                    <a:pt x="15" y="7"/>
                  </a:moveTo>
                  <a:lnTo>
                    <a:pt x="15" y="7"/>
                  </a:lnTo>
                  <a:lnTo>
                    <a:pt x="9" y="12"/>
                  </a:lnTo>
                  <a:lnTo>
                    <a:pt x="3" y="17"/>
                  </a:lnTo>
                  <a:lnTo>
                    <a:pt x="2" y="23"/>
                  </a:lnTo>
                  <a:lnTo>
                    <a:pt x="0" y="32"/>
                  </a:lnTo>
                  <a:lnTo>
                    <a:pt x="0" y="47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10" y="77"/>
                  </a:lnTo>
                  <a:lnTo>
                    <a:pt x="16" y="93"/>
                  </a:lnTo>
                  <a:lnTo>
                    <a:pt x="22" y="110"/>
                  </a:lnTo>
                  <a:lnTo>
                    <a:pt x="25" y="126"/>
                  </a:lnTo>
                  <a:lnTo>
                    <a:pt x="27" y="143"/>
                  </a:lnTo>
                  <a:lnTo>
                    <a:pt x="30" y="160"/>
                  </a:lnTo>
                  <a:lnTo>
                    <a:pt x="32" y="195"/>
                  </a:lnTo>
                  <a:lnTo>
                    <a:pt x="33" y="266"/>
                  </a:lnTo>
                  <a:lnTo>
                    <a:pt x="36" y="301"/>
                  </a:lnTo>
                  <a:lnTo>
                    <a:pt x="39" y="335"/>
                  </a:lnTo>
                  <a:lnTo>
                    <a:pt x="39" y="335"/>
                  </a:lnTo>
                  <a:lnTo>
                    <a:pt x="44" y="343"/>
                  </a:lnTo>
                  <a:lnTo>
                    <a:pt x="46" y="352"/>
                  </a:lnTo>
                  <a:lnTo>
                    <a:pt x="46" y="360"/>
                  </a:lnTo>
                  <a:lnTo>
                    <a:pt x="43" y="369"/>
                  </a:lnTo>
                  <a:lnTo>
                    <a:pt x="40" y="377"/>
                  </a:lnTo>
                  <a:lnTo>
                    <a:pt x="39" y="387"/>
                  </a:lnTo>
                  <a:lnTo>
                    <a:pt x="37" y="39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43" y="416"/>
                  </a:lnTo>
                  <a:lnTo>
                    <a:pt x="44" y="426"/>
                  </a:lnTo>
                  <a:lnTo>
                    <a:pt x="46" y="436"/>
                  </a:lnTo>
                  <a:lnTo>
                    <a:pt x="46" y="446"/>
                  </a:lnTo>
                  <a:lnTo>
                    <a:pt x="46" y="467"/>
                  </a:lnTo>
                  <a:lnTo>
                    <a:pt x="46" y="477"/>
                  </a:lnTo>
                  <a:lnTo>
                    <a:pt x="47" y="487"/>
                  </a:lnTo>
                  <a:lnTo>
                    <a:pt x="47" y="487"/>
                  </a:lnTo>
                  <a:lnTo>
                    <a:pt x="53" y="494"/>
                  </a:lnTo>
                  <a:lnTo>
                    <a:pt x="59" y="501"/>
                  </a:lnTo>
                  <a:lnTo>
                    <a:pt x="66" y="505"/>
                  </a:lnTo>
                  <a:lnTo>
                    <a:pt x="74" y="510"/>
                  </a:lnTo>
                  <a:lnTo>
                    <a:pt x="83" y="511"/>
                  </a:lnTo>
                  <a:lnTo>
                    <a:pt x="93" y="511"/>
                  </a:lnTo>
                  <a:lnTo>
                    <a:pt x="103" y="511"/>
                  </a:lnTo>
                  <a:lnTo>
                    <a:pt x="113" y="508"/>
                  </a:lnTo>
                  <a:lnTo>
                    <a:pt x="113" y="508"/>
                  </a:lnTo>
                  <a:lnTo>
                    <a:pt x="118" y="505"/>
                  </a:lnTo>
                  <a:lnTo>
                    <a:pt x="124" y="501"/>
                  </a:lnTo>
                  <a:lnTo>
                    <a:pt x="127" y="497"/>
                  </a:lnTo>
                  <a:lnTo>
                    <a:pt x="130" y="491"/>
                  </a:lnTo>
                  <a:lnTo>
                    <a:pt x="131" y="485"/>
                  </a:lnTo>
                  <a:lnTo>
                    <a:pt x="131" y="480"/>
                  </a:lnTo>
                  <a:lnTo>
                    <a:pt x="130" y="467"/>
                  </a:lnTo>
                  <a:lnTo>
                    <a:pt x="126" y="453"/>
                  </a:lnTo>
                  <a:lnTo>
                    <a:pt x="123" y="439"/>
                  </a:lnTo>
                  <a:lnTo>
                    <a:pt x="118" y="426"/>
                  </a:lnTo>
                  <a:lnTo>
                    <a:pt x="117" y="413"/>
                  </a:lnTo>
                  <a:lnTo>
                    <a:pt x="117" y="413"/>
                  </a:lnTo>
                  <a:lnTo>
                    <a:pt x="116" y="399"/>
                  </a:lnTo>
                  <a:lnTo>
                    <a:pt x="116" y="384"/>
                  </a:lnTo>
                  <a:lnTo>
                    <a:pt x="117" y="356"/>
                  </a:lnTo>
                  <a:lnTo>
                    <a:pt x="121" y="299"/>
                  </a:lnTo>
                  <a:lnTo>
                    <a:pt x="123" y="271"/>
                  </a:lnTo>
                  <a:lnTo>
                    <a:pt x="123" y="256"/>
                  </a:lnTo>
                  <a:lnTo>
                    <a:pt x="121" y="244"/>
                  </a:lnTo>
                  <a:lnTo>
                    <a:pt x="118" y="229"/>
                  </a:lnTo>
                  <a:lnTo>
                    <a:pt x="116" y="217"/>
                  </a:lnTo>
                  <a:lnTo>
                    <a:pt x="110" y="204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1" y="168"/>
                  </a:lnTo>
                  <a:lnTo>
                    <a:pt x="97" y="145"/>
                  </a:lnTo>
                  <a:lnTo>
                    <a:pt x="86" y="103"/>
                  </a:lnTo>
                  <a:lnTo>
                    <a:pt x="80" y="81"/>
                  </a:lnTo>
                  <a:lnTo>
                    <a:pt x="76" y="60"/>
                  </a:lnTo>
                  <a:lnTo>
                    <a:pt x="73" y="37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67" y="9"/>
                  </a:lnTo>
                  <a:lnTo>
                    <a:pt x="62" y="3"/>
                  </a:lnTo>
                  <a:lnTo>
                    <a:pt x="54" y="2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0" y="2"/>
                  </a:lnTo>
                  <a:lnTo>
                    <a:pt x="22" y="5"/>
                  </a:lnTo>
                  <a:lnTo>
                    <a:pt x="15" y="7"/>
                  </a:lnTo>
                  <a:lnTo>
                    <a:pt x="15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375"/>
            <p:cNvSpPr>
              <a:spLocks/>
            </p:cNvSpPr>
            <p:nvPr/>
          </p:nvSpPr>
          <p:spPr bwMode="auto">
            <a:xfrm>
              <a:off x="6983" y="2462"/>
              <a:ext cx="57" cy="35"/>
            </a:xfrm>
            <a:custGeom>
              <a:avLst/>
              <a:gdLst>
                <a:gd name="T0" fmla="*/ 0 w 57"/>
                <a:gd name="T1" fmla="*/ 28 h 35"/>
                <a:gd name="T2" fmla="*/ 0 w 57"/>
                <a:gd name="T3" fmla="*/ 28 h 35"/>
                <a:gd name="T4" fmla="*/ 10 w 57"/>
                <a:gd name="T5" fmla="*/ 30 h 35"/>
                <a:gd name="T6" fmla="*/ 18 w 57"/>
                <a:gd name="T7" fmla="*/ 33 h 35"/>
                <a:gd name="T8" fmla="*/ 28 w 57"/>
                <a:gd name="T9" fmla="*/ 35 h 35"/>
                <a:gd name="T10" fmla="*/ 38 w 57"/>
                <a:gd name="T11" fmla="*/ 32 h 35"/>
                <a:gd name="T12" fmla="*/ 38 w 57"/>
                <a:gd name="T13" fmla="*/ 32 h 35"/>
                <a:gd name="T14" fmla="*/ 45 w 57"/>
                <a:gd name="T15" fmla="*/ 28 h 35"/>
                <a:gd name="T16" fmla="*/ 52 w 57"/>
                <a:gd name="T17" fmla="*/ 19 h 35"/>
                <a:gd name="T18" fmla="*/ 55 w 57"/>
                <a:gd name="T19" fmla="*/ 15 h 35"/>
                <a:gd name="T20" fmla="*/ 57 w 57"/>
                <a:gd name="T21" fmla="*/ 10 h 35"/>
                <a:gd name="T22" fmla="*/ 55 w 57"/>
                <a:gd name="T23" fmla="*/ 5 h 35"/>
                <a:gd name="T24" fmla="*/ 54 w 57"/>
                <a:gd name="T25" fmla="*/ 0 h 35"/>
                <a:gd name="T26" fmla="*/ 54 w 57"/>
                <a:gd name="T27" fmla="*/ 0 h 35"/>
                <a:gd name="T28" fmla="*/ 37 w 57"/>
                <a:gd name="T29" fmla="*/ 2 h 35"/>
                <a:gd name="T30" fmla="*/ 30 w 57"/>
                <a:gd name="T31" fmla="*/ 3 h 35"/>
                <a:gd name="T32" fmla="*/ 21 w 57"/>
                <a:gd name="T33" fmla="*/ 6 h 35"/>
                <a:gd name="T34" fmla="*/ 14 w 57"/>
                <a:gd name="T35" fmla="*/ 9 h 35"/>
                <a:gd name="T36" fmla="*/ 8 w 57"/>
                <a:gd name="T37" fmla="*/ 13 h 35"/>
                <a:gd name="T38" fmla="*/ 4 w 57"/>
                <a:gd name="T39" fmla="*/ 19 h 35"/>
                <a:gd name="T40" fmla="*/ 0 w 57"/>
                <a:gd name="T41" fmla="*/ 28 h 35"/>
                <a:gd name="T42" fmla="*/ 0 w 57"/>
                <a:gd name="T43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35">
                  <a:moveTo>
                    <a:pt x="0" y="28"/>
                  </a:moveTo>
                  <a:lnTo>
                    <a:pt x="0" y="28"/>
                  </a:lnTo>
                  <a:lnTo>
                    <a:pt x="10" y="30"/>
                  </a:lnTo>
                  <a:lnTo>
                    <a:pt x="18" y="33"/>
                  </a:lnTo>
                  <a:lnTo>
                    <a:pt x="28" y="35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5" y="28"/>
                  </a:lnTo>
                  <a:lnTo>
                    <a:pt x="52" y="19"/>
                  </a:lnTo>
                  <a:lnTo>
                    <a:pt x="55" y="15"/>
                  </a:lnTo>
                  <a:lnTo>
                    <a:pt x="57" y="10"/>
                  </a:lnTo>
                  <a:lnTo>
                    <a:pt x="55" y="5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37" y="2"/>
                  </a:lnTo>
                  <a:lnTo>
                    <a:pt x="30" y="3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8" y="13"/>
                  </a:lnTo>
                  <a:lnTo>
                    <a:pt x="4" y="19"/>
                  </a:lnTo>
                  <a:lnTo>
                    <a:pt x="0" y="28"/>
                  </a:lnTo>
                  <a:lnTo>
                    <a:pt x="0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376"/>
            <p:cNvSpPr>
              <a:spLocks/>
            </p:cNvSpPr>
            <p:nvPr/>
          </p:nvSpPr>
          <p:spPr bwMode="auto">
            <a:xfrm>
              <a:off x="6205" y="2532"/>
              <a:ext cx="251" cy="340"/>
            </a:xfrm>
            <a:custGeom>
              <a:avLst/>
              <a:gdLst>
                <a:gd name="T0" fmla="*/ 207 w 251"/>
                <a:gd name="T1" fmla="*/ 6 h 340"/>
                <a:gd name="T2" fmla="*/ 180 w 251"/>
                <a:gd name="T3" fmla="*/ 2 h 340"/>
                <a:gd name="T4" fmla="*/ 156 w 251"/>
                <a:gd name="T5" fmla="*/ 2 h 340"/>
                <a:gd name="T6" fmla="*/ 133 w 251"/>
                <a:gd name="T7" fmla="*/ 6 h 340"/>
                <a:gd name="T8" fmla="*/ 110 w 251"/>
                <a:gd name="T9" fmla="*/ 16 h 340"/>
                <a:gd name="T10" fmla="*/ 69 w 251"/>
                <a:gd name="T11" fmla="*/ 39 h 340"/>
                <a:gd name="T12" fmla="*/ 28 w 251"/>
                <a:gd name="T13" fmla="*/ 64 h 340"/>
                <a:gd name="T14" fmla="*/ 21 w 251"/>
                <a:gd name="T15" fmla="*/ 73 h 340"/>
                <a:gd name="T16" fmla="*/ 9 w 251"/>
                <a:gd name="T17" fmla="*/ 88 h 340"/>
                <a:gd name="T18" fmla="*/ 4 w 251"/>
                <a:gd name="T19" fmla="*/ 107 h 340"/>
                <a:gd name="T20" fmla="*/ 0 w 251"/>
                <a:gd name="T21" fmla="*/ 137 h 340"/>
                <a:gd name="T22" fmla="*/ 1 w 251"/>
                <a:gd name="T23" fmla="*/ 181 h 340"/>
                <a:gd name="T24" fmla="*/ 2 w 251"/>
                <a:gd name="T25" fmla="*/ 224 h 340"/>
                <a:gd name="T26" fmla="*/ 5 w 251"/>
                <a:gd name="T27" fmla="*/ 235 h 340"/>
                <a:gd name="T28" fmla="*/ 7 w 251"/>
                <a:gd name="T29" fmla="*/ 273 h 340"/>
                <a:gd name="T30" fmla="*/ 11 w 251"/>
                <a:gd name="T31" fmla="*/ 296 h 340"/>
                <a:gd name="T32" fmla="*/ 19 w 251"/>
                <a:gd name="T33" fmla="*/ 312 h 340"/>
                <a:gd name="T34" fmla="*/ 24 w 251"/>
                <a:gd name="T35" fmla="*/ 317 h 340"/>
                <a:gd name="T36" fmla="*/ 42 w 251"/>
                <a:gd name="T37" fmla="*/ 327 h 340"/>
                <a:gd name="T38" fmla="*/ 62 w 251"/>
                <a:gd name="T39" fmla="*/ 334 h 340"/>
                <a:gd name="T40" fmla="*/ 106 w 251"/>
                <a:gd name="T41" fmla="*/ 340 h 340"/>
                <a:gd name="T42" fmla="*/ 153 w 251"/>
                <a:gd name="T43" fmla="*/ 339 h 340"/>
                <a:gd name="T44" fmla="*/ 197 w 251"/>
                <a:gd name="T45" fmla="*/ 332 h 340"/>
                <a:gd name="T46" fmla="*/ 211 w 251"/>
                <a:gd name="T47" fmla="*/ 327 h 340"/>
                <a:gd name="T48" fmla="*/ 237 w 251"/>
                <a:gd name="T49" fmla="*/ 313 h 340"/>
                <a:gd name="T50" fmla="*/ 248 w 251"/>
                <a:gd name="T51" fmla="*/ 305 h 340"/>
                <a:gd name="T52" fmla="*/ 251 w 251"/>
                <a:gd name="T53" fmla="*/ 293 h 340"/>
                <a:gd name="T54" fmla="*/ 247 w 251"/>
                <a:gd name="T55" fmla="*/ 285 h 340"/>
                <a:gd name="T56" fmla="*/ 244 w 251"/>
                <a:gd name="T57" fmla="*/ 283 h 340"/>
                <a:gd name="T58" fmla="*/ 207 w 251"/>
                <a:gd name="T59" fmla="*/ 285 h 340"/>
                <a:gd name="T60" fmla="*/ 173 w 251"/>
                <a:gd name="T61" fmla="*/ 293 h 340"/>
                <a:gd name="T62" fmla="*/ 162 w 251"/>
                <a:gd name="T63" fmla="*/ 296 h 340"/>
                <a:gd name="T64" fmla="*/ 139 w 251"/>
                <a:gd name="T65" fmla="*/ 296 h 340"/>
                <a:gd name="T66" fmla="*/ 118 w 251"/>
                <a:gd name="T67" fmla="*/ 292 h 340"/>
                <a:gd name="T68" fmla="*/ 98 w 251"/>
                <a:gd name="T69" fmla="*/ 283 h 340"/>
                <a:gd name="T70" fmla="*/ 88 w 251"/>
                <a:gd name="T71" fmla="*/ 278 h 340"/>
                <a:gd name="T72" fmla="*/ 78 w 251"/>
                <a:gd name="T73" fmla="*/ 259 h 340"/>
                <a:gd name="T74" fmla="*/ 75 w 251"/>
                <a:gd name="T75" fmla="*/ 243 h 340"/>
                <a:gd name="T76" fmla="*/ 76 w 251"/>
                <a:gd name="T77" fmla="*/ 238 h 340"/>
                <a:gd name="T78" fmla="*/ 75 w 251"/>
                <a:gd name="T79" fmla="*/ 194 h 340"/>
                <a:gd name="T80" fmla="*/ 72 w 251"/>
                <a:gd name="T81" fmla="*/ 148 h 340"/>
                <a:gd name="T82" fmla="*/ 74 w 251"/>
                <a:gd name="T83" fmla="*/ 115 h 340"/>
                <a:gd name="T84" fmla="*/ 79 w 251"/>
                <a:gd name="T85" fmla="*/ 95 h 340"/>
                <a:gd name="T86" fmla="*/ 89 w 251"/>
                <a:gd name="T87" fmla="*/ 77 h 340"/>
                <a:gd name="T88" fmla="*/ 96 w 251"/>
                <a:gd name="T89" fmla="*/ 68 h 340"/>
                <a:gd name="T90" fmla="*/ 103 w 251"/>
                <a:gd name="T91" fmla="*/ 60 h 340"/>
                <a:gd name="T92" fmla="*/ 123 w 251"/>
                <a:gd name="T93" fmla="*/ 51 h 340"/>
                <a:gd name="T94" fmla="*/ 145 w 251"/>
                <a:gd name="T95" fmla="*/ 47 h 340"/>
                <a:gd name="T96" fmla="*/ 166 w 251"/>
                <a:gd name="T97" fmla="*/ 39 h 340"/>
                <a:gd name="T98" fmla="*/ 173 w 251"/>
                <a:gd name="T99" fmla="*/ 31 h 340"/>
                <a:gd name="T100" fmla="*/ 179 w 251"/>
                <a:gd name="T101" fmla="*/ 29 h 340"/>
                <a:gd name="T102" fmla="*/ 199 w 251"/>
                <a:gd name="T103" fmla="*/ 31 h 340"/>
                <a:gd name="T104" fmla="*/ 209 w 251"/>
                <a:gd name="T105" fmla="*/ 30 h 340"/>
                <a:gd name="T106" fmla="*/ 213 w 251"/>
                <a:gd name="T107" fmla="*/ 27 h 340"/>
                <a:gd name="T108" fmla="*/ 207 w 251"/>
                <a:gd name="T109" fmla="*/ 6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1" h="340">
                  <a:moveTo>
                    <a:pt x="207" y="6"/>
                  </a:moveTo>
                  <a:lnTo>
                    <a:pt x="207" y="6"/>
                  </a:lnTo>
                  <a:lnTo>
                    <a:pt x="193" y="3"/>
                  </a:lnTo>
                  <a:lnTo>
                    <a:pt x="180" y="2"/>
                  </a:lnTo>
                  <a:lnTo>
                    <a:pt x="167" y="0"/>
                  </a:lnTo>
                  <a:lnTo>
                    <a:pt x="156" y="2"/>
                  </a:lnTo>
                  <a:lnTo>
                    <a:pt x="145" y="3"/>
                  </a:lnTo>
                  <a:lnTo>
                    <a:pt x="133" y="6"/>
                  </a:lnTo>
                  <a:lnTo>
                    <a:pt x="122" y="10"/>
                  </a:lnTo>
                  <a:lnTo>
                    <a:pt x="110" y="16"/>
                  </a:lnTo>
                  <a:lnTo>
                    <a:pt x="89" y="26"/>
                  </a:lnTo>
                  <a:lnTo>
                    <a:pt x="69" y="39"/>
                  </a:lnTo>
                  <a:lnTo>
                    <a:pt x="49" y="5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1" y="73"/>
                  </a:lnTo>
                  <a:lnTo>
                    <a:pt x="15" y="80"/>
                  </a:lnTo>
                  <a:lnTo>
                    <a:pt x="9" y="88"/>
                  </a:lnTo>
                  <a:lnTo>
                    <a:pt x="7" y="98"/>
                  </a:lnTo>
                  <a:lnTo>
                    <a:pt x="4" y="107"/>
                  </a:lnTo>
                  <a:lnTo>
                    <a:pt x="1" y="117"/>
                  </a:lnTo>
                  <a:lnTo>
                    <a:pt x="0" y="137"/>
                  </a:lnTo>
                  <a:lnTo>
                    <a:pt x="1" y="158"/>
                  </a:lnTo>
                  <a:lnTo>
                    <a:pt x="1" y="181"/>
                  </a:lnTo>
                  <a:lnTo>
                    <a:pt x="2" y="202"/>
                  </a:lnTo>
                  <a:lnTo>
                    <a:pt x="2" y="224"/>
                  </a:lnTo>
                  <a:lnTo>
                    <a:pt x="2" y="224"/>
                  </a:lnTo>
                  <a:lnTo>
                    <a:pt x="5" y="235"/>
                  </a:lnTo>
                  <a:lnTo>
                    <a:pt x="7" y="248"/>
                  </a:lnTo>
                  <a:lnTo>
                    <a:pt x="7" y="273"/>
                  </a:lnTo>
                  <a:lnTo>
                    <a:pt x="8" y="285"/>
                  </a:lnTo>
                  <a:lnTo>
                    <a:pt x="11" y="296"/>
                  </a:lnTo>
                  <a:lnTo>
                    <a:pt x="15" y="307"/>
                  </a:lnTo>
                  <a:lnTo>
                    <a:pt x="19" y="312"/>
                  </a:lnTo>
                  <a:lnTo>
                    <a:pt x="24" y="317"/>
                  </a:lnTo>
                  <a:lnTo>
                    <a:pt x="24" y="317"/>
                  </a:lnTo>
                  <a:lnTo>
                    <a:pt x="32" y="323"/>
                  </a:lnTo>
                  <a:lnTo>
                    <a:pt x="42" y="327"/>
                  </a:lnTo>
                  <a:lnTo>
                    <a:pt x="51" y="332"/>
                  </a:lnTo>
                  <a:lnTo>
                    <a:pt x="62" y="334"/>
                  </a:lnTo>
                  <a:lnTo>
                    <a:pt x="83" y="339"/>
                  </a:lnTo>
                  <a:lnTo>
                    <a:pt x="106" y="340"/>
                  </a:lnTo>
                  <a:lnTo>
                    <a:pt x="130" y="340"/>
                  </a:lnTo>
                  <a:lnTo>
                    <a:pt x="153" y="339"/>
                  </a:lnTo>
                  <a:lnTo>
                    <a:pt x="176" y="336"/>
                  </a:lnTo>
                  <a:lnTo>
                    <a:pt x="197" y="332"/>
                  </a:lnTo>
                  <a:lnTo>
                    <a:pt x="197" y="332"/>
                  </a:lnTo>
                  <a:lnTo>
                    <a:pt x="211" y="327"/>
                  </a:lnTo>
                  <a:lnTo>
                    <a:pt x="224" y="320"/>
                  </a:lnTo>
                  <a:lnTo>
                    <a:pt x="237" y="313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51" y="299"/>
                  </a:lnTo>
                  <a:lnTo>
                    <a:pt x="251" y="293"/>
                  </a:lnTo>
                  <a:lnTo>
                    <a:pt x="250" y="288"/>
                  </a:lnTo>
                  <a:lnTo>
                    <a:pt x="247" y="285"/>
                  </a:lnTo>
                  <a:lnTo>
                    <a:pt x="244" y="283"/>
                  </a:lnTo>
                  <a:lnTo>
                    <a:pt x="244" y="283"/>
                  </a:lnTo>
                  <a:lnTo>
                    <a:pt x="226" y="283"/>
                  </a:lnTo>
                  <a:lnTo>
                    <a:pt x="207" y="285"/>
                  </a:lnTo>
                  <a:lnTo>
                    <a:pt x="190" y="288"/>
                  </a:lnTo>
                  <a:lnTo>
                    <a:pt x="173" y="293"/>
                  </a:lnTo>
                  <a:lnTo>
                    <a:pt x="173" y="293"/>
                  </a:lnTo>
                  <a:lnTo>
                    <a:pt x="162" y="296"/>
                  </a:lnTo>
                  <a:lnTo>
                    <a:pt x="150" y="296"/>
                  </a:lnTo>
                  <a:lnTo>
                    <a:pt x="139" y="296"/>
                  </a:lnTo>
                  <a:lnTo>
                    <a:pt x="128" y="295"/>
                  </a:lnTo>
                  <a:lnTo>
                    <a:pt x="118" y="292"/>
                  </a:lnTo>
                  <a:lnTo>
                    <a:pt x="108" y="288"/>
                  </a:lnTo>
                  <a:lnTo>
                    <a:pt x="98" y="283"/>
                  </a:lnTo>
                  <a:lnTo>
                    <a:pt x="88" y="278"/>
                  </a:lnTo>
                  <a:lnTo>
                    <a:pt x="88" y="278"/>
                  </a:lnTo>
                  <a:lnTo>
                    <a:pt x="82" y="269"/>
                  </a:lnTo>
                  <a:lnTo>
                    <a:pt x="78" y="259"/>
                  </a:lnTo>
                  <a:lnTo>
                    <a:pt x="75" y="249"/>
                  </a:lnTo>
                  <a:lnTo>
                    <a:pt x="75" y="243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6" y="216"/>
                  </a:lnTo>
                  <a:lnTo>
                    <a:pt x="75" y="194"/>
                  </a:lnTo>
                  <a:lnTo>
                    <a:pt x="74" y="171"/>
                  </a:lnTo>
                  <a:lnTo>
                    <a:pt x="72" y="148"/>
                  </a:lnTo>
                  <a:lnTo>
                    <a:pt x="74" y="125"/>
                  </a:lnTo>
                  <a:lnTo>
                    <a:pt x="74" y="115"/>
                  </a:lnTo>
                  <a:lnTo>
                    <a:pt x="76" y="105"/>
                  </a:lnTo>
                  <a:lnTo>
                    <a:pt x="79" y="95"/>
                  </a:lnTo>
                  <a:lnTo>
                    <a:pt x="83" y="86"/>
                  </a:lnTo>
                  <a:lnTo>
                    <a:pt x="89" y="77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101" y="64"/>
                  </a:lnTo>
                  <a:lnTo>
                    <a:pt x="103" y="60"/>
                  </a:lnTo>
                  <a:lnTo>
                    <a:pt x="113" y="54"/>
                  </a:lnTo>
                  <a:lnTo>
                    <a:pt x="123" y="51"/>
                  </a:lnTo>
                  <a:lnTo>
                    <a:pt x="135" y="49"/>
                  </a:lnTo>
                  <a:lnTo>
                    <a:pt x="145" y="47"/>
                  </a:lnTo>
                  <a:lnTo>
                    <a:pt x="156" y="44"/>
                  </a:lnTo>
                  <a:lnTo>
                    <a:pt x="166" y="39"/>
                  </a:lnTo>
                  <a:lnTo>
                    <a:pt x="170" y="36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9" y="29"/>
                  </a:lnTo>
                  <a:lnTo>
                    <a:pt x="186" y="29"/>
                  </a:lnTo>
                  <a:lnTo>
                    <a:pt x="199" y="31"/>
                  </a:lnTo>
                  <a:lnTo>
                    <a:pt x="204" y="31"/>
                  </a:lnTo>
                  <a:lnTo>
                    <a:pt x="209" y="30"/>
                  </a:lnTo>
                  <a:lnTo>
                    <a:pt x="211" y="29"/>
                  </a:lnTo>
                  <a:lnTo>
                    <a:pt x="213" y="27"/>
                  </a:lnTo>
                  <a:lnTo>
                    <a:pt x="213" y="19"/>
                  </a:lnTo>
                  <a:lnTo>
                    <a:pt x="207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377"/>
            <p:cNvSpPr>
              <a:spLocks/>
            </p:cNvSpPr>
            <p:nvPr/>
          </p:nvSpPr>
          <p:spPr bwMode="auto">
            <a:xfrm>
              <a:off x="6930" y="2569"/>
              <a:ext cx="110" cy="295"/>
            </a:xfrm>
            <a:custGeom>
              <a:avLst/>
              <a:gdLst>
                <a:gd name="T0" fmla="*/ 73 w 110"/>
                <a:gd name="T1" fmla="*/ 0 h 295"/>
                <a:gd name="T2" fmla="*/ 73 w 110"/>
                <a:gd name="T3" fmla="*/ 0 h 295"/>
                <a:gd name="T4" fmla="*/ 67 w 110"/>
                <a:gd name="T5" fmla="*/ 2 h 295"/>
                <a:gd name="T6" fmla="*/ 61 w 110"/>
                <a:gd name="T7" fmla="*/ 4 h 295"/>
                <a:gd name="T8" fmla="*/ 57 w 110"/>
                <a:gd name="T9" fmla="*/ 7 h 295"/>
                <a:gd name="T10" fmla="*/ 54 w 110"/>
                <a:gd name="T11" fmla="*/ 12 h 295"/>
                <a:gd name="T12" fmla="*/ 48 w 110"/>
                <a:gd name="T13" fmla="*/ 20 h 295"/>
                <a:gd name="T14" fmla="*/ 43 w 110"/>
                <a:gd name="T15" fmla="*/ 30 h 295"/>
                <a:gd name="T16" fmla="*/ 43 w 110"/>
                <a:gd name="T17" fmla="*/ 30 h 295"/>
                <a:gd name="T18" fmla="*/ 44 w 110"/>
                <a:gd name="T19" fmla="*/ 57 h 295"/>
                <a:gd name="T20" fmla="*/ 41 w 110"/>
                <a:gd name="T21" fmla="*/ 83 h 295"/>
                <a:gd name="T22" fmla="*/ 37 w 110"/>
                <a:gd name="T23" fmla="*/ 108 h 295"/>
                <a:gd name="T24" fmla="*/ 33 w 110"/>
                <a:gd name="T25" fmla="*/ 132 h 295"/>
                <a:gd name="T26" fmla="*/ 26 w 110"/>
                <a:gd name="T27" fmla="*/ 157 h 295"/>
                <a:gd name="T28" fmla="*/ 17 w 110"/>
                <a:gd name="T29" fmla="*/ 181 h 295"/>
                <a:gd name="T30" fmla="*/ 0 w 110"/>
                <a:gd name="T31" fmla="*/ 225 h 295"/>
                <a:gd name="T32" fmla="*/ 0 w 110"/>
                <a:gd name="T33" fmla="*/ 225 h 295"/>
                <a:gd name="T34" fmla="*/ 3 w 110"/>
                <a:gd name="T35" fmla="*/ 245 h 295"/>
                <a:gd name="T36" fmla="*/ 7 w 110"/>
                <a:gd name="T37" fmla="*/ 265 h 295"/>
                <a:gd name="T38" fmla="*/ 11 w 110"/>
                <a:gd name="T39" fmla="*/ 273 h 295"/>
                <a:gd name="T40" fmla="*/ 16 w 110"/>
                <a:gd name="T41" fmla="*/ 280 h 295"/>
                <a:gd name="T42" fmla="*/ 21 w 110"/>
                <a:gd name="T43" fmla="*/ 288 h 295"/>
                <a:gd name="T44" fmla="*/ 28 w 110"/>
                <a:gd name="T45" fmla="*/ 292 h 295"/>
                <a:gd name="T46" fmla="*/ 28 w 110"/>
                <a:gd name="T47" fmla="*/ 292 h 295"/>
                <a:gd name="T48" fmla="*/ 36 w 110"/>
                <a:gd name="T49" fmla="*/ 295 h 295"/>
                <a:gd name="T50" fmla="*/ 44 w 110"/>
                <a:gd name="T51" fmla="*/ 295 h 295"/>
                <a:gd name="T52" fmla="*/ 51 w 110"/>
                <a:gd name="T53" fmla="*/ 295 h 295"/>
                <a:gd name="T54" fmla="*/ 58 w 110"/>
                <a:gd name="T55" fmla="*/ 293 h 295"/>
                <a:gd name="T56" fmla="*/ 65 w 110"/>
                <a:gd name="T57" fmla="*/ 290 h 295"/>
                <a:gd name="T58" fmla="*/ 71 w 110"/>
                <a:gd name="T59" fmla="*/ 286 h 295"/>
                <a:gd name="T60" fmla="*/ 77 w 110"/>
                <a:gd name="T61" fmla="*/ 282 h 295"/>
                <a:gd name="T62" fmla="*/ 81 w 110"/>
                <a:gd name="T63" fmla="*/ 276 h 295"/>
                <a:gd name="T64" fmla="*/ 81 w 110"/>
                <a:gd name="T65" fmla="*/ 276 h 295"/>
                <a:gd name="T66" fmla="*/ 83 w 110"/>
                <a:gd name="T67" fmla="*/ 270 h 295"/>
                <a:gd name="T68" fmla="*/ 84 w 110"/>
                <a:gd name="T69" fmla="*/ 266 h 295"/>
                <a:gd name="T70" fmla="*/ 84 w 110"/>
                <a:gd name="T71" fmla="*/ 262 h 295"/>
                <a:gd name="T72" fmla="*/ 84 w 110"/>
                <a:gd name="T73" fmla="*/ 258 h 295"/>
                <a:gd name="T74" fmla="*/ 81 w 110"/>
                <a:gd name="T75" fmla="*/ 249 h 295"/>
                <a:gd name="T76" fmla="*/ 77 w 110"/>
                <a:gd name="T77" fmla="*/ 242 h 295"/>
                <a:gd name="T78" fmla="*/ 71 w 110"/>
                <a:gd name="T79" fmla="*/ 235 h 295"/>
                <a:gd name="T80" fmla="*/ 68 w 110"/>
                <a:gd name="T81" fmla="*/ 226 h 295"/>
                <a:gd name="T82" fmla="*/ 67 w 110"/>
                <a:gd name="T83" fmla="*/ 222 h 295"/>
                <a:gd name="T84" fmla="*/ 67 w 110"/>
                <a:gd name="T85" fmla="*/ 218 h 295"/>
                <a:gd name="T86" fmla="*/ 68 w 110"/>
                <a:gd name="T87" fmla="*/ 214 h 295"/>
                <a:gd name="T88" fmla="*/ 70 w 110"/>
                <a:gd name="T89" fmla="*/ 209 h 295"/>
                <a:gd name="T90" fmla="*/ 70 w 110"/>
                <a:gd name="T91" fmla="*/ 209 h 295"/>
                <a:gd name="T92" fmla="*/ 81 w 110"/>
                <a:gd name="T93" fmla="*/ 188 h 295"/>
                <a:gd name="T94" fmla="*/ 90 w 110"/>
                <a:gd name="T95" fmla="*/ 167 h 295"/>
                <a:gd name="T96" fmla="*/ 98 w 110"/>
                <a:gd name="T97" fmla="*/ 145 h 295"/>
                <a:gd name="T98" fmla="*/ 102 w 110"/>
                <a:gd name="T99" fmla="*/ 122 h 295"/>
                <a:gd name="T100" fmla="*/ 107 w 110"/>
                <a:gd name="T101" fmla="*/ 98 h 295"/>
                <a:gd name="T102" fmla="*/ 110 w 110"/>
                <a:gd name="T103" fmla="*/ 74 h 295"/>
                <a:gd name="T104" fmla="*/ 110 w 110"/>
                <a:gd name="T105" fmla="*/ 50 h 295"/>
                <a:gd name="T106" fmla="*/ 108 w 110"/>
                <a:gd name="T107" fmla="*/ 24 h 295"/>
                <a:gd name="T108" fmla="*/ 108 w 110"/>
                <a:gd name="T109" fmla="*/ 24 h 295"/>
                <a:gd name="T110" fmla="*/ 105 w 110"/>
                <a:gd name="T111" fmla="*/ 17 h 295"/>
                <a:gd name="T112" fmla="*/ 102 w 110"/>
                <a:gd name="T113" fmla="*/ 13 h 295"/>
                <a:gd name="T114" fmla="*/ 100 w 110"/>
                <a:gd name="T115" fmla="*/ 9 h 295"/>
                <a:gd name="T116" fmla="*/ 95 w 110"/>
                <a:gd name="T117" fmla="*/ 6 h 295"/>
                <a:gd name="T118" fmla="*/ 90 w 110"/>
                <a:gd name="T119" fmla="*/ 3 h 295"/>
                <a:gd name="T120" fmla="*/ 84 w 110"/>
                <a:gd name="T121" fmla="*/ 2 h 295"/>
                <a:gd name="T122" fmla="*/ 73 w 110"/>
                <a:gd name="T123" fmla="*/ 0 h 295"/>
                <a:gd name="T124" fmla="*/ 73 w 110"/>
                <a:gd name="T125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0" h="295">
                  <a:moveTo>
                    <a:pt x="73" y="0"/>
                  </a:moveTo>
                  <a:lnTo>
                    <a:pt x="73" y="0"/>
                  </a:lnTo>
                  <a:lnTo>
                    <a:pt x="67" y="2"/>
                  </a:lnTo>
                  <a:lnTo>
                    <a:pt x="61" y="4"/>
                  </a:lnTo>
                  <a:lnTo>
                    <a:pt x="57" y="7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4" y="57"/>
                  </a:lnTo>
                  <a:lnTo>
                    <a:pt x="41" y="83"/>
                  </a:lnTo>
                  <a:lnTo>
                    <a:pt x="37" y="108"/>
                  </a:lnTo>
                  <a:lnTo>
                    <a:pt x="33" y="132"/>
                  </a:lnTo>
                  <a:lnTo>
                    <a:pt x="26" y="157"/>
                  </a:lnTo>
                  <a:lnTo>
                    <a:pt x="17" y="181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3" y="245"/>
                  </a:lnTo>
                  <a:lnTo>
                    <a:pt x="7" y="265"/>
                  </a:lnTo>
                  <a:lnTo>
                    <a:pt x="11" y="273"/>
                  </a:lnTo>
                  <a:lnTo>
                    <a:pt x="16" y="280"/>
                  </a:lnTo>
                  <a:lnTo>
                    <a:pt x="21" y="288"/>
                  </a:lnTo>
                  <a:lnTo>
                    <a:pt x="28" y="292"/>
                  </a:lnTo>
                  <a:lnTo>
                    <a:pt x="28" y="292"/>
                  </a:lnTo>
                  <a:lnTo>
                    <a:pt x="36" y="295"/>
                  </a:lnTo>
                  <a:lnTo>
                    <a:pt x="44" y="295"/>
                  </a:lnTo>
                  <a:lnTo>
                    <a:pt x="51" y="295"/>
                  </a:lnTo>
                  <a:lnTo>
                    <a:pt x="58" y="293"/>
                  </a:lnTo>
                  <a:lnTo>
                    <a:pt x="65" y="290"/>
                  </a:lnTo>
                  <a:lnTo>
                    <a:pt x="71" y="286"/>
                  </a:lnTo>
                  <a:lnTo>
                    <a:pt x="77" y="282"/>
                  </a:lnTo>
                  <a:lnTo>
                    <a:pt x="81" y="276"/>
                  </a:lnTo>
                  <a:lnTo>
                    <a:pt x="81" y="276"/>
                  </a:lnTo>
                  <a:lnTo>
                    <a:pt x="83" y="270"/>
                  </a:lnTo>
                  <a:lnTo>
                    <a:pt x="84" y="266"/>
                  </a:lnTo>
                  <a:lnTo>
                    <a:pt x="84" y="262"/>
                  </a:lnTo>
                  <a:lnTo>
                    <a:pt x="84" y="258"/>
                  </a:lnTo>
                  <a:lnTo>
                    <a:pt x="81" y="249"/>
                  </a:lnTo>
                  <a:lnTo>
                    <a:pt x="77" y="242"/>
                  </a:lnTo>
                  <a:lnTo>
                    <a:pt x="71" y="235"/>
                  </a:lnTo>
                  <a:lnTo>
                    <a:pt x="68" y="226"/>
                  </a:lnTo>
                  <a:lnTo>
                    <a:pt x="67" y="222"/>
                  </a:lnTo>
                  <a:lnTo>
                    <a:pt x="67" y="218"/>
                  </a:lnTo>
                  <a:lnTo>
                    <a:pt x="68" y="214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81" y="188"/>
                  </a:lnTo>
                  <a:lnTo>
                    <a:pt x="90" y="167"/>
                  </a:lnTo>
                  <a:lnTo>
                    <a:pt x="98" y="145"/>
                  </a:lnTo>
                  <a:lnTo>
                    <a:pt x="102" y="122"/>
                  </a:lnTo>
                  <a:lnTo>
                    <a:pt x="107" y="98"/>
                  </a:lnTo>
                  <a:lnTo>
                    <a:pt x="110" y="74"/>
                  </a:lnTo>
                  <a:lnTo>
                    <a:pt x="110" y="50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5" y="17"/>
                  </a:lnTo>
                  <a:lnTo>
                    <a:pt x="102" y="13"/>
                  </a:lnTo>
                  <a:lnTo>
                    <a:pt x="100" y="9"/>
                  </a:lnTo>
                  <a:lnTo>
                    <a:pt x="95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3" y="0"/>
                  </a:lnTo>
                  <a:lnTo>
                    <a:pt x="7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378"/>
            <p:cNvSpPr>
              <a:spLocks/>
            </p:cNvSpPr>
            <p:nvPr/>
          </p:nvSpPr>
          <p:spPr bwMode="auto">
            <a:xfrm>
              <a:off x="7382" y="2317"/>
              <a:ext cx="375" cy="548"/>
            </a:xfrm>
            <a:custGeom>
              <a:avLst/>
              <a:gdLst>
                <a:gd name="T0" fmla="*/ 306 w 375"/>
                <a:gd name="T1" fmla="*/ 3 h 548"/>
                <a:gd name="T2" fmla="*/ 296 w 375"/>
                <a:gd name="T3" fmla="*/ 17 h 548"/>
                <a:gd name="T4" fmla="*/ 292 w 375"/>
                <a:gd name="T5" fmla="*/ 63 h 548"/>
                <a:gd name="T6" fmla="*/ 303 w 375"/>
                <a:gd name="T7" fmla="*/ 214 h 548"/>
                <a:gd name="T8" fmla="*/ 305 w 375"/>
                <a:gd name="T9" fmla="*/ 323 h 548"/>
                <a:gd name="T10" fmla="*/ 295 w 375"/>
                <a:gd name="T11" fmla="*/ 329 h 548"/>
                <a:gd name="T12" fmla="*/ 284 w 375"/>
                <a:gd name="T13" fmla="*/ 325 h 548"/>
                <a:gd name="T14" fmla="*/ 239 w 375"/>
                <a:gd name="T15" fmla="*/ 278 h 548"/>
                <a:gd name="T16" fmla="*/ 235 w 375"/>
                <a:gd name="T17" fmla="*/ 268 h 548"/>
                <a:gd name="T18" fmla="*/ 215 w 375"/>
                <a:gd name="T19" fmla="*/ 258 h 548"/>
                <a:gd name="T20" fmla="*/ 184 w 375"/>
                <a:gd name="T21" fmla="*/ 255 h 548"/>
                <a:gd name="T22" fmla="*/ 167 w 375"/>
                <a:gd name="T23" fmla="*/ 264 h 548"/>
                <a:gd name="T24" fmla="*/ 130 w 375"/>
                <a:gd name="T25" fmla="*/ 268 h 548"/>
                <a:gd name="T26" fmla="*/ 87 w 375"/>
                <a:gd name="T27" fmla="*/ 279 h 548"/>
                <a:gd name="T28" fmla="*/ 27 w 375"/>
                <a:gd name="T29" fmla="*/ 309 h 548"/>
                <a:gd name="T30" fmla="*/ 8 w 375"/>
                <a:gd name="T31" fmla="*/ 363 h 548"/>
                <a:gd name="T32" fmla="*/ 0 w 375"/>
                <a:gd name="T33" fmla="*/ 409 h 548"/>
                <a:gd name="T34" fmla="*/ 6 w 375"/>
                <a:gd name="T35" fmla="*/ 441 h 548"/>
                <a:gd name="T36" fmla="*/ 25 w 375"/>
                <a:gd name="T37" fmla="*/ 480 h 548"/>
                <a:gd name="T38" fmla="*/ 29 w 375"/>
                <a:gd name="T39" fmla="*/ 495 h 548"/>
                <a:gd name="T40" fmla="*/ 40 w 375"/>
                <a:gd name="T41" fmla="*/ 505 h 548"/>
                <a:gd name="T42" fmla="*/ 60 w 375"/>
                <a:gd name="T43" fmla="*/ 508 h 548"/>
                <a:gd name="T44" fmla="*/ 133 w 375"/>
                <a:gd name="T45" fmla="*/ 541 h 548"/>
                <a:gd name="T46" fmla="*/ 192 w 375"/>
                <a:gd name="T47" fmla="*/ 548 h 548"/>
                <a:gd name="T48" fmla="*/ 222 w 375"/>
                <a:gd name="T49" fmla="*/ 544 h 548"/>
                <a:gd name="T50" fmla="*/ 241 w 375"/>
                <a:gd name="T51" fmla="*/ 532 h 548"/>
                <a:gd name="T52" fmla="*/ 261 w 375"/>
                <a:gd name="T53" fmla="*/ 508 h 548"/>
                <a:gd name="T54" fmla="*/ 278 w 375"/>
                <a:gd name="T55" fmla="*/ 508 h 548"/>
                <a:gd name="T56" fmla="*/ 301 w 375"/>
                <a:gd name="T57" fmla="*/ 522 h 548"/>
                <a:gd name="T58" fmla="*/ 325 w 375"/>
                <a:gd name="T59" fmla="*/ 544 h 548"/>
                <a:gd name="T60" fmla="*/ 336 w 375"/>
                <a:gd name="T61" fmla="*/ 547 h 548"/>
                <a:gd name="T62" fmla="*/ 363 w 375"/>
                <a:gd name="T63" fmla="*/ 538 h 548"/>
                <a:gd name="T64" fmla="*/ 375 w 375"/>
                <a:gd name="T65" fmla="*/ 525 h 548"/>
                <a:gd name="T66" fmla="*/ 370 w 375"/>
                <a:gd name="T67" fmla="*/ 504 h 548"/>
                <a:gd name="T68" fmla="*/ 356 w 375"/>
                <a:gd name="T69" fmla="*/ 464 h 548"/>
                <a:gd name="T70" fmla="*/ 355 w 375"/>
                <a:gd name="T71" fmla="*/ 443 h 548"/>
                <a:gd name="T72" fmla="*/ 365 w 375"/>
                <a:gd name="T73" fmla="*/ 325 h 548"/>
                <a:gd name="T74" fmla="*/ 363 w 375"/>
                <a:gd name="T75" fmla="*/ 204 h 548"/>
                <a:gd name="T76" fmla="*/ 356 w 375"/>
                <a:gd name="T77" fmla="*/ 126 h 548"/>
                <a:gd name="T78" fmla="*/ 345 w 375"/>
                <a:gd name="T79" fmla="*/ 42 h 548"/>
                <a:gd name="T80" fmla="*/ 336 w 375"/>
                <a:gd name="T81" fmla="*/ 10 h 548"/>
                <a:gd name="T82" fmla="*/ 318 w 375"/>
                <a:gd name="T83" fmla="*/ 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548">
                  <a:moveTo>
                    <a:pt x="311" y="0"/>
                  </a:moveTo>
                  <a:lnTo>
                    <a:pt x="311" y="0"/>
                  </a:lnTo>
                  <a:lnTo>
                    <a:pt x="306" y="3"/>
                  </a:lnTo>
                  <a:lnTo>
                    <a:pt x="303" y="5"/>
                  </a:lnTo>
                  <a:lnTo>
                    <a:pt x="299" y="10"/>
                  </a:lnTo>
                  <a:lnTo>
                    <a:pt x="296" y="17"/>
                  </a:lnTo>
                  <a:lnTo>
                    <a:pt x="292" y="23"/>
                  </a:lnTo>
                  <a:lnTo>
                    <a:pt x="292" y="23"/>
                  </a:lnTo>
                  <a:lnTo>
                    <a:pt x="292" y="63"/>
                  </a:lnTo>
                  <a:lnTo>
                    <a:pt x="293" y="101"/>
                  </a:lnTo>
                  <a:lnTo>
                    <a:pt x="301" y="177"/>
                  </a:lnTo>
                  <a:lnTo>
                    <a:pt x="303" y="214"/>
                  </a:lnTo>
                  <a:lnTo>
                    <a:pt x="306" y="251"/>
                  </a:lnTo>
                  <a:lnTo>
                    <a:pt x="306" y="288"/>
                  </a:lnTo>
                  <a:lnTo>
                    <a:pt x="305" y="323"/>
                  </a:lnTo>
                  <a:lnTo>
                    <a:pt x="305" y="323"/>
                  </a:lnTo>
                  <a:lnTo>
                    <a:pt x="299" y="329"/>
                  </a:lnTo>
                  <a:lnTo>
                    <a:pt x="295" y="329"/>
                  </a:lnTo>
                  <a:lnTo>
                    <a:pt x="292" y="330"/>
                  </a:lnTo>
                  <a:lnTo>
                    <a:pt x="292" y="330"/>
                  </a:lnTo>
                  <a:lnTo>
                    <a:pt x="284" y="325"/>
                  </a:lnTo>
                  <a:lnTo>
                    <a:pt x="276" y="320"/>
                  </a:lnTo>
                  <a:lnTo>
                    <a:pt x="264" y="308"/>
                  </a:lnTo>
                  <a:lnTo>
                    <a:pt x="239" y="278"/>
                  </a:lnTo>
                  <a:lnTo>
                    <a:pt x="239" y="273"/>
                  </a:lnTo>
                  <a:lnTo>
                    <a:pt x="239" y="273"/>
                  </a:lnTo>
                  <a:lnTo>
                    <a:pt x="235" y="268"/>
                  </a:lnTo>
                  <a:lnTo>
                    <a:pt x="228" y="264"/>
                  </a:lnTo>
                  <a:lnTo>
                    <a:pt x="222" y="261"/>
                  </a:lnTo>
                  <a:lnTo>
                    <a:pt x="215" y="258"/>
                  </a:lnTo>
                  <a:lnTo>
                    <a:pt x="208" y="255"/>
                  </a:lnTo>
                  <a:lnTo>
                    <a:pt x="200" y="255"/>
                  </a:lnTo>
                  <a:lnTo>
                    <a:pt x="184" y="255"/>
                  </a:lnTo>
                  <a:lnTo>
                    <a:pt x="184" y="255"/>
                  </a:lnTo>
                  <a:lnTo>
                    <a:pt x="175" y="261"/>
                  </a:lnTo>
                  <a:lnTo>
                    <a:pt x="167" y="264"/>
                  </a:lnTo>
                  <a:lnTo>
                    <a:pt x="158" y="266"/>
                  </a:lnTo>
                  <a:lnTo>
                    <a:pt x="150" y="266"/>
                  </a:lnTo>
                  <a:lnTo>
                    <a:pt x="13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87" y="279"/>
                  </a:lnTo>
                  <a:lnTo>
                    <a:pt x="63" y="291"/>
                  </a:lnTo>
                  <a:lnTo>
                    <a:pt x="39" y="302"/>
                  </a:lnTo>
                  <a:lnTo>
                    <a:pt x="27" y="309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8" y="363"/>
                  </a:lnTo>
                  <a:lnTo>
                    <a:pt x="3" y="386"/>
                  </a:lnTo>
                  <a:lnTo>
                    <a:pt x="0" y="409"/>
                  </a:lnTo>
                  <a:lnTo>
                    <a:pt x="0" y="409"/>
                  </a:lnTo>
                  <a:lnTo>
                    <a:pt x="0" y="421"/>
                  </a:lnTo>
                  <a:lnTo>
                    <a:pt x="2" y="431"/>
                  </a:lnTo>
                  <a:lnTo>
                    <a:pt x="6" y="441"/>
                  </a:lnTo>
                  <a:lnTo>
                    <a:pt x="10" y="451"/>
                  </a:lnTo>
                  <a:lnTo>
                    <a:pt x="20" y="470"/>
                  </a:lnTo>
                  <a:lnTo>
                    <a:pt x="25" y="480"/>
                  </a:lnTo>
                  <a:lnTo>
                    <a:pt x="27" y="490"/>
                  </a:lnTo>
                  <a:lnTo>
                    <a:pt x="27" y="490"/>
                  </a:lnTo>
                  <a:lnTo>
                    <a:pt x="29" y="495"/>
                  </a:lnTo>
                  <a:lnTo>
                    <a:pt x="32" y="500"/>
                  </a:lnTo>
                  <a:lnTo>
                    <a:pt x="36" y="503"/>
                  </a:lnTo>
                  <a:lnTo>
                    <a:pt x="40" y="505"/>
                  </a:lnTo>
                  <a:lnTo>
                    <a:pt x="50" y="508"/>
                  </a:lnTo>
                  <a:lnTo>
                    <a:pt x="60" y="508"/>
                  </a:lnTo>
                  <a:lnTo>
                    <a:pt x="60" y="508"/>
                  </a:lnTo>
                  <a:lnTo>
                    <a:pt x="96" y="527"/>
                  </a:lnTo>
                  <a:lnTo>
                    <a:pt x="114" y="534"/>
                  </a:lnTo>
                  <a:lnTo>
                    <a:pt x="133" y="541"/>
                  </a:lnTo>
                  <a:lnTo>
                    <a:pt x="151" y="545"/>
                  </a:lnTo>
                  <a:lnTo>
                    <a:pt x="171" y="548"/>
                  </a:lnTo>
                  <a:lnTo>
                    <a:pt x="192" y="548"/>
                  </a:lnTo>
                  <a:lnTo>
                    <a:pt x="215" y="547"/>
                  </a:lnTo>
                  <a:lnTo>
                    <a:pt x="215" y="547"/>
                  </a:lnTo>
                  <a:lnTo>
                    <a:pt x="222" y="544"/>
                  </a:lnTo>
                  <a:lnTo>
                    <a:pt x="229" y="541"/>
                  </a:lnTo>
                  <a:lnTo>
                    <a:pt x="235" y="537"/>
                  </a:lnTo>
                  <a:lnTo>
                    <a:pt x="241" y="532"/>
                  </a:lnTo>
                  <a:lnTo>
                    <a:pt x="249" y="521"/>
                  </a:lnTo>
                  <a:lnTo>
                    <a:pt x="261" y="508"/>
                  </a:lnTo>
                  <a:lnTo>
                    <a:pt x="261" y="508"/>
                  </a:lnTo>
                  <a:lnTo>
                    <a:pt x="266" y="507"/>
                  </a:lnTo>
                  <a:lnTo>
                    <a:pt x="274" y="507"/>
                  </a:lnTo>
                  <a:lnTo>
                    <a:pt x="278" y="508"/>
                  </a:lnTo>
                  <a:lnTo>
                    <a:pt x="284" y="510"/>
                  </a:lnTo>
                  <a:lnTo>
                    <a:pt x="292" y="515"/>
                  </a:lnTo>
                  <a:lnTo>
                    <a:pt x="301" y="522"/>
                  </a:lnTo>
                  <a:lnTo>
                    <a:pt x="308" y="531"/>
                  </a:lnTo>
                  <a:lnTo>
                    <a:pt x="316" y="538"/>
                  </a:lnTo>
                  <a:lnTo>
                    <a:pt x="325" y="544"/>
                  </a:lnTo>
                  <a:lnTo>
                    <a:pt x="330" y="545"/>
                  </a:lnTo>
                  <a:lnTo>
                    <a:pt x="336" y="547"/>
                  </a:lnTo>
                  <a:lnTo>
                    <a:pt x="336" y="547"/>
                  </a:lnTo>
                  <a:lnTo>
                    <a:pt x="348" y="545"/>
                  </a:lnTo>
                  <a:lnTo>
                    <a:pt x="359" y="541"/>
                  </a:lnTo>
                  <a:lnTo>
                    <a:pt x="363" y="538"/>
                  </a:lnTo>
                  <a:lnTo>
                    <a:pt x="369" y="535"/>
                  </a:lnTo>
                  <a:lnTo>
                    <a:pt x="372" y="531"/>
                  </a:lnTo>
                  <a:lnTo>
                    <a:pt x="375" y="525"/>
                  </a:lnTo>
                  <a:lnTo>
                    <a:pt x="375" y="525"/>
                  </a:lnTo>
                  <a:lnTo>
                    <a:pt x="373" y="515"/>
                  </a:lnTo>
                  <a:lnTo>
                    <a:pt x="370" y="504"/>
                  </a:lnTo>
                  <a:lnTo>
                    <a:pt x="363" y="484"/>
                  </a:lnTo>
                  <a:lnTo>
                    <a:pt x="359" y="474"/>
                  </a:lnTo>
                  <a:lnTo>
                    <a:pt x="356" y="464"/>
                  </a:lnTo>
                  <a:lnTo>
                    <a:pt x="355" y="454"/>
                  </a:lnTo>
                  <a:lnTo>
                    <a:pt x="355" y="443"/>
                  </a:lnTo>
                  <a:lnTo>
                    <a:pt x="355" y="443"/>
                  </a:lnTo>
                  <a:lnTo>
                    <a:pt x="359" y="404"/>
                  </a:lnTo>
                  <a:lnTo>
                    <a:pt x="363" y="366"/>
                  </a:lnTo>
                  <a:lnTo>
                    <a:pt x="365" y="325"/>
                  </a:lnTo>
                  <a:lnTo>
                    <a:pt x="366" y="285"/>
                  </a:lnTo>
                  <a:lnTo>
                    <a:pt x="365" y="244"/>
                  </a:lnTo>
                  <a:lnTo>
                    <a:pt x="363" y="204"/>
                  </a:lnTo>
                  <a:lnTo>
                    <a:pt x="360" y="164"/>
                  </a:lnTo>
                  <a:lnTo>
                    <a:pt x="356" y="126"/>
                  </a:lnTo>
                  <a:lnTo>
                    <a:pt x="356" y="126"/>
                  </a:lnTo>
                  <a:lnTo>
                    <a:pt x="352" y="97"/>
                  </a:lnTo>
                  <a:lnTo>
                    <a:pt x="348" y="70"/>
                  </a:lnTo>
                  <a:lnTo>
                    <a:pt x="345" y="42"/>
                  </a:lnTo>
                  <a:lnTo>
                    <a:pt x="339" y="13"/>
                  </a:lnTo>
                  <a:lnTo>
                    <a:pt x="339" y="13"/>
                  </a:lnTo>
                  <a:lnTo>
                    <a:pt x="336" y="10"/>
                  </a:lnTo>
                  <a:lnTo>
                    <a:pt x="333" y="7"/>
                  </a:lnTo>
                  <a:lnTo>
                    <a:pt x="326" y="5"/>
                  </a:lnTo>
                  <a:lnTo>
                    <a:pt x="318" y="3"/>
                  </a:lnTo>
                  <a:lnTo>
                    <a:pt x="311" y="0"/>
                  </a:lnTo>
                  <a:lnTo>
                    <a:pt x="3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379"/>
            <p:cNvSpPr>
              <a:spLocks/>
            </p:cNvSpPr>
            <p:nvPr/>
          </p:nvSpPr>
          <p:spPr bwMode="auto">
            <a:xfrm>
              <a:off x="7461" y="2618"/>
              <a:ext cx="166" cy="203"/>
            </a:xfrm>
            <a:custGeom>
              <a:avLst/>
              <a:gdLst>
                <a:gd name="T0" fmla="*/ 143 w 166"/>
                <a:gd name="T1" fmla="*/ 25 h 203"/>
                <a:gd name="T2" fmla="*/ 143 w 166"/>
                <a:gd name="T3" fmla="*/ 25 h 203"/>
                <a:gd name="T4" fmla="*/ 146 w 166"/>
                <a:gd name="T5" fmla="*/ 41 h 203"/>
                <a:gd name="T6" fmla="*/ 150 w 166"/>
                <a:gd name="T7" fmla="*/ 55 h 203"/>
                <a:gd name="T8" fmla="*/ 153 w 166"/>
                <a:gd name="T9" fmla="*/ 62 h 203"/>
                <a:gd name="T10" fmla="*/ 156 w 166"/>
                <a:gd name="T11" fmla="*/ 69 h 203"/>
                <a:gd name="T12" fmla="*/ 160 w 166"/>
                <a:gd name="T13" fmla="*/ 75 h 203"/>
                <a:gd name="T14" fmla="*/ 166 w 166"/>
                <a:gd name="T15" fmla="*/ 81 h 203"/>
                <a:gd name="T16" fmla="*/ 166 w 166"/>
                <a:gd name="T17" fmla="*/ 81 h 203"/>
                <a:gd name="T18" fmla="*/ 165 w 166"/>
                <a:gd name="T19" fmla="*/ 102 h 203"/>
                <a:gd name="T20" fmla="*/ 162 w 166"/>
                <a:gd name="T21" fmla="*/ 125 h 203"/>
                <a:gd name="T22" fmla="*/ 153 w 166"/>
                <a:gd name="T23" fmla="*/ 169 h 203"/>
                <a:gd name="T24" fmla="*/ 153 w 166"/>
                <a:gd name="T25" fmla="*/ 169 h 203"/>
                <a:gd name="T26" fmla="*/ 146 w 166"/>
                <a:gd name="T27" fmla="*/ 180 h 203"/>
                <a:gd name="T28" fmla="*/ 136 w 166"/>
                <a:gd name="T29" fmla="*/ 189 h 203"/>
                <a:gd name="T30" fmla="*/ 126 w 166"/>
                <a:gd name="T31" fmla="*/ 197 h 203"/>
                <a:gd name="T32" fmla="*/ 113 w 166"/>
                <a:gd name="T33" fmla="*/ 202 h 203"/>
                <a:gd name="T34" fmla="*/ 113 w 166"/>
                <a:gd name="T35" fmla="*/ 202 h 203"/>
                <a:gd name="T36" fmla="*/ 99 w 166"/>
                <a:gd name="T37" fmla="*/ 203 h 203"/>
                <a:gd name="T38" fmla="*/ 85 w 166"/>
                <a:gd name="T39" fmla="*/ 202 h 203"/>
                <a:gd name="T40" fmla="*/ 71 w 166"/>
                <a:gd name="T41" fmla="*/ 199 h 203"/>
                <a:gd name="T42" fmla="*/ 58 w 166"/>
                <a:gd name="T43" fmla="*/ 193 h 203"/>
                <a:gd name="T44" fmla="*/ 47 w 166"/>
                <a:gd name="T45" fmla="*/ 187 h 203"/>
                <a:gd name="T46" fmla="*/ 35 w 166"/>
                <a:gd name="T47" fmla="*/ 179 h 203"/>
                <a:gd name="T48" fmla="*/ 25 w 166"/>
                <a:gd name="T49" fmla="*/ 169 h 203"/>
                <a:gd name="T50" fmla="*/ 18 w 166"/>
                <a:gd name="T51" fmla="*/ 157 h 203"/>
                <a:gd name="T52" fmla="*/ 18 w 166"/>
                <a:gd name="T53" fmla="*/ 157 h 203"/>
                <a:gd name="T54" fmla="*/ 11 w 166"/>
                <a:gd name="T55" fmla="*/ 146 h 203"/>
                <a:gd name="T56" fmla="*/ 5 w 166"/>
                <a:gd name="T57" fmla="*/ 132 h 203"/>
                <a:gd name="T58" fmla="*/ 1 w 166"/>
                <a:gd name="T59" fmla="*/ 116 h 203"/>
                <a:gd name="T60" fmla="*/ 0 w 166"/>
                <a:gd name="T61" fmla="*/ 102 h 203"/>
                <a:gd name="T62" fmla="*/ 0 w 166"/>
                <a:gd name="T63" fmla="*/ 86 h 203"/>
                <a:gd name="T64" fmla="*/ 1 w 166"/>
                <a:gd name="T65" fmla="*/ 71 h 203"/>
                <a:gd name="T66" fmla="*/ 5 w 166"/>
                <a:gd name="T67" fmla="*/ 56 h 203"/>
                <a:gd name="T68" fmla="*/ 12 w 166"/>
                <a:gd name="T69" fmla="*/ 44 h 203"/>
                <a:gd name="T70" fmla="*/ 12 w 166"/>
                <a:gd name="T71" fmla="*/ 44 h 203"/>
                <a:gd name="T72" fmla="*/ 20 w 166"/>
                <a:gd name="T73" fmla="*/ 32 h 203"/>
                <a:gd name="T74" fmla="*/ 30 w 166"/>
                <a:gd name="T75" fmla="*/ 24 h 203"/>
                <a:gd name="T76" fmla="*/ 41 w 166"/>
                <a:gd name="T77" fmla="*/ 17 h 203"/>
                <a:gd name="T78" fmla="*/ 54 w 166"/>
                <a:gd name="T79" fmla="*/ 9 h 203"/>
                <a:gd name="T80" fmla="*/ 68 w 166"/>
                <a:gd name="T81" fmla="*/ 5 h 203"/>
                <a:gd name="T82" fmla="*/ 82 w 166"/>
                <a:gd name="T83" fmla="*/ 2 h 203"/>
                <a:gd name="T84" fmla="*/ 96 w 166"/>
                <a:gd name="T85" fmla="*/ 0 h 203"/>
                <a:gd name="T86" fmla="*/ 109 w 166"/>
                <a:gd name="T87" fmla="*/ 0 h 203"/>
                <a:gd name="T88" fmla="*/ 109 w 166"/>
                <a:gd name="T89" fmla="*/ 0 h 203"/>
                <a:gd name="T90" fmla="*/ 121 w 166"/>
                <a:gd name="T91" fmla="*/ 4 h 203"/>
                <a:gd name="T92" fmla="*/ 129 w 166"/>
                <a:gd name="T93" fmla="*/ 9 h 203"/>
                <a:gd name="T94" fmla="*/ 138 w 166"/>
                <a:gd name="T95" fmla="*/ 17 h 203"/>
                <a:gd name="T96" fmla="*/ 143 w 166"/>
                <a:gd name="T97" fmla="*/ 25 h 203"/>
                <a:gd name="T98" fmla="*/ 143 w 166"/>
                <a:gd name="T99" fmla="*/ 2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6" h="203">
                  <a:moveTo>
                    <a:pt x="143" y="25"/>
                  </a:moveTo>
                  <a:lnTo>
                    <a:pt x="143" y="25"/>
                  </a:lnTo>
                  <a:lnTo>
                    <a:pt x="146" y="41"/>
                  </a:lnTo>
                  <a:lnTo>
                    <a:pt x="150" y="55"/>
                  </a:lnTo>
                  <a:lnTo>
                    <a:pt x="153" y="62"/>
                  </a:lnTo>
                  <a:lnTo>
                    <a:pt x="156" y="69"/>
                  </a:lnTo>
                  <a:lnTo>
                    <a:pt x="160" y="75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5" y="102"/>
                  </a:lnTo>
                  <a:lnTo>
                    <a:pt x="162" y="125"/>
                  </a:lnTo>
                  <a:lnTo>
                    <a:pt x="153" y="169"/>
                  </a:lnTo>
                  <a:lnTo>
                    <a:pt x="153" y="169"/>
                  </a:lnTo>
                  <a:lnTo>
                    <a:pt x="146" y="180"/>
                  </a:lnTo>
                  <a:lnTo>
                    <a:pt x="136" y="189"/>
                  </a:lnTo>
                  <a:lnTo>
                    <a:pt x="126" y="197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99" y="203"/>
                  </a:lnTo>
                  <a:lnTo>
                    <a:pt x="85" y="202"/>
                  </a:lnTo>
                  <a:lnTo>
                    <a:pt x="71" y="199"/>
                  </a:lnTo>
                  <a:lnTo>
                    <a:pt x="58" y="193"/>
                  </a:lnTo>
                  <a:lnTo>
                    <a:pt x="47" y="187"/>
                  </a:lnTo>
                  <a:lnTo>
                    <a:pt x="35" y="179"/>
                  </a:lnTo>
                  <a:lnTo>
                    <a:pt x="25" y="169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1" y="146"/>
                  </a:lnTo>
                  <a:lnTo>
                    <a:pt x="5" y="132"/>
                  </a:lnTo>
                  <a:lnTo>
                    <a:pt x="1" y="116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1" y="71"/>
                  </a:lnTo>
                  <a:lnTo>
                    <a:pt x="5" y="5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20" y="32"/>
                  </a:lnTo>
                  <a:lnTo>
                    <a:pt x="30" y="24"/>
                  </a:lnTo>
                  <a:lnTo>
                    <a:pt x="41" y="17"/>
                  </a:lnTo>
                  <a:lnTo>
                    <a:pt x="54" y="9"/>
                  </a:lnTo>
                  <a:lnTo>
                    <a:pt x="68" y="5"/>
                  </a:lnTo>
                  <a:lnTo>
                    <a:pt x="82" y="2"/>
                  </a:lnTo>
                  <a:lnTo>
                    <a:pt x="96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21" y="4"/>
                  </a:lnTo>
                  <a:lnTo>
                    <a:pt x="129" y="9"/>
                  </a:lnTo>
                  <a:lnTo>
                    <a:pt x="138" y="17"/>
                  </a:lnTo>
                  <a:lnTo>
                    <a:pt x="143" y="25"/>
                  </a:lnTo>
                  <a:lnTo>
                    <a:pt x="143" y="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380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381"/>
            <p:cNvSpPr>
              <a:spLocks/>
            </p:cNvSpPr>
            <p:nvPr/>
          </p:nvSpPr>
          <p:spPr bwMode="auto">
            <a:xfrm>
              <a:off x="6156" y="1414"/>
              <a:ext cx="723" cy="541"/>
            </a:xfrm>
            <a:custGeom>
              <a:avLst/>
              <a:gdLst>
                <a:gd name="T0" fmla="*/ 0 w 723"/>
                <a:gd name="T1" fmla="*/ 0 h 541"/>
                <a:gd name="T2" fmla="*/ 157 w 723"/>
                <a:gd name="T3" fmla="*/ 0 h 541"/>
                <a:gd name="T4" fmla="*/ 232 w 723"/>
                <a:gd name="T5" fmla="*/ 289 h 541"/>
                <a:gd name="T6" fmla="*/ 233 w 723"/>
                <a:gd name="T7" fmla="*/ 289 h 541"/>
                <a:gd name="T8" fmla="*/ 310 w 723"/>
                <a:gd name="T9" fmla="*/ 0 h 541"/>
                <a:gd name="T10" fmla="*/ 438 w 723"/>
                <a:gd name="T11" fmla="*/ 0 h 541"/>
                <a:gd name="T12" fmla="*/ 512 w 723"/>
                <a:gd name="T13" fmla="*/ 289 h 541"/>
                <a:gd name="T14" fmla="*/ 514 w 723"/>
                <a:gd name="T15" fmla="*/ 289 h 541"/>
                <a:gd name="T16" fmla="*/ 591 w 723"/>
                <a:gd name="T17" fmla="*/ 0 h 541"/>
                <a:gd name="T18" fmla="*/ 723 w 723"/>
                <a:gd name="T19" fmla="*/ 0 h 541"/>
                <a:gd name="T20" fmla="*/ 578 w 723"/>
                <a:gd name="T21" fmla="*/ 541 h 541"/>
                <a:gd name="T22" fmla="*/ 435 w 723"/>
                <a:gd name="T23" fmla="*/ 541 h 541"/>
                <a:gd name="T24" fmla="*/ 359 w 723"/>
                <a:gd name="T25" fmla="*/ 253 h 541"/>
                <a:gd name="T26" fmla="*/ 357 w 723"/>
                <a:gd name="T27" fmla="*/ 253 h 541"/>
                <a:gd name="T28" fmla="*/ 280 w 723"/>
                <a:gd name="T29" fmla="*/ 541 h 541"/>
                <a:gd name="T30" fmla="*/ 144 w 723"/>
                <a:gd name="T31" fmla="*/ 541 h 541"/>
                <a:gd name="T32" fmla="*/ 0 w 723"/>
                <a:gd name="T33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3" h="541">
                  <a:moveTo>
                    <a:pt x="0" y="0"/>
                  </a:moveTo>
                  <a:lnTo>
                    <a:pt x="157" y="0"/>
                  </a:lnTo>
                  <a:lnTo>
                    <a:pt x="232" y="289"/>
                  </a:lnTo>
                  <a:lnTo>
                    <a:pt x="233" y="289"/>
                  </a:lnTo>
                  <a:lnTo>
                    <a:pt x="310" y="0"/>
                  </a:lnTo>
                  <a:lnTo>
                    <a:pt x="438" y="0"/>
                  </a:lnTo>
                  <a:lnTo>
                    <a:pt x="512" y="289"/>
                  </a:lnTo>
                  <a:lnTo>
                    <a:pt x="514" y="289"/>
                  </a:lnTo>
                  <a:lnTo>
                    <a:pt x="591" y="0"/>
                  </a:lnTo>
                  <a:lnTo>
                    <a:pt x="723" y="0"/>
                  </a:lnTo>
                  <a:lnTo>
                    <a:pt x="578" y="541"/>
                  </a:lnTo>
                  <a:lnTo>
                    <a:pt x="435" y="54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280" y="541"/>
                  </a:lnTo>
                  <a:lnTo>
                    <a:pt x="144" y="54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382"/>
            <p:cNvSpPr>
              <a:spLocks noEditPoints="1"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  <a:gd name="T18" fmla="*/ 200 w 535"/>
                <a:gd name="T19" fmla="*/ 322 h 541"/>
                <a:gd name="T20" fmla="*/ 299 w 535"/>
                <a:gd name="T21" fmla="*/ 322 h 541"/>
                <a:gd name="T22" fmla="*/ 252 w 535"/>
                <a:gd name="T23" fmla="*/ 137 h 541"/>
                <a:gd name="T24" fmla="*/ 200 w 535"/>
                <a:gd name="T25" fmla="*/ 32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  <a:close/>
                  <a:moveTo>
                    <a:pt x="200" y="322"/>
                  </a:moveTo>
                  <a:lnTo>
                    <a:pt x="299" y="322"/>
                  </a:lnTo>
                  <a:lnTo>
                    <a:pt x="252" y="137"/>
                  </a:lnTo>
                  <a:lnTo>
                    <a:pt x="200" y="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383"/>
            <p:cNvSpPr>
              <a:spLocks/>
            </p:cNvSpPr>
            <p:nvPr/>
          </p:nvSpPr>
          <p:spPr bwMode="auto">
            <a:xfrm>
              <a:off x="6786" y="1414"/>
              <a:ext cx="535" cy="541"/>
            </a:xfrm>
            <a:custGeom>
              <a:avLst/>
              <a:gdLst>
                <a:gd name="T0" fmla="*/ 184 w 535"/>
                <a:gd name="T1" fmla="*/ 0 h 541"/>
                <a:gd name="T2" fmla="*/ 350 w 535"/>
                <a:gd name="T3" fmla="*/ 0 h 541"/>
                <a:gd name="T4" fmla="*/ 535 w 535"/>
                <a:gd name="T5" fmla="*/ 541 h 541"/>
                <a:gd name="T6" fmla="*/ 365 w 535"/>
                <a:gd name="T7" fmla="*/ 541 h 541"/>
                <a:gd name="T8" fmla="*/ 332 w 535"/>
                <a:gd name="T9" fmla="*/ 438 h 541"/>
                <a:gd name="T10" fmla="*/ 170 w 535"/>
                <a:gd name="T11" fmla="*/ 438 h 541"/>
                <a:gd name="T12" fmla="*/ 134 w 535"/>
                <a:gd name="T13" fmla="*/ 541 h 541"/>
                <a:gd name="T14" fmla="*/ 0 w 535"/>
                <a:gd name="T15" fmla="*/ 541 h 541"/>
                <a:gd name="T16" fmla="*/ 184 w 535"/>
                <a:gd name="T17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5" h="541">
                  <a:moveTo>
                    <a:pt x="184" y="0"/>
                  </a:moveTo>
                  <a:lnTo>
                    <a:pt x="350" y="0"/>
                  </a:lnTo>
                  <a:lnTo>
                    <a:pt x="535" y="541"/>
                  </a:lnTo>
                  <a:lnTo>
                    <a:pt x="365" y="541"/>
                  </a:lnTo>
                  <a:lnTo>
                    <a:pt x="332" y="438"/>
                  </a:lnTo>
                  <a:lnTo>
                    <a:pt x="170" y="438"/>
                  </a:lnTo>
                  <a:lnTo>
                    <a:pt x="134" y="541"/>
                  </a:lnTo>
                  <a:lnTo>
                    <a:pt x="0" y="541"/>
                  </a:lnTo>
                  <a:lnTo>
                    <a:pt x="1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384"/>
            <p:cNvSpPr>
              <a:spLocks/>
            </p:cNvSpPr>
            <p:nvPr/>
          </p:nvSpPr>
          <p:spPr bwMode="auto">
            <a:xfrm>
              <a:off x="6986" y="1551"/>
              <a:ext cx="99" cy="185"/>
            </a:xfrm>
            <a:custGeom>
              <a:avLst/>
              <a:gdLst>
                <a:gd name="T0" fmla="*/ 0 w 99"/>
                <a:gd name="T1" fmla="*/ 185 h 185"/>
                <a:gd name="T2" fmla="*/ 99 w 99"/>
                <a:gd name="T3" fmla="*/ 185 h 185"/>
                <a:gd name="T4" fmla="*/ 52 w 99"/>
                <a:gd name="T5" fmla="*/ 0 h 185"/>
                <a:gd name="T6" fmla="*/ 0 w 99"/>
                <a:gd name="T7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185">
                  <a:moveTo>
                    <a:pt x="0" y="185"/>
                  </a:moveTo>
                  <a:lnTo>
                    <a:pt x="99" y="185"/>
                  </a:lnTo>
                  <a:lnTo>
                    <a:pt x="52" y="0"/>
                  </a:lnTo>
                  <a:lnTo>
                    <a:pt x="0" y="18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385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386"/>
            <p:cNvSpPr>
              <a:spLocks/>
            </p:cNvSpPr>
            <p:nvPr/>
          </p:nvSpPr>
          <p:spPr bwMode="auto">
            <a:xfrm>
              <a:off x="7335" y="1413"/>
              <a:ext cx="477" cy="542"/>
            </a:xfrm>
            <a:custGeom>
              <a:avLst/>
              <a:gdLst>
                <a:gd name="T0" fmla="*/ 0 w 477"/>
                <a:gd name="T1" fmla="*/ 0 h 542"/>
                <a:gd name="T2" fmla="*/ 261 w 477"/>
                <a:gd name="T3" fmla="*/ 0 h 542"/>
                <a:gd name="T4" fmla="*/ 261 w 477"/>
                <a:gd name="T5" fmla="*/ 0 h 542"/>
                <a:gd name="T6" fmla="*/ 294 w 477"/>
                <a:gd name="T7" fmla="*/ 1 h 542"/>
                <a:gd name="T8" fmla="*/ 322 w 477"/>
                <a:gd name="T9" fmla="*/ 4 h 542"/>
                <a:gd name="T10" fmla="*/ 349 w 477"/>
                <a:gd name="T11" fmla="*/ 8 h 542"/>
                <a:gd name="T12" fmla="*/ 372 w 477"/>
                <a:gd name="T13" fmla="*/ 15 h 542"/>
                <a:gd name="T14" fmla="*/ 392 w 477"/>
                <a:gd name="T15" fmla="*/ 22 h 542"/>
                <a:gd name="T16" fmla="*/ 409 w 477"/>
                <a:gd name="T17" fmla="*/ 31 h 542"/>
                <a:gd name="T18" fmla="*/ 424 w 477"/>
                <a:gd name="T19" fmla="*/ 41 h 542"/>
                <a:gd name="T20" fmla="*/ 437 w 477"/>
                <a:gd name="T21" fmla="*/ 52 h 542"/>
                <a:gd name="T22" fmla="*/ 447 w 477"/>
                <a:gd name="T23" fmla="*/ 64 h 542"/>
                <a:gd name="T24" fmla="*/ 456 w 477"/>
                <a:gd name="T25" fmla="*/ 76 h 542"/>
                <a:gd name="T26" fmla="*/ 463 w 477"/>
                <a:gd name="T27" fmla="*/ 89 h 542"/>
                <a:gd name="T28" fmla="*/ 469 w 477"/>
                <a:gd name="T29" fmla="*/ 102 h 542"/>
                <a:gd name="T30" fmla="*/ 473 w 477"/>
                <a:gd name="T31" fmla="*/ 116 h 542"/>
                <a:gd name="T32" fmla="*/ 476 w 477"/>
                <a:gd name="T33" fmla="*/ 129 h 542"/>
                <a:gd name="T34" fmla="*/ 477 w 477"/>
                <a:gd name="T35" fmla="*/ 143 h 542"/>
                <a:gd name="T36" fmla="*/ 477 w 477"/>
                <a:gd name="T37" fmla="*/ 156 h 542"/>
                <a:gd name="T38" fmla="*/ 477 w 477"/>
                <a:gd name="T39" fmla="*/ 156 h 542"/>
                <a:gd name="T40" fmla="*/ 476 w 477"/>
                <a:gd name="T41" fmla="*/ 182 h 542"/>
                <a:gd name="T42" fmla="*/ 471 w 477"/>
                <a:gd name="T43" fmla="*/ 206 h 542"/>
                <a:gd name="T44" fmla="*/ 464 w 477"/>
                <a:gd name="T45" fmla="*/ 230 h 542"/>
                <a:gd name="T46" fmla="*/ 454 w 477"/>
                <a:gd name="T47" fmla="*/ 253 h 542"/>
                <a:gd name="T48" fmla="*/ 447 w 477"/>
                <a:gd name="T49" fmla="*/ 264 h 542"/>
                <a:gd name="T50" fmla="*/ 440 w 477"/>
                <a:gd name="T51" fmla="*/ 274 h 542"/>
                <a:gd name="T52" fmla="*/ 433 w 477"/>
                <a:gd name="T53" fmla="*/ 284 h 542"/>
                <a:gd name="T54" fmla="*/ 424 w 477"/>
                <a:gd name="T55" fmla="*/ 293 h 542"/>
                <a:gd name="T56" fmla="*/ 414 w 477"/>
                <a:gd name="T57" fmla="*/ 300 h 542"/>
                <a:gd name="T58" fmla="*/ 406 w 477"/>
                <a:gd name="T59" fmla="*/ 307 h 542"/>
                <a:gd name="T60" fmla="*/ 395 w 477"/>
                <a:gd name="T61" fmla="*/ 314 h 542"/>
                <a:gd name="T62" fmla="*/ 383 w 477"/>
                <a:gd name="T63" fmla="*/ 318 h 542"/>
                <a:gd name="T64" fmla="*/ 477 w 477"/>
                <a:gd name="T65" fmla="*/ 542 h 542"/>
                <a:gd name="T66" fmla="*/ 311 w 477"/>
                <a:gd name="T67" fmla="*/ 542 h 542"/>
                <a:gd name="T68" fmla="*/ 234 w 477"/>
                <a:gd name="T69" fmla="*/ 337 h 542"/>
                <a:gd name="T70" fmla="*/ 157 w 477"/>
                <a:gd name="T71" fmla="*/ 337 h 542"/>
                <a:gd name="T72" fmla="*/ 157 w 477"/>
                <a:gd name="T73" fmla="*/ 542 h 542"/>
                <a:gd name="T74" fmla="*/ 0 w 477"/>
                <a:gd name="T75" fmla="*/ 542 h 542"/>
                <a:gd name="T76" fmla="*/ 0 w 477"/>
                <a:gd name="T77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7" h="542">
                  <a:moveTo>
                    <a:pt x="0" y="0"/>
                  </a:moveTo>
                  <a:lnTo>
                    <a:pt x="261" y="0"/>
                  </a:lnTo>
                  <a:lnTo>
                    <a:pt x="261" y="0"/>
                  </a:lnTo>
                  <a:lnTo>
                    <a:pt x="294" y="1"/>
                  </a:lnTo>
                  <a:lnTo>
                    <a:pt x="322" y="4"/>
                  </a:lnTo>
                  <a:lnTo>
                    <a:pt x="349" y="8"/>
                  </a:lnTo>
                  <a:lnTo>
                    <a:pt x="372" y="15"/>
                  </a:lnTo>
                  <a:lnTo>
                    <a:pt x="392" y="22"/>
                  </a:lnTo>
                  <a:lnTo>
                    <a:pt x="409" y="31"/>
                  </a:lnTo>
                  <a:lnTo>
                    <a:pt x="424" y="41"/>
                  </a:lnTo>
                  <a:lnTo>
                    <a:pt x="437" y="52"/>
                  </a:lnTo>
                  <a:lnTo>
                    <a:pt x="447" y="64"/>
                  </a:lnTo>
                  <a:lnTo>
                    <a:pt x="456" y="76"/>
                  </a:lnTo>
                  <a:lnTo>
                    <a:pt x="463" y="89"/>
                  </a:lnTo>
                  <a:lnTo>
                    <a:pt x="469" y="102"/>
                  </a:lnTo>
                  <a:lnTo>
                    <a:pt x="473" y="116"/>
                  </a:lnTo>
                  <a:lnTo>
                    <a:pt x="476" y="129"/>
                  </a:lnTo>
                  <a:lnTo>
                    <a:pt x="477" y="143"/>
                  </a:lnTo>
                  <a:lnTo>
                    <a:pt x="477" y="156"/>
                  </a:lnTo>
                  <a:lnTo>
                    <a:pt x="477" y="156"/>
                  </a:lnTo>
                  <a:lnTo>
                    <a:pt x="476" y="182"/>
                  </a:lnTo>
                  <a:lnTo>
                    <a:pt x="471" y="206"/>
                  </a:lnTo>
                  <a:lnTo>
                    <a:pt x="464" y="230"/>
                  </a:lnTo>
                  <a:lnTo>
                    <a:pt x="454" y="253"/>
                  </a:lnTo>
                  <a:lnTo>
                    <a:pt x="447" y="264"/>
                  </a:lnTo>
                  <a:lnTo>
                    <a:pt x="440" y="274"/>
                  </a:lnTo>
                  <a:lnTo>
                    <a:pt x="433" y="284"/>
                  </a:lnTo>
                  <a:lnTo>
                    <a:pt x="424" y="293"/>
                  </a:lnTo>
                  <a:lnTo>
                    <a:pt x="414" y="300"/>
                  </a:lnTo>
                  <a:lnTo>
                    <a:pt x="406" y="307"/>
                  </a:lnTo>
                  <a:lnTo>
                    <a:pt x="395" y="314"/>
                  </a:lnTo>
                  <a:lnTo>
                    <a:pt x="383" y="318"/>
                  </a:lnTo>
                  <a:lnTo>
                    <a:pt x="477" y="542"/>
                  </a:lnTo>
                  <a:lnTo>
                    <a:pt x="311" y="542"/>
                  </a:lnTo>
                  <a:lnTo>
                    <a:pt x="234" y="337"/>
                  </a:lnTo>
                  <a:lnTo>
                    <a:pt x="157" y="337"/>
                  </a:lnTo>
                  <a:lnTo>
                    <a:pt x="157" y="542"/>
                  </a:lnTo>
                  <a:lnTo>
                    <a:pt x="0" y="54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387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  <a:gd name="T52" fmla="*/ 166 w 166"/>
                <a:gd name="T53" fmla="*/ 5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  <a:lnTo>
                    <a:pt x="166" y="54"/>
                  </a:lnTo>
                  <a:close/>
                </a:path>
              </a:pathLst>
            </a:custGeom>
            <a:solidFill>
              <a:srgbClr val="23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388"/>
            <p:cNvSpPr>
              <a:spLocks/>
            </p:cNvSpPr>
            <p:nvPr/>
          </p:nvSpPr>
          <p:spPr bwMode="auto">
            <a:xfrm>
              <a:off x="7492" y="1528"/>
              <a:ext cx="166" cy="107"/>
            </a:xfrm>
            <a:custGeom>
              <a:avLst/>
              <a:gdLst>
                <a:gd name="T0" fmla="*/ 166 w 166"/>
                <a:gd name="T1" fmla="*/ 54 h 107"/>
                <a:gd name="T2" fmla="*/ 166 w 166"/>
                <a:gd name="T3" fmla="*/ 54 h 107"/>
                <a:gd name="T4" fmla="*/ 165 w 166"/>
                <a:gd name="T5" fmla="*/ 62 h 107"/>
                <a:gd name="T6" fmla="*/ 164 w 166"/>
                <a:gd name="T7" fmla="*/ 71 h 107"/>
                <a:gd name="T8" fmla="*/ 161 w 166"/>
                <a:gd name="T9" fmla="*/ 78 h 107"/>
                <a:gd name="T10" fmla="*/ 158 w 166"/>
                <a:gd name="T11" fmla="*/ 84 h 107"/>
                <a:gd name="T12" fmla="*/ 154 w 166"/>
                <a:gd name="T13" fmla="*/ 90 h 107"/>
                <a:gd name="T14" fmla="*/ 149 w 166"/>
                <a:gd name="T15" fmla="*/ 94 h 107"/>
                <a:gd name="T16" fmla="*/ 139 w 166"/>
                <a:gd name="T17" fmla="*/ 99 h 107"/>
                <a:gd name="T18" fmla="*/ 129 w 166"/>
                <a:gd name="T19" fmla="*/ 104 h 107"/>
                <a:gd name="T20" fmla="*/ 122 w 166"/>
                <a:gd name="T21" fmla="*/ 105 h 107"/>
                <a:gd name="T22" fmla="*/ 114 w 166"/>
                <a:gd name="T23" fmla="*/ 107 h 107"/>
                <a:gd name="T24" fmla="*/ 1 w 166"/>
                <a:gd name="T25" fmla="*/ 107 h 107"/>
                <a:gd name="T26" fmla="*/ 0 w 166"/>
                <a:gd name="T27" fmla="*/ 0 h 107"/>
                <a:gd name="T28" fmla="*/ 112 w 166"/>
                <a:gd name="T29" fmla="*/ 0 h 107"/>
                <a:gd name="T30" fmla="*/ 112 w 166"/>
                <a:gd name="T31" fmla="*/ 0 h 107"/>
                <a:gd name="T32" fmla="*/ 121 w 166"/>
                <a:gd name="T33" fmla="*/ 1 h 107"/>
                <a:gd name="T34" fmla="*/ 129 w 166"/>
                <a:gd name="T35" fmla="*/ 3 h 107"/>
                <a:gd name="T36" fmla="*/ 139 w 166"/>
                <a:gd name="T37" fmla="*/ 7 h 107"/>
                <a:gd name="T38" fmla="*/ 149 w 166"/>
                <a:gd name="T39" fmla="*/ 13 h 107"/>
                <a:gd name="T40" fmla="*/ 154 w 166"/>
                <a:gd name="T41" fmla="*/ 17 h 107"/>
                <a:gd name="T42" fmla="*/ 158 w 166"/>
                <a:gd name="T43" fmla="*/ 21 h 107"/>
                <a:gd name="T44" fmla="*/ 161 w 166"/>
                <a:gd name="T45" fmla="*/ 28 h 107"/>
                <a:gd name="T46" fmla="*/ 164 w 166"/>
                <a:gd name="T47" fmla="*/ 35 h 107"/>
                <a:gd name="T48" fmla="*/ 165 w 166"/>
                <a:gd name="T49" fmla="*/ 44 h 107"/>
                <a:gd name="T50" fmla="*/ 165 w 166"/>
                <a:gd name="T51" fmla="*/ 5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107">
                  <a:moveTo>
                    <a:pt x="166" y="54"/>
                  </a:moveTo>
                  <a:lnTo>
                    <a:pt x="166" y="54"/>
                  </a:lnTo>
                  <a:lnTo>
                    <a:pt x="165" y="62"/>
                  </a:lnTo>
                  <a:lnTo>
                    <a:pt x="164" y="71"/>
                  </a:lnTo>
                  <a:lnTo>
                    <a:pt x="161" y="78"/>
                  </a:lnTo>
                  <a:lnTo>
                    <a:pt x="158" y="84"/>
                  </a:lnTo>
                  <a:lnTo>
                    <a:pt x="154" y="90"/>
                  </a:lnTo>
                  <a:lnTo>
                    <a:pt x="149" y="94"/>
                  </a:lnTo>
                  <a:lnTo>
                    <a:pt x="139" y="99"/>
                  </a:lnTo>
                  <a:lnTo>
                    <a:pt x="129" y="104"/>
                  </a:lnTo>
                  <a:lnTo>
                    <a:pt x="122" y="105"/>
                  </a:lnTo>
                  <a:lnTo>
                    <a:pt x="114" y="107"/>
                  </a:lnTo>
                  <a:lnTo>
                    <a:pt x="1" y="107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1" y="1"/>
                  </a:lnTo>
                  <a:lnTo>
                    <a:pt x="129" y="3"/>
                  </a:lnTo>
                  <a:lnTo>
                    <a:pt x="139" y="7"/>
                  </a:lnTo>
                  <a:lnTo>
                    <a:pt x="149" y="13"/>
                  </a:lnTo>
                  <a:lnTo>
                    <a:pt x="154" y="17"/>
                  </a:lnTo>
                  <a:lnTo>
                    <a:pt x="158" y="21"/>
                  </a:lnTo>
                  <a:lnTo>
                    <a:pt x="161" y="28"/>
                  </a:lnTo>
                  <a:lnTo>
                    <a:pt x="164" y="35"/>
                  </a:lnTo>
                  <a:lnTo>
                    <a:pt x="165" y="44"/>
                  </a:lnTo>
                  <a:lnTo>
                    <a:pt x="165" y="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9" name="Title 1"/>
          <p:cNvSpPr txBox="1">
            <a:spLocks/>
          </p:cNvSpPr>
          <p:nvPr userDrawn="1"/>
        </p:nvSpPr>
        <p:spPr>
          <a:xfrm>
            <a:off x="838200" y="-105569"/>
            <a:ext cx="10515600" cy="12358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252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26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12192000" cy="11811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838200" y="-105569"/>
            <a:ext cx="10515600" cy="12358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692"/>
            <a:ext cx="12192000" cy="1205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037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4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6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07/07/2015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6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6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E12407-35E7-4E87-8757-FD495B6490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445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07/07/2015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E12407-35E7-4E87-8757-FD495B64908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432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12192000" cy="1238270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96CCEE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0055" y="1380819"/>
            <a:ext cx="11055335" cy="4611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</p:txBody>
      </p:sp>
      <p:sp>
        <p:nvSpPr>
          <p:cNvPr id="7174" name="Line 6"/>
          <p:cNvSpPr>
            <a:spLocks noChangeShapeType="1"/>
          </p:cNvSpPr>
          <p:nvPr/>
        </p:nvSpPr>
        <p:spPr bwMode="auto">
          <a:xfrm>
            <a:off x="0" y="1246909"/>
            <a:ext cx="12192000" cy="0"/>
          </a:xfrm>
          <a:prstGeom prst="line">
            <a:avLst/>
          </a:prstGeom>
          <a:noFill/>
          <a:ln w="38100">
            <a:solidFill>
              <a:srgbClr val="1E7FB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28398" dir="1593903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0147" tIns="40074" rIns="80147" bIns="40074"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7180" name="Rectangle 12"/>
          <p:cNvSpPr>
            <a:spLocks noChangeArrowheads="1"/>
          </p:cNvSpPr>
          <p:nvPr/>
        </p:nvSpPr>
        <p:spPr bwMode="auto">
          <a:xfrm>
            <a:off x="1811" y="6015688"/>
            <a:ext cx="12192000" cy="842312"/>
          </a:xfrm>
          <a:prstGeom prst="rect">
            <a:avLst/>
          </a:prstGeom>
          <a:solidFill>
            <a:srgbClr val="1E7FB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147" tIns="40074" rIns="80147" bIns="40074" anchor="ctr"/>
          <a:lstStyle/>
          <a:p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7181" name="Rectangle 13"/>
          <p:cNvSpPr>
            <a:spLocks noChangeArrowheads="1"/>
          </p:cNvSpPr>
          <p:nvPr/>
        </p:nvSpPr>
        <p:spPr bwMode="auto">
          <a:xfrm>
            <a:off x="1236218" y="6426050"/>
            <a:ext cx="5663415" cy="4319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914179"/>
            <a:r>
              <a:rPr lang="en-GB" sz="1200" dirty="0" smtClean="0">
                <a:solidFill>
                  <a:srgbClr val="96CCEE"/>
                </a:solidFill>
                <a:latin typeface="Arial Narrow" pitchFamily="34" charset="0"/>
              </a:rPr>
              <a:t>Low Intensity Psychological Interventions </a:t>
            </a:r>
            <a:fld id="{85184726-8D45-4AD0-8520-548D19B567D3}" type="datetime4">
              <a:rPr lang="en-GB" sz="1200" smtClean="0">
                <a:solidFill>
                  <a:srgbClr val="96CCEE"/>
                </a:solidFill>
                <a:latin typeface="Arial Narrow" pitchFamily="34" charset="0"/>
              </a:rPr>
              <a:pPr defTabSz="914179"/>
              <a:t>13 February 2018</a:t>
            </a:fld>
            <a:endParaRPr lang="en-GB" sz="1200" dirty="0">
              <a:solidFill>
                <a:srgbClr val="96CCEE"/>
              </a:solidFill>
              <a:latin typeface="Arial Narrow" pitchFamily="34" charset="0"/>
            </a:endParaRPr>
          </a:p>
        </p:txBody>
      </p:sp>
      <p:sp>
        <p:nvSpPr>
          <p:cNvPr id="7182" name="Rectangle 14"/>
          <p:cNvSpPr>
            <a:spLocks noChangeArrowheads="1"/>
          </p:cNvSpPr>
          <p:nvPr/>
        </p:nvSpPr>
        <p:spPr bwMode="auto">
          <a:xfrm>
            <a:off x="479648" y="6398688"/>
            <a:ext cx="474213" cy="332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r" defTabSz="914179"/>
            <a:fld id="{A1E30449-6690-4BEE-8D9E-190A91714912}" type="slidenum">
              <a:rPr lang="x-none" sz="1500">
                <a:solidFill>
                  <a:srgbClr val="72BBE8"/>
                </a:solidFill>
                <a:latin typeface="Arial Narrow" pitchFamily="34" charset="0"/>
              </a:rPr>
              <a:pPr algn="r" defTabSz="914179"/>
              <a:t>‹#›</a:t>
            </a:fld>
            <a:r>
              <a:rPr lang="en-GB" sz="1500">
                <a:solidFill>
                  <a:srgbClr val="72BBE8"/>
                </a:solidFill>
                <a:latin typeface="Arial Narrow" pitchFamily="34" charset="0"/>
              </a:rPr>
              <a:t> </a:t>
            </a:r>
            <a:r>
              <a:rPr lang="en-US" sz="2100" baseline="14000">
                <a:solidFill>
                  <a:srgbClr val="FFFFFF"/>
                </a:solidFill>
                <a:latin typeface="Arial Narrow" pitchFamily="34" charset="0"/>
              </a:rPr>
              <a:t>|</a:t>
            </a:r>
          </a:p>
        </p:txBody>
      </p:sp>
      <p:pic>
        <p:nvPicPr>
          <p:cNvPr id="7185" name="Picture 17" descr="WHO-EN-white-H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5668" y="6040171"/>
            <a:ext cx="2943021" cy="717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7419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</p:sldLayoutIdLst>
  <p:timing>
    <p:tnLst>
      <p:par>
        <p:cTn id="1" dur="indefinite" restart="never" nodeType="tmRoot"/>
      </p:par>
    </p:tnLst>
  </p:timing>
  <p:txStyles>
    <p:titleStyle>
      <a:lvl1pPr algn="ctr" defTabSz="914179" rtl="0" eaLnBrk="1" fontAlgn="base" hangingPunct="1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+mj-lt"/>
          <a:ea typeface="+mj-ea"/>
          <a:cs typeface="+mj-cs"/>
        </a:defRPr>
      </a:lvl1pPr>
      <a:lvl2pPr algn="ctr" defTabSz="914179" rtl="0" eaLnBrk="1" fontAlgn="base" hangingPunct="1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2pPr>
      <a:lvl3pPr algn="ctr" defTabSz="914179" rtl="0" eaLnBrk="1" fontAlgn="base" hangingPunct="1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3pPr>
      <a:lvl4pPr algn="ctr" defTabSz="914179" rtl="0" eaLnBrk="1" fontAlgn="base" hangingPunct="1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4pPr>
      <a:lvl5pPr algn="ctr" defTabSz="914179" rtl="0" eaLnBrk="1" fontAlgn="base" hangingPunct="1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5pPr>
      <a:lvl6pPr marL="400736" algn="ctr" defTabSz="914179" rtl="0" eaLnBrk="1" fontAlgn="base" hangingPunct="1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6pPr>
      <a:lvl7pPr marL="801472" algn="ctr" defTabSz="914179" rtl="0" eaLnBrk="1" fontAlgn="base" hangingPunct="1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7pPr>
      <a:lvl8pPr marL="1202207" algn="ctr" defTabSz="914179" rtl="0" eaLnBrk="1" fontAlgn="base" hangingPunct="1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8pPr>
      <a:lvl9pPr marL="1602943" algn="ctr" defTabSz="914179" rtl="0" eaLnBrk="1" fontAlgn="base" hangingPunct="1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9pPr>
    </p:titleStyle>
    <p:bodyStyle>
      <a:lvl1pPr marL="342295" indent="-342295" algn="l" defTabSz="914179" rtl="0" eaLnBrk="1" fontAlgn="base" hangingPunct="1">
        <a:spcBef>
          <a:spcPct val="80000"/>
        </a:spcBef>
        <a:spcAft>
          <a:spcPct val="0"/>
        </a:spcAft>
        <a:buClr>
          <a:srgbClr val="1E7FB8"/>
        </a:buClr>
        <a:buFont typeface="Wingdings" pitchFamily="2" charset="2"/>
        <a:buChar char="l"/>
        <a:defRPr sz="2500">
          <a:solidFill>
            <a:srgbClr val="000066"/>
          </a:solidFill>
          <a:latin typeface="+mn-lt"/>
          <a:ea typeface="+mn-ea"/>
          <a:cs typeface="+mn-cs"/>
        </a:defRPr>
      </a:lvl1pPr>
      <a:lvl2pPr marL="805646" indent="-282464" algn="l" defTabSz="914179" rtl="0" eaLnBrk="1" fontAlgn="base" hangingPunct="1">
        <a:spcBef>
          <a:spcPct val="20000"/>
        </a:spcBef>
        <a:spcAft>
          <a:spcPct val="0"/>
        </a:spcAft>
        <a:buClr>
          <a:srgbClr val="1E7FB8"/>
        </a:buClr>
        <a:buFont typeface="Arial" charset="0"/>
        <a:buChar char="–"/>
        <a:defRPr sz="2100">
          <a:solidFill>
            <a:srgbClr val="000066"/>
          </a:solidFill>
          <a:latin typeface="+mn-lt"/>
          <a:cs typeface="+mn-cs"/>
        </a:defRPr>
      </a:lvl2pPr>
      <a:lvl3pPr marL="1256474" indent="-269940" algn="l" defTabSz="914179" rtl="0" eaLnBrk="1" fontAlgn="base" hangingPunct="1">
        <a:spcBef>
          <a:spcPct val="20000"/>
        </a:spcBef>
        <a:spcAft>
          <a:spcPct val="0"/>
        </a:spcAft>
        <a:buClr>
          <a:srgbClr val="1E7FB8"/>
        </a:buClr>
        <a:buChar char="•"/>
        <a:defRPr sz="2100">
          <a:solidFill>
            <a:srgbClr val="000066"/>
          </a:solidFill>
          <a:latin typeface="Arial Narrow" pitchFamily="34" charset="0"/>
          <a:cs typeface="+mn-cs"/>
        </a:defRPr>
      </a:lvl3pPr>
      <a:lvl4pPr marL="1664167" indent="-226806" algn="l" defTabSz="914179" rtl="0" eaLnBrk="1" fontAlgn="base" hangingPunct="1">
        <a:spcBef>
          <a:spcPct val="20000"/>
        </a:spcBef>
        <a:spcAft>
          <a:spcPct val="0"/>
        </a:spcAft>
        <a:buClr>
          <a:srgbClr val="1E7FB8"/>
        </a:buClr>
        <a:buChar char="–"/>
        <a:defRPr sz="2100">
          <a:solidFill>
            <a:srgbClr val="000066"/>
          </a:solidFill>
          <a:latin typeface="Arial Narrow" pitchFamily="34" charset="0"/>
          <a:cs typeface="+mn-cs"/>
        </a:defRPr>
      </a:lvl4pPr>
      <a:lvl5pPr marL="1988374" indent="-144710" algn="r" defTabSz="914179" rtl="1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5pPr>
      <a:lvl6pPr marL="2389109" indent="-144710" algn="r" defTabSz="914179" rtl="1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6pPr>
      <a:lvl7pPr marL="2789845" indent="-144710" algn="r" defTabSz="914179" rtl="1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7pPr>
      <a:lvl8pPr marL="3190581" indent="-144710" algn="r" defTabSz="914179" rtl="1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8pPr>
      <a:lvl9pPr marL="3591317" indent="-144710" algn="r" defTabSz="914179" rtl="1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0147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0736" algn="l" defTabSz="80147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1472" algn="l" defTabSz="80147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2207" algn="l" defTabSz="80147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943" algn="l" defTabSz="80147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3679" algn="l" defTabSz="80147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4415" algn="l" defTabSz="80147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5151" algn="l" defTabSz="80147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5886" algn="l" defTabSz="80147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4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56AF64-AAC8-4C3B-B032-28AFF7854699}" type="slidenum">
              <a:rPr lang="fr-FR" smtClean="0"/>
              <a:t>1</a:t>
            </a:fld>
            <a:endParaRPr lang="fr-FR" dirty="0"/>
          </a:p>
        </p:txBody>
      </p:sp>
      <p:pic>
        <p:nvPicPr>
          <p:cNvPr id="7" name="Picture 6" descr="WarChildLogo_WEB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2536" y="5100652"/>
            <a:ext cx="1447681" cy="1447679"/>
          </a:xfrm>
          <a:prstGeom prst="rect">
            <a:avLst/>
          </a:prstGeom>
        </p:spPr>
      </p:pic>
      <p:pic>
        <p:nvPicPr>
          <p:cNvPr id="9" name="Picture 8" descr="Red - White Edge.psd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387" y="559421"/>
            <a:ext cx="5386144" cy="1000643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749407" y="834126"/>
            <a:ext cx="5213180" cy="724152"/>
          </a:xfrm>
          <a:prstGeom prst="rect">
            <a:avLst/>
          </a:prstGeom>
        </p:spPr>
        <p:txBody>
          <a:bodyPr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 smtClean="0">
                <a:solidFill>
                  <a:srgbClr val="FFFFFF"/>
                </a:solidFill>
                <a:latin typeface="Arial"/>
                <a:cs typeface="Arial"/>
              </a:rPr>
              <a:t>WAR CHILD HOLLAND</a:t>
            </a:r>
            <a:endParaRPr lang="en-US" sz="40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50880" y="1572469"/>
            <a:ext cx="7441656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dirty="0" smtClean="0">
                <a:latin typeface="Arial"/>
                <a:cs typeface="Arial"/>
              </a:rPr>
              <a:t>EASE Lebanon</a:t>
            </a:r>
          </a:p>
          <a:p>
            <a:r>
              <a:rPr lang="en-US" sz="3600" b="1" dirty="0" smtClean="0">
                <a:latin typeface="Arial"/>
                <a:cs typeface="Arial"/>
              </a:rPr>
              <a:t>2</a:t>
            </a:r>
            <a:r>
              <a:rPr lang="en-US" sz="3600" b="1" dirty="0">
                <a:latin typeface="Arial"/>
                <a:cs typeface="Arial"/>
              </a:rPr>
              <a:t>6</a:t>
            </a:r>
            <a:r>
              <a:rPr lang="en-US" sz="3600" b="1" dirty="0" smtClean="0">
                <a:latin typeface="Arial"/>
                <a:cs typeface="Arial"/>
              </a:rPr>
              <a:t> January 2018	</a:t>
            </a:r>
          </a:p>
          <a:p>
            <a:r>
              <a:rPr lang="en-US" sz="3600" dirty="0" smtClean="0">
                <a:latin typeface="Arial"/>
                <a:cs typeface="Arial"/>
              </a:rPr>
              <a:t>Strengths Consortium meeting</a:t>
            </a:r>
          </a:p>
          <a:p>
            <a:r>
              <a:rPr lang="en-US" sz="3600" dirty="0" smtClean="0">
                <a:latin typeface="Arial"/>
                <a:cs typeface="Arial"/>
              </a:rPr>
              <a:t>Denmark, Copenhagen</a:t>
            </a:r>
          </a:p>
          <a:p>
            <a:endParaRPr lang="en-US" sz="3600" dirty="0">
              <a:latin typeface="Arial"/>
              <a:cs typeface="Arial"/>
            </a:endParaRPr>
          </a:p>
          <a:p>
            <a:r>
              <a:rPr lang="en-US" sz="3600" dirty="0" smtClean="0">
                <a:latin typeface="Arial"/>
                <a:cs typeface="Arial"/>
              </a:rPr>
              <a:t>Felicity Brown, Frederik Steen, Mark Jordans</a:t>
            </a:r>
          </a:p>
          <a:p>
            <a:endParaRPr lang="en-US" i="1" dirty="0" smtClean="0">
              <a:latin typeface="Arial"/>
              <a:cs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26869" y="5100653"/>
            <a:ext cx="1438275" cy="14382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67606" y="5100648"/>
            <a:ext cx="1444697" cy="143827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56093" y="5104487"/>
            <a:ext cx="1434441" cy="1434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942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hase 2 – Pilot Study (2)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808" y="1066816"/>
            <a:ext cx="11375450" cy="5557706"/>
          </a:xfrm>
        </p:spPr>
        <p:txBody>
          <a:bodyPr>
            <a:normAutofit/>
          </a:bodyPr>
          <a:lstStyle/>
          <a:p>
            <a:r>
              <a:rPr lang="nl-NL" dirty="0" err="1" smtClean="0"/>
              <a:t>Inclusion</a:t>
            </a:r>
            <a:endParaRPr lang="nl-NL" dirty="0" smtClean="0"/>
          </a:p>
          <a:p>
            <a:pPr lvl="1"/>
            <a:r>
              <a:rPr lang="en-GB" dirty="0" smtClean="0"/>
              <a:t>Aged between 10 years and 14 years</a:t>
            </a:r>
            <a:endParaRPr lang="en-AU" dirty="0" smtClean="0"/>
          </a:p>
          <a:p>
            <a:pPr lvl="1"/>
            <a:r>
              <a:rPr lang="en-GB" dirty="0" smtClean="0"/>
              <a:t>Lebanese </a:t>
            </a:r>
            <a:r>
              <a:rPr lang="en-GB" dirty="0"/>
              <a:t>national, Syrian or Palestinian refugee</a:t>
            </a:r>
            <a:endParaRPr lang="en-AU" dirty="0"/>
          </a:p>
          <a:p>
            <a:pPr lvl="1"/>
            <a:r>
              <a:rPr lang="en-GB" dirty="0"/>
              <a:t>Able to follow and understand instructions</a:t>
            </a:r>
            <a:endParaRPr lang="en-AU" dirty="0"/>
          </a:p>
          <a:p>
            <a:pPr lvl="1"/>
            <a:r>
              <a:rPr lang="en-GB" dirty="0"/>
              <a:t>Has a caregiver who has provided consent for </a:t>
            </a:r>
            <a:r>
              <a:rPr lang="en-GB" dirty="0" smtClean="0"/>
              <a:t>participation</a:t>
            </a:r>
            <a:endParaRPr lang="en-AU" dirty="0"/>
          </a:p>
          <a:p>
            <a:pPr lvl="1"/>
            <a:r>
              <a:rPr lang="en-GB" dirty="0"/>
              <a:t>Screens positive for psychological distress, based on </a:t>
            </a:r>
            <a:r>
              <a:rPr lang="en-GB" dirty="0" smtClean="0"/>
              <a:t>CPDS</a:t>
            </a:r>
            <a:endParaRPr lang="en-AU" dirty="0"/>
          </a:p>
          <a:p>
            <a:r>
              <a:rPr lang="en-AU" dirty="0" smtClean="0"/>
              <a:t>Exclusion</a:t>
            </a:r>
          </a:p>
          <a:p>
            <a:pPr lvl="1"/>
            <a:r>
              <a:rPr lang="en-GB" dirty="0"/>
              <a:t>Unaccompanied minors</a:t>
            </a:r>
            <a:endParaRPr lang="en-AU" dirty="0"/>
          </a:p>
          <a:p>
            <a:pPr lvl="1"/>
            <a:r>
              <a:rPr lang="en-GB" dirty="0"/>
              <a:t>Adolescents with significant cognitive </a:t>
            </a:r>
            <a:r>
              <a:rPr lang="en-GB" dirty="0" smtClean="0"/>
              <a:t>impairment, severe </a:t>
            </a:r>
            <a:r>
              <a:rPr lang="en-GB" dirty="0"/>
              <a:t>neurological impairments or developmental difficulties as determined by caregiver-report on the TQ-10 (Durkin et al, 1990). </a:t>
            </a:r>
            <a:endParaRPr lang="en-AU" dirty="0"/>
          </a:p>
          <a:p>
            <a:pPr lvl="1"/>
            <a:r>
              <a:rPr lang="en-GB" dirty="0"/>
              <a:t>Adolescents at risk of imminent </a:t>
            </a:r>
            <a:r>
              <a:rPr lang="en-GB" dirty="0" smtClean="0"/>
              <a:t>suicide, assessed </a:t>
            </a:r>
            <a:r>
              <a:rPr lang="en-GB" dirty="0"/>
              <a:t>using structured interview questions  </a:t>
            </a:r>
            <a:endParaRPr lang="en-AU" dirty="0"/>
          </a:p>
          <a:p>
            <a:endParaRPr lang="en-AU" dirty="0">
              <a:solidFill>
                <a:srgbClr val="FF0000"/>
              </a:solidFill>
            </a:endParaRPr>
          </a:p>
          <a:p>
            <a:endParaRPr lang="nl-NL" dirty="0" smtClean="0">
              <a:solidFill>
                <a:srgbClr val="FF0000"/>
              </a:solidFill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12407-35E7-4E87-8757-FD495B64908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7128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37" y="-209377"/>
            <a:ext cx="10515600" cy="1057275"/>
          </a:xfrm>
        </p:spPr>
        <p:txBody>
          <a:bodyPr/>
          <a:lstStyle/>
          <a:p>
            <a:r>
              <a:rPr lang="nl-NL" dirty="0" smtClean="0"/>
              <a:t>Measurements </a:t>
            </a:r>
            <a:r>
              <a:rPr lang="nl-NL" dirty="0"/>
              <a:t>I</a:t>
            </a:r>
            <a:r>
              <a:rPr lang="nl-NL" dirty="0" smtClean="0"/>
              <a:t>nstruments</a:t>
            </a:r>
            <a:endParaRPr lang="en-GB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16151818"/>
              </p:ext>
            </p:extLst>
          </p:nvPr>
        </p:nvGraphicFramePr>
        <p:xfrm>
          <a:off x="0" y="579120"/>
          <a:ext cx="12192000" cy="6198123"/>
        </p:xfrm>
        <a:graphic>
          <a:graphicData uri="http://schemas.openxmlformats.org/drawingml/2006/table">
            <a:tbl>
              <a:tblPr firstRow="1" firstCol="1" bandRow="1">
                <a:tableStyleId>{1FECB4D8-DB02-4DC6-A0A2-4F2EBAE1DC90}</a:tableStyleId>
              </a:tblPr>
              <a:tblGrid>
                <a:gridCol w="4061222"/>
                <a:gridCol w="5506218"/>
                <a:gridCol w="2624560"/>
              </a:tblGrid>
              <a:tr h="2672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Domain</a:t>
                      </a: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Tool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Number of items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96933">
                <a:tc grid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Screener </a:t>
                      </a:r>
                      <a:r>
                        <a:rPr lang="en-GB" sz="1800" dirty="0" smtClean="0">
                          <a:effectLst/>
                        </a:rPr>
                        <a:t>measures</a:t>
                      </a:r>
                      <a:r>
                        <a:rPr lang="en-GB" sz="1800" dirty="0">
                          <a:effectLst/>
                        </a:rPr>
                        <a:t> </a:t>
                      </a: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4488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b="0" dirty="0">
                          <a:effectLst/>
                        </a:rPr>
                        <a:t>General child psychosocial distress</a:t>
                      </a:r>
                      <a:endParaRPr lang="en-GB" sz="18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Child Psychosocial Distress Screener (CPDS)</a:t>
                      </a: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7 (5 child; 2 </a:t>
                      </a:r>
                      <a:r>
                        <a:rPr lang="en-GB" sz="1800" dirty="0" smtClean="0">
                          <a:effectLst/>
                        </a:rPr>
                        <a:t>Caregiver</a:t>
                      </a:r>
                      <a:r>
                        <a:rPr lang="en-GB" sz="1800" dirty="0">
                          <a:effectLst/>
                        </a:rPr>
                        <a:t>)</a:t>
                      </a: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7240">
                <a:tc grid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Outcome </a:t>
                      </a:r>
                      <a:r>
                        <a:rPr lang="en-GB" sz="1800" dirty="0" smtClean="0">
                          <a:effectLst/>
                        </a:rPr>
                        <a:t>measures</a:t>
                      </a: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7240">
                <a:tc grid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dirty="0" smtClean="0">
                          <a:effectLst/>
                        </a:rPr>
                        <a:t>Primary</a:t>
                      </a: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59386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b="0" dirty="0">
                          <a:effectLst/>
                        </a:rPr>
                        <a:t>Child-reported general child psychological distress</a:t>
                      </a:r>
                      <a:endParaRPr lang="en-GB" sz="18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dirty="0" err="1">
                          <a:effectLst/>
                        </a:rPr>
                        <a:t>Pediatric</a:t>
                      </a:r>
                      <a:r>
                        <a:rPr lang="en-GB" sz="1800" dirty="0">
                          <a:effectLst/>
                        </a:rPr>
                        <a:t> Symptom Checklist – youth version (Y-PSC)</a:t>
                      </a: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35</a:t>
                      </a: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67240">
                <a:tc grid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dirty="0" smtClean="0">
                          <a:effectLst/>
                        </a:rPr>
                        <a:t>Secondary</a:t>
                      </a: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59386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b="0" dirty="0">
                          <a:effectLst/>
                        </a:rPr>
                        <a:t>Caregiver-reported general child psychological distress</a:t>
                      </a:r>
                      <a:endParaRPr lang="en-GB" sz="18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dirty="0" err="1">
                          <a:effectLst/>
                        </a:rPr>
                        <a:t>Pediatric</a:t>
                      </a:r>
                      <a:r>
                        <a:rPr lang="en-GB" sz="1800" dirty="0">
                          <a:effectLst/>
                        </a:rPr>
                        <a:t> Symptom Checklist – caregiver version (PSC)</a:t>
                      </a: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35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0196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b="0" dirty="0">
                          <a:effectLst/>
                        </a:rPr>
                        <a:t>Depression</a:t>
                      </a:r>
                      <a:endParaRPr lang="en-GB" sz="18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Patient</a:t>
                      </a:r>
                      <a:r>
                        <a:rPr lang="fr-FR" sz="1800" spc="-60" dirty="0">
                          <a:effectLst/>
                        </a:rPr>
                        <a:t> </a:t>
                      </a:r>
                      <a:r>
                        <a:rPr lang="fr-FR" sz="1800" dirty="0" err="1">
                          <a:effectLst/>
                        </a:rPr>
                        <a:t>Health</a:t>
                      </a:r>
                      <a:r>
                        <a:rPr lang="fr-FR" sz="1800" dirty="0">
                          <a:effectLst/>
                        </a:rPr>
                        <a:t> Questionnaire 9 for adolescents (PHQ-9)</a:t>
                      </a: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9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969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b="0" dirty="0">
                          <a:effectLst/>
                        </a:rPr>
                        <a:t>Posttraumatic</a:t>
                      </a:r>
                      <a:r>
                        <a:rPr lang="en-GB" sz="1800" b="0" spc="-65" dirty="0">
                          <a:effectLst/>
                        </a:rPr>
                        <a:t> </a:t>
                      </a:r>
                      <a:r>
                        <a:rPr lang="en-GB" sz="1800" b="0" dirty="0">
                          <a:effectLst/>
                        </a:rPr>
                        <a:t>stress</a:t>
                      </a:r>
                      <a:endParaRPr lang="en-GB" sz="18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The Children’s Impact of Events Scale (CRIES-8)</a:t>
                      </a: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8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969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b="0" dirty="0">
                          <a:effectLst/>
                        </a:rPr>
                        <a:t>General functioning</a:t>
                      </a:r>
                      <a:endParaRPr lang="en-GB" sz="18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Impairment in daily functioning</a:t>
                      </a: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10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59386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b="0" dirty="0">
                          <a:effectLst/>
                        </a:rPr>
                        <a:t>Well-being</a:t>
                      </a:r>
                      <a:endParaRPr lang="en-GB" sz="18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Short Warwick-Edinburgh Mental Wellbeing Scale (SWEMWBS). </a:t>
                      </a: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14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96933">
                <a:tc grid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Caregiver </a:t>
                      </a:r>
                      <a:r>
                        <a:rPr lang="en-GB" sz="1800" dirty="0" smtClean="0">
                          <a:effectLst/>
                        </a:rPr>
                        <a:t>Measures</a:t>
                      </a: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969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b="0" dirty="0">
                          <a:effectLst/>
                        </a:rPr>
                        <a:t>General psychological distress</a:t>
                      </a:r>
                      <a:endParaRPr lang="en-GB" sz="18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b-NO" sz="1800" dirty="0">
                          <a:effectLst/>
                        </a:rPr>
                        <a:t>Kessler 6 (K6)</a:t>
                      </a: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6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969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b="0" dirty="0">
                          <a:effectLst/>
                        </a:rPr>
                        <a:t>Parenting</a:t>
                      </a:r>
                      <a:endParaRPr lang="en-GB" sz="18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Alabama </a:t>
                      </a:r>
                      <a:r>
                        <a:rPr lang="fr-FR" sz="1800" dirty="0" err="1">
                          <a:effectLst/>
                        </a:rPr>
                        <a:t>Parenting</a:t>
                      </a:r>
                      <a:r>
                        <a:rPr lang="fr-FR" sz="1800" dirty="0">
                          <a:effectLst/>
                        </a:rPr>
                        <a:t> </a:t>
                      </a:r>
                      <a:r>
                        <a:rPr lang="fr-FR" sz="1800" dirty="0" err="1">
                          <a:effectLst/>
                        </a:rPr>
                        <a:t>Scale</a:t>
                      </a:r>
                      <a:r>
                        <a:rPr lang="fr-FR" sz="1800" dirty="0">
                          <a:effectLst/>
                        </a:rPr>
                        <a:t> </a:t>
                      </a: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42 or short 15-item </a:t>
                      </a:r>
                      <a:endParaRPr lang="en-GB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9693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b="0" dirty="0">
                          <a:effectLst/>
                        </a:rPr>
                        <a:t>Exposure to traumatic events</a:t>
                      </a:r>
                      <a:endParaRPr lang="en-GB" sz="18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Harvard Trauma Questionnaire (HTQ) </a:t>
                      </a: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17</a:t>
                      </a: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96933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 smtClean="0">
                          <a:effectLst/>
                        </a:rPr>
                        <a:t>Other</a:t>
                      </a:r>
                      <a:endParaRPr lang="en-GB" sz="18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</a:tr>
              <a:tr h="296933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 smtClean="0">
                          <a:effectLst/>
                        </a:rPr>
                        <a:t>Fidelity and Competency checklist for</a:t>
                      </a:r>
                      <a:r>
                        <a:rPr lang="en-GB" sz="1800" b="0" baseline="0" dirty="0" smtClean="0">
                          <a:effectLst/>
                        </a:rPr>
                        <a:t> Facilitators</a:t>
                      </a:r>
                      <a:endParaRPr lang="en-GB" sz="1800" b="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12407-35E7-4E87-8757-FD495B64908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109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aptation and Validation of measur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 smtClean="0"/>
              <a:t>All measures: </a:t>
            </a:r>
          </a:p>
          <a:p>
            <a:r>
              <a:rPr lang="en-US" dirty="0" smtClean="0"/>
              <a:t>Forward translation to colloquial Arabic</a:t>
            </a:r>
          </a:p>
          <a:p>
            <a:r>
              <a:rPr lang="en-US" dirty="0" smtClean="0"/>
              <a:t>Backwards translation to </a:t>
            </a:r>
            <a:r>
              <a:rPr lang="en-US" dirty="0"/>
              <a:t>E</a:t>
            </a:r>
            <a:r>
              <a:rPr lang="en-US" dirty="0" smtClean="0"/>
              <a:t>nglish  (separate translator)</a:t>
            </a:r>
          </a:p>
          <a:p>
            <a:r>
              <a:rPr lang="en-US" dirty="0" smtClean="0"/>
              <a:t>Translation workshop to </a:t>
            </a:r>
            <a:r>
              <a:rPr lang="en-US" dirty="0" err="1" smtClean="0"/>
              <a:t>finalise</a:t>
            </a:r>
            <a:r>
              <a:rPr lang="en-US" dirty="0" smtClean="0"/>
              <a:t> translations</a:t>
            </a:r>
          </a:p>
          <a:p>
            <a:r>
              <a:rPr lang="en-US" dirty="0" smtClean="0"/>
              <a:t>Cognitive interviewing</a:t>
            </a:r>
          </a:p>
          <a:p>
            <a:r>
              <a:rPr lang="en-US" dirty="0" smtClean="0"/>
              <a:t>Revision and finalization of measure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Validation of </a:t>
            </a:r>
            <a:r>
              <a:rPr lang="en-GB" dirty="0" smtClean="0"/>
              <a:t>Paediatric </a:t>
            </a:r>
            <a:r>
              <a:rPr lang="en-GB" dirty="0"/>
              <a:t>Symptom Checklist</a:t>
            </a:r>
            <a:r>
              <a:rPr lang="en-US" dirty="0" smtClean="0"/>
              <a:t> and </a:t>
            </a:r>
            <a:r>
              <a:rPr lang="en-GB" dirty="0" smtClean="0"/>
              <a:t>Child </a:t>
            </a:r>
            <a:r>
              <a:rPr lang="en-GB" dirty="0"/>
              <a:t>Psychosocial Distress Screener </a:t>
            </a:r>
            <a:r>
              <a:rPr lang="en-US" dirty="0" smtClean="0"/>
              <a:t>:</a:t>
            </a:r>
          </a:p>
          <a:p>
            <a:r>
              <a:rPr lang="en-US" dirty="0" smtClean="0"/>
              <a:t>n = 100 adolescents aged 10-14</a:t>
            </a:r>
          </a:p>
          <a:p>
            <a:r>
              <a:rPr lang="en-US" dirty="0" smtClean="0"/>
              <a:t>concurrent validity with psychiatrist interview using KSADS</a:t>
            </a: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12407-35E7-4E87-8757-FD495B64908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638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hase 3 - Process evalu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2" y="1216206"/>
            <a:ext cx="11353798" cy="5428315"/>
          </a:xfrm>
        </p:spPr>
        <p:txBody>
          <a:bodyPr>
            <a:noAutofit/>
          </a:bodyPr>
          <a:lstStyle/>
          <a:p>
            <a:r>
              <a:rPr lang="en-GB" sz="2400" dirty="0" smtClean="0"/>
              <a:t>Target groups: EASE adolescent participants (completers and non-completers); EASE caregivers; ETAU participants </a:t>
            </a:r>
            <a:r>
              <a:rPr lang="en-GB" sz="2400" dirty="0"/>
              <a:t>(</a:t>
            </a:r>
            <a:r>
              <a:rPr lang="en-GB" sz="2400" dirty="0" smtClean="0"/>
              <a:t>completers and non-completers); ETAU caregivers; EASE facilitators; Supervisory </a:t>
            </a:r>
            <a:r>
              <a:rPr lang="en-GB" sz="2400" dirty="0"/>
              <a:t>and clinical </a:t>
            </a:r>
            <a:r>
              <a:rPr lang="en-GB" sz="2400" dirty="0" smtClean="0"/>
              <a:t>staff. </a:t>
            </a:r>
          </a:p>
          <a:p>
            <a:r>
              <a:rPr lang="en-GB" sz="2400" dirty="0" smtClean="0"/>
              <a:t>Methods: FGDs and KIIs</a:t>
            </a:r>
            <a:endParaRPr lang="en-GB" sz="2400" dirty="0"/>
          </a:p>
          <a:p>
            <a:r>
              <a:rPr lang="en-GB" sz="2400" b="1" dirty="0" smtClean="0"/>
              <a:t>Themes </a:t>
            </a:r>
            <a:r>
              <a:rPr lang="en-GB" sz="2400" b="1" dirty="0"/>
              <a:t>covered in these </a:t>
            </a:r>
            <a:r>
              <a:rPr lang="en-GB" sz="2400" b="1" dirty="0" smtClean="0"/>
              <a:t>interviews, amongst others:</a:t>
            </a:r>
          </a:p>
          <a:p>
            <a:pPr lvl="1"/>
            <a:r>
              <a:rPr lang="en-GB" dirty="0"/>
              <a:t>C</a:t>
            </a:r>
            <a:r>
              <a:rPr lang="en-GB" dirty="0" smtClean="0"/>
              <a:t>hallenges </a:t>
            </a:r>
            <a:r>
              <a:rPr lang="en-GB" dirty="0"/>
              <a:t>and </a:t>
            </a:r>
            <a:r>
              <a:rPr lang="en-GB" dirty="0" smtClean="0"/>
              <a:t>enablers </a:t>
            </a:r>
            <a:r>
              <a:rPr lang="en-GB" dirty="0"/>
              <a:t>in </a:t>
            </a:r>
            <a:r>
              <a:rPr lang="en-GB" dirty="0" smtClean="0"/>
              <a:t>implementation of EASE/ETAU etc.  </a:t>
            </a:r>
            <a:endParaRPr lang="en-GB" dirty="0"/>
          </a:p>
          <a:p>
            <a:pPr lvl="1"/>
            <a:r>
              <a:rPr lang="en-GB" dirty="0"/>
              <a:t>C</a:t>
            </a:r>
            <a:r>
              <a:rPr lang="en-GB" dirty="0" smtClean="0"/>
              <a:t>aregiver’s </a:t>
            </a:r>
            <a:r>
              <a:rPr lang="en-GB" dirty="0"/>
              <a:t>views on motivators and barriers to supporting adolescent participants of the program</a:t>
            </a:r>
          </a:p>
          <a:p>
            <a:pPr lvl="1"/>
            <a:r>
              <a:rPr lang="en-GB" dirty="0"/>
              <a:t>B</a:t>
            </a:r>
            <a:r>
              <a:rPr lang="en-GB" dirty="0" smtClean="0"/>
              <a:t>arriers </a:t>
            </a:r>
            <a:r>
              <a:rPr lang="en-GB" dirty="0"/>
              <a:t>and facilitators to recruitment, adherence and attrition within a randomized study </a:t>
            </a:r>
            <a:r>
              <a:rPr lang="en-GB" dirty="0" smtClean="0"/>
              <a:t>design</a:t>
            </a:r>
            <a:endParaRPr lang="en-GB" dirty="0"/>
          </a:p>
          <a:p>
            <a:endParaRPr lang="en-GB" sz="2400" dirty="0" smtClean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12407-35E7-4E87-8757-FD495B64908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12080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Timeline</a:t>
            </a:r>
            <a:endParaRPr lang="en-GB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36" y="1615858"/>
            <a:ext cx="12112873" cy="370760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12407-35E7-4E87-8757-FD495B64908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4138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hat is EASE?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2564" y="1191139"/>
            <a:ext cx="10612866" cy="5447656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2400" dirty="0" smtClean="0"/>
              <a:t>Designed for young adolescents (10-14 years old) experiencing adversity, and impaired by distress</a:t>
            </a:r>
          </a:p>
          <a:p>
            <a:pPr>
              <a:lnSpc>
                <a:spcPct val="150000"/>
              </a:lnSpc>
            </a:pPr>
            <a:r>
              <a:rPr lang="en-US" sz="2400" dirty="0" smtClean="0"/>
              <a:t>Delivered by non mental-health professionals</a:t>
            </a:r>
          </a:p>
          <a:p>
            <a:pPr>
              <a:lnSpc>
                <a:spcPct val="150000"/>
              </a:lnSpc>
            </a:pPr>
            <a:r>
              <a:rPr lang="en-US" sz="2400" dirty="0" smtClean="0"/>
              <a:t>Delivered in groups (around 8 adolescents)</a:t>
            </a:r>
          </a:p>
          <a:p>
            <a:pPr>
              <a:lnSpc>
                <a:spcPct val="150000"/>
              </a:lnSpc>
            </a:pPr>
            <a:r>
              <a:rPr lang="en-US" sz="2400" dirty="0" smtClean="0"/>
              <a:t>7 Sessions for children, 3 for parents </a:t>
            </a:r>
          </a:p>
          <a:p>
            <a:pPr>
              <a:lnSpc>
                <a:spcPct val="150000"/>
              </a:lnSpc>
            </a:pPr>
            <a:r>
              <a:rPr lang="en-US" sz="2400" dirty="0" smtClean="0"/>
              <a:t>Methods used: </a:t>
            </a:r>
            <a:endParaRPr lang="en-US" sz="2400" dirty="0"/>
          </a:p>
          <a:p>
            <a:pPr lvl="1"/>
            <a:r>
              <a:rPr lang="en-US" dirty="0"/>
              <a:t>Identifying feelings</a:t>
            </a:r>
          </a:p>
          <a:p>
            <a:pPr lvl="1"/>
            <a:r>
              <a:rPr lang="en-US" dirty="0" smtClean="0"/>
              <a:t>Stress </a:t>
            </a:r>
            <a:r>
              <a:rPr lang="en-US" dirty="0"/>
              <a:t>management</a:t>
            </a:r>
          </a:p>
          <a:p>
            <a:pPr lvl="1"/>
            <a:r>
              <a:rPr lang="en-US" dirty="0" smtClean="0"/>
              <a:t>Behavioral </a:t>
            </a:r>
            <a:r>
              <a:rPr lang="en-US" dirty="0"/>
              <a:t>activation </a:t>
            </a:r>
          </a:p>
          <a:p>
            <a:pPr lvl="1"/>
            <a:r>
              <a:rPr lang="en-US" dirty="0" smtClean="0"/>
              <a:t>Problem </a:t>
            </a:r>
            <a:r>
              <a:rPr lang="en-US" dirty="0"/>
              <a:t>solving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030614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12407-35E7-4E87-8757-FD495B64908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2191999" cy="6695944"/>
          </a:xfrm>
        </p:spPr>
      </p:pic>
    </p:spTree>
    <p:extLst>
      <p:ext uri="{BB962C8B-B14F-4D97-AF65-F5344CB8AC3E}">
        <p14:creationId xmlns:p14="http://schemas.microsoft.com/office/powerpoint/2010/main" val="4515494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="" xmlns:a16="http://schemas.microsoft.com/office/drawing/2014/main" id="{179DF128-DCAF-42AD-AFDB-F8EC33AE8A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81691787"/>
              </p:ext>
            </p:extLst>
          </p:nvPr>
        </p:nvGraphicFramePr>
        <p:xfrm>
          <a:off x="185468" y="1155596"/>
          <a:ext cx="8369009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ight Brace 4">
            <a:extLst>
              <a:ext uri="{FF2B5EF4-FFF2-40B4-BE49-F238E27FC236}">
                <a16:creationId xmlns="" xmlns:a16="http://schemas.microsoft.com/office/drawing/2014/main" id="{2F83BABD-C830-4E88-9321-2BCEF2AAA6AC}"/>
              </a:ext>
            </a:extLst>
          </p:cNvPr>
          <p:cNvSpPr/>
          <p:nvPr/>
        </p:nvSpPr>
        <p:spPr>
          <a:xfrm>
            <a:off x="7658099" y="876193"/>
            <a:ext cx="1972713" cy="5722536"/>
          </a:xfrm>
          <a:prstGeom prst="rightBrace">
            <a:avLst>
              <a:gd name="adj1" fmla="val 13008"/>
              <a:gd name="adj2" fmla="val 16111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A6031E98-38C4-4751-98C4-558CCCFB893D}"/>
              </a:ext>
            </a:extLst>
          </p:cNvPr>
          <p:cNvSpPr txBox="1"/>
          <p:nvPr/>
        </p:nvSpPr>
        <p:spPr>
          <a:xfrm>
            <a:off x="9630812" y="1900251"/>
            <a:ext cx="237141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prstClr val="black"/>
                </a:solidFill>
                <a:latin typeface="Calibri"/>
              </a:rPr>
              <a:t>OUTPUTS</a:t>
            </a:r>
          </a:p>
          <a:p>
            <a:pPr marL="342900" indent="-342900">
              <a:buFontTx/>
              <a:buAutoNum type="arabicPeriod"/>
            </a:pPr>
            <a:r>
              <a:rPr lang="en-US" sz="2000" dirty="0">
                <a:solidFill>
                  <a:prstClr val="black"/>
                </a:solidFill>
                <a:latin typeface="Calibri"/>
              </a:rPr>
              <a:t>Bernal framework </a:t>
            </a:r>
            <a:r>
              <a:rPr lang="en-US" sz="2000" dirty="0" smtClean="0">
                <a:solidFill>
                  <a:prstClr val="black"/>
                </a:solidFill>
                <a:latin typeface="Calibri"/>
              </a:rPr>
              <a:t>completed</a:t>
            </a:r>
            <a:endParaRPr lang="en-US" sz="2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A6031E98-38C4-4751-98C4-558CCCFB893D}"/>
              </a:ext>
            </a:extLst>
          </p:cNvPr>
          <p:cNvSpPr txBox="1"/>
          <p:nvPr/>
        </p:nvSpPr>
        <p:spPr>
          <a:xfrm>
            <a:off x="9725699" y="4128781"/>
            <a:ext cx="237141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en-US" sz="2000" dirty="0" smtClean="0">
                <a:solidFill>
                  <a:prstClr val="black"/>
                </a:solidFill>
                <a:latin typeface="Calibri"/>
              </a:rPr>
              <a:t>Revision EASE materials</a:t>
            </a:r>
            <a:endParaRPr lang="en-US" sz="2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Down Arrow 1"/>
          <p:cNvSpPr/>
          <p:nvPr/>
        </p:nvSpPr>
        <p:spPr>
          <a:xfrm>
            <a:off x="10580684" y="3448373"/>
            <a:ext cx="604911" cy="578176"/>
          </a:xfrm>
          <a:prstGeom prst="downArrow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24133" y="104409"/>
            <a:ext cx="10515600" cy="922657"/>
          </a:xfrm>
        </p:spPr>
        <p:txBody>
          <a:bodyPr/>
          <a:lstStyle/>
          <a:p>
            <a:r>
              <a:rPr lang="nl-NL" dirty="0" smtClean="0"/>
              <a:t> </a:t>
            </a:r>
            <a:r>
              <a:rPr lang="nl-NL" dirty="0" err="1" smtClean="0"/>
              <a:t>Phase</a:t>
            </a:r>
            <a:r>
              <a:rPr lang="nl-NL" dirty="0" smtClean="0"/>
              <a:t> 1- </a:t>
            </a:r>
            <a:r>
              <a:rPr lang="nl-NL" dirty="0" err="1" smtClean="0"/>
              <a:t>Cultural</a:t>
            </a:r>
            <a:r>
              <a:rPr lang="nl-NL" dirty="0" smtClean="0"/>
              <a:t> </a:t>
            </a:r>
            <a:r>
              <a:rPr lang="nl-NL" b="1" dirty="0" smtClean="0"/>
              <a:t>Adaptation - </a:t>
            </a:r>
            <a:r>
              <a:rPr lang="nl-NL" dirty="0" err="1" smtClean="0"/>
              <a:t>P</a:t>
            </a:r>
            <a:r>
              <a:rPr lang="nl-NL" b="1" dirty="0" err="1" smtClean="0"/>
              <a:t>rocess</a:t>
            </a:r>
            <a:r>
              <a:rPr lang="nl-NL" b="1" dirty="0" smtClean="0"/>
              <a:t> </a:t>
            </a:r>
            <a:endParaRPr lang="nl-NL" b="1" dirty="0"/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A6031E98-38C4-4751-98C4-558CCCFB893D}"/>
              </a:ext>
            </a:extLst>
          </p:cNvPr>
          <p:cNvSpPr txBox="1"/>
          <p:nvPr/>
        </p:nvSpPr>
        <p:spPr>
          <a:xfrm>
            <a:off x="9252745" y="1043966"/>
            <a:ext cx="2890385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2000"/>
              <a:t>ADAPTTION WORKSHOP</a:t>
            </a:r>
          </a:p>
          <a:p>
            <a:pPr lvl="0"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2000"/>
              <a:t>21-22 Sept Beirut</a:t>
            </a:r>
            <a:endParaRPr lang="en-GB" sz="2000" dirty="0"/>
          </a:p>
        </p:txBody>
      </p:sp>
      <p:sp>
        <p:nvSpPr>
          <p:cNvPr id="11" name="Rectangle 10"/>
          <p:cNvSpPr/>
          <p:nvPr/>
        </p:nvSpPr>
        <p:spPr>
          <a:xfrm>
            <a:off x="2204584" y="1317299"/>
            <a:ext cx="2851865" cy="78740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470872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="" xmlns:a16="http://schemas.microsoft.com/office/drawing/2014/main" id="{179DF128-DCAF-42AD-AFDB-F8EC33AE8A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3540726"/>
              </p:ext>
            </p:extLst>
          </p:nvPr>
        </p:nvGraphicFramePr>
        <p:xfrm>
          <a:off x="185468" y="1155596"/>
          <a:ext cx="11714258" cy="54431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24133" y="104409"/>
            <a:ext cx="10515600" cy="922657"/>
          </a:xfrm>
        </p:spPr>
        <p:txBody>
          <a:bodyPr/>
          <a:lstStyle/>
          <a:p>
            <a:r>
              <a:rPr lang="nl-NL" dirty="0" smtClean="0"/>
              <a:t> </a:t>
            </a:r>
            <a:r>
              <a:rPr lang="nl-NL" dirty="0" err="1" smtClean="0"/>
              <a:t>Phase</a:t>
            </a:r>
            <a:r>
              <a:rPr lang="nl-NL" dirty="0" smtClean="0"/>
              <a:t> 1- </a:t>
            </a:r>
            <a:r>
              <a:rPr lang="nl-NL" dirty="0" err="1" smtClean="0"/>
              <a:t>Cultural</a:t>
            </a:r>
            <a:r>
              <a:rPr lang="nl-NL" dirty="0" smtClean="0"/>
              <a:t> </a:t>
            </a:r>
            <a:r>
              <a:rPr lang="nl-NL" b="1" dirty="0" smtClean="0"/>
              <a:t>Adaptation – </a:t>
            </a:r>
            <a:r>
              <a:rPr lang="nl-NL" dirty="0" smtClean="0"/>
              <a:t>P</a:t>
            </a:r>
            <a:r>
              <a:rPr lang="nl-NL" b="1" dirty="0" smtClean="0"/>
              <a:t>rocedures</a:t>
            </a:r>
            <a:endParaRPr lang="nl-NL" b="1" dirty="0"/>
          </a:p>
        </p:txBody>
      </p:sp>
      <p:grpSp>
        <p:nvGrpSpPr>
          <p:cNvPr id="10" name="Group 9"/>
          <p:cNvGrpSpPr/>
          <p:nvPr/>
        </p:nvGrpSpPr>
        <p:grpSpPr>
          <a:xfrm>
            <a:off x="1878907" y="1285218"/>
            <a:ext cx="6087646" cy="787400"/>
            <a:chOff x="3219757" y="1202104"/>
            <a:chExt cx="2851865" cy="787400"/>
          </a:xfrm>
        </p:grpSpPr>
        <p:sp>
          <p:nvSpPr>
            <p:cNvPr id="11" name="Rectangle 10"/>
            <p:cNvSpPr/>
            <p:nvPr/>
          </p:nvSpPr>
          <p:spPr>
            <a:xfrm>
              <a:off x="3219757" y="1202104"/>
              <a:ext cx="2851865" cy="78740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Rectangle 11"/>
            <p:cNvSpPr/>
            <p:nvPr/>
          </p:nvSpPr>
          <p:spPr>
            <a:xfrm>
              <a:off x="3219757" y="1202104"/>
              <a:ext cx="2851865" cy="7874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1"/>
              <a:r>
                <a:rPr lang="en-GB" sz="1600" dirty="0" smtClean="0"/>
                <a:t>- Two communities in North </a:t>
              </a:r>
              <a:r>
                <a:rPr lang="en-GB" sz="1600" dirty="0"/>
                <a:t>Lebanon</a:t>
              </a:r>
            </a:p>
            <a:p>
              <a:pPr lvl="1"/>
              <a:r>
                <a:rPr lang="en-GB" sz="1600" dirty="0" smtClean="0"/>
                <a:t>- FL </a:t>
              </a:r>
              <a:r>
                <a:rPr lang="en-GB" sz="1600" dirty="0"/>
                <a:t>(n=24), </a:t>
              </a:r>
              <a:r>
                <a:rPr lang="en-GB" sz="1600" dirty="0" smtClean="0"/>
                <a:t>FGD (4 groups, n=15), KII (</a:t>
              </a:r>
              <a:r>
                <a:rPr lang="en-GB" sz="1600" dirty="0"/>
                <a:t>n=23</a:t>
              </a:r>
              <a:r>
                <a:rPr lang="en-GB" sz="1600" dirty="0" smtClean="0"/>
                <a:t>).</a:t>
              </a:r>
            </a:p>
            <a:p>
              <a:pPr lvl="1"/>
              <a:r>
                <a:rPr lang="en-GB" sz="1600" dirty="0" smtClean="0"/>
                <a:t>- Children</a:t>
              </a:r>
              <a:r>
                <a:rPr lang="en-GB" sz="1600" dirty="0"/>
                <a:t>, Parents, Community Members, and </a:t>
              </a:r>
              <a:r>
                <a:rPr lang="en-GB" sz="1600" dirty="0" smtClean="0"/>
                <a:t>MH </a:t>
              </a:r>
              <a:r>
                <a:rPr lang="en-GB" sz="1600" dirty="0"/>
                <a:t>Care Providers</a:t>
              </a:r>
              <a:r>
                <a:rPr lang="en-GB" sz="1600" dirty="0" smtClean="0"/>
                <a:t>.</a:t>
              </a:r>
              <a:endParaRPr lang="en-GB" sz="1600" dirty="0">
                <a:solidFill>
                  <a:srgbClr val="FF0000"/>
                </a:solidFill>
              </a:endParaRPr>
            </a:p>
          </p:txBody>
        </p:sp>
      </p:grpSp>
      <p:sp>
        <p:nvSpPr>
          <p:cNvPr id="13" name="Rectangle 12"/>
          <p:cNvSpPr/>
          <p:nvPr/>
        </p:nvSpPr>
        <p:spPr>
          <a:xfrm>
            <a:off x="3038110" y="2360759"/>
            <a:ext cx="6087646" cy="7874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marL="742950" lvl="1" indent="-285750">
              <a:buFontTx/>
              <a:buChar char="-"/>
            </a:pPr>
            <a:r>
              <a:rPr lang="en-GB" sz="1600" dirty="0" smtClean="0">
                <a:solidFill>
                  <a:schemeClr val="tx1"/>
                </a:solidFill>
              </a:rPr>
              <a:t>By </a:t>
            </a:r>
            <a:r>
              <a:rPr lang="en-GB" sz="1600" dirty="0">
                <a:solidFill>
                  <a:schemeClr val="tx1"/>
                </a:solidFill>
              </a:rPr>
              <a:t>Master Student </a:t>
            </a:r>
            <a:r>
              <a:rPr lang="en-GB" sz="1600" dirty="0" smtClean="0">
                <a:solidFill>
                  <a:schemeClr val="tx1"/>
                </a:solidFill>
              </a:rPr>
              <a:t>(LSHTM) </a:t>
            </a:r>
            <a:endParaRPr lang="en-US" sz="1600" dirty="0">
              <a:solidFill>
                <a:schemeClr val="tx1"/>
              </a:solidFill>
            </a:endParaRPr>
          </a:p>
          <a:p>
            <a:pPr marL="742950" lvl="1" indent="-285750">
              <a:buFontTx/>
              <a:buChar char="-"/>
            </a:pPr>
            <a:r>
              <a:rPr lang="en-GB" sz="1600" dirty="0" smtClean="0">
                <a:solidFill>
                  <a:schemeClr val="tx1"/>
                </a:solidFill>
              </a:rPr>
              <a:t>Existing </a:t>
            </a:r>
            <a:r>
              <a:rPr lang="en-GB" sz="1600" dirty="0">
                <a:solidFill>
                  <a:schemeClr val="tx1"/>
                </a:solidFill>
              </a:rPr>
              <a:t>Desk Reviews WCH </a:t>
            </a:r>
            <a:r>
              <a:rPr lang="en-GB" sz="1600" dirty="0" smtClean="0">
                <a:solidFill>
                  <a:schemeClr val="tx1"/>
                </a:solidFill>
              </a:rPr>
              <a:t>Lebanon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112717" y="3432084"/>
            <a:ext cx="6087646" cy="7874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lvl="1"/>
            <a:r>
              <a:rPr lang="en-GB" sz="1600" dirty="0" smtClean="0"/>
              <a:t>-   4 CI groups (n=16); caregivers and children in North Lebanon</a:t>
            </a:r>
          </a:p>
          <a:p>
            <a:pPr lvl="1"/>
            <a:r>
              <a:rPr lang="en-GB" sz="1600" dirty="0" smtClean="0"/>
              <a:t>-   Selection of Arabic </a:t>
            </a:r>
            <a:r>
              <a:rPr lang="en-GB" sz="1600" dirty="0"/>
              <a:t>EASE </a:t>
            </a:r>
            <a:r>
              <a:rPr lang="en-GB" sz="1600" dirty="0" smtClean="0"/>
              <a:t>materials: </a:t>
            </a:r>
            <a:r>
              <a:rPr lang="en-GB" sz="1600" dirty="0"/>
              <a:t>Storybook for adolescents; </a:t>
            </a:r>
          </a:p>
          <a:p>
            <a:pPr lvl="1"/>
            <a:r>
              <a:rPr lang="en-GB" sz="1600" dirty="0" smtClean="0"/>
              <a:t>Posters </a:t>
            </a:r>
            <a:r>
              <a:rPr lang="en-GB" sz="1600" dirty="0"/>
              <a:t>for adolescents; </a:t>
            </a:r>
            <a:r>
              <a:rPr lang="en-GB" sz="1600" dirty="0" smtClean="0"/>
              <a:t>Parts </a:t>
            </a:r>
            <a:r>
              <a:rPr lang="en-GB" sz="1600" dirty="0"/>
              <a:t>of EASE </a:t>
            </a:r>
            <a:r>
              <a:rPr lang="en-GB" sz="1600" dirty="0" smtClean="0"/>
              <a:t>manual; Caregiver handouts</a:t>
            </a:r>
            <a:endParaRPr lang="en-GB" sz="1600" dirty="0"/>
          </a:p>
        </p:txBody>
      </p:sp>
      <p:sp>
        <p:nvSpPr>
          <p:cNvPr id="15" name="Rectangle 14"/>
          <p:cNvSpPr/>
          <p:nvPr/>
        </p:nvSpPr>
        <p:spPr>
          <a:xfrm>
            <a:off x="5248407" y="4507625"/>
            <a:ext cx="5912283" cy="7874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marL="742950" lvl="1" indent="-285750">
              <a:buFontTx/>
              <a:buChar char="-"/>
            </a:pPr>
            <a:r>
              <a:rPr lang="nl-NL" sz="1600" dirty="0" err="1" smtClean="0">
                <a:solidFill>
                  <a:schemeClr val="tx1"/>
                </a:solidFill>
              </a:rPr>
              <a:t>By</a:t>
            </a:r>
            <a:r>
              <a:rPr lang="nl-NL" sz="1600" dirty="0" smtClean="0">
                <a:solidFill>
                  <a:schemeClr val="tx1"/>
                </a:solidFill>
              </a:rPr>
              <a:t> 5 </a:t>
            </a:r>
            <a:r>
              <a:rPr lang="nl-NL" sz="1600" dirty="0" err="1" smtClean="0">
                <a:solidFill>
                  <a:schemeClr val="tx1"/>
                </a:solidFill>
              </a:rPr>
              <a:t>Lebanese</a:t>
            </a:r>
            <a:r>
              <a:rPr lang="nl-NL" sz="1600" dirty="0" smtClean="0">
                <a:solidFill>
                  <a:schemeClr val="tx1"/>
                </a:solidFill>
              </a:rPr>
              <a:t> WCH </a:t>
            </a:r>
            <a:r>
              <a:rPr lang="nl-NL" sz="1600" dirty="0" err="1" smtClean="0">
                <a:solidFill>
                  <a:schemeClr val="tx1"/>
                </a:solidFill>
              </a:rPr>
              <a:t>researchers</a:t>
            </a:r>
            <a:r>
              <a:rPr lang="nl-NL" sz="1600" dirty="0" smtClean="0">
                <a:solidFill>
                  <a:schemeClr val="tx1"/>
                </a:solidFill>
              </a:rPr>
              <a:t> </a:t>
            </a:r>
            <a:r>
              <a:rPr lang="nl-NL" sz="1600" dirty="0" err="1" smtClean="0">
                <a:solidFill>
                  <a:schemeClr val="tx1"/>
                </a:solidFill>
              </a:rPr>
              <a:t>and</a:t>
            </a:r>
            <a:r>
              <a:rPr lang="nl-NL" sz="1600" dirty="0" smtClean="0">
                <a:solidFill>
                  <a:schemeClr val="tx1"/>
                </a:solidFill>
              </a:rPr>
              <a:t> PSS trainers/</a:t>
            </a:r>
            <a:r>
              <a:rPr lang="nl-NL" sz="1600" dirty="0" err="1" smtClean="0">
                <a:solidFill>
                  <a:schemeClr val="tx1"/>
                </a:solidFill>
              </a:rPr>
              <a:t>advisors</a:t>
            </a:r>
            <a:endParaRPr lang="nl-NL" sz="1600" dirty="0" smtClean="0">
              <a:solidFill>
                <a:schemeClr val="tx1"/>
              </a:solidFill>
            </a:endParaRPr>
          </a:p>
          <a:p>
            <a:pPr marL="742950" lvl="1" indent="-285750">
              <a:buFontTx/>
              <a:buChar char="-"/>
            </a:pPr>
            <a:r>
              <a:rPr lang="en-GB" sz="1600" dirty="0" smtClean="0">
                <a:solidFill>
                  <a:schemeClr val="tx1"/>
                </a:solidFill>
              </a:rPr>
              <a:t>Arabic </a:t>
            </a:r>
            <a:r>
              <a:rPr lang="en-GB" sz="1600" dirty="0">
                <a:solidFill>
                  <a:schemeClr val="tx1"/>
                </a:solidFill>
              </a:rPr>
              <a:t>Manual, Arabic Storybook and Arabic </a:t>
            </a:r>
            <a:r>
              <a:rPr lang="en-GB" sz="1600" dirty="0" smtClean="0">
                <a:solidFill>
                  <a:schemeClr val="tx1"/>
                </a:solidFill>
              </a:rPr>
              <a:t>Workbook</a:t>
            </a:r>
            <a:endParaRPr lang="en-GB" sz="1600" dirty="0" smtClean="0">
              <a:solidFill>
                <a:srgbClr val="FF0000"/>
              </a:solidFill>
            </a:endParaRPr>
          </a:p>
          <a:p>
            <a:pPr marL="742950" lvl="1" indent="-285750">
              <a:buFontTx/>
              <a:buChar char="-"/>
            </a:pPr>
            <a:r>
              <a:rPr lang="en-GB" sz="1600" dirty="0" smtClean="0">
                <a:solidFill>
                  <a:schemeClr val="tx1"/>
                </a:solidFill>
              </a:rPr>
              <a:t>feedback on </a:t>
            </a:r>
            <a:r>
              <a:rPr lang="en-GB" sz="1600" dirty="0">
                <a:solidFill>
                  <a:schemeClr val="tx1"/>
                </a:solidFill>
              </a:rPr>
              <a:t>comprehensibility, acceptability and </a:t>
            </a:r>
            <a:r>
              <a:rPr lang="en-GB" sz="1600" dirty="0" smtClean="0">
                <a:solidFill>
                  <a:schemeClr val="tx1"/>
                </a:solidFill>
              </a:rPr>
              <a:t>formulation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536503" y="5583166"/>
            <a:ext cx="5584519" cy="78740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marL="742950" lvl="1" indent="-285750">
              <a:buFontTx/>
              <a:buChar char="-"/>
            </a:pPr>
            <a:r>
              <a:rPr lang="en-GB" sz="1600" dirty="0" smtClean="0">
                <a:solidFill>
                  <a:schemeClr val="tx1"/>
                </a:solidFill>
              </a:rPr>
              <a:t>Run-through by 9 participants: Lebanese WCH Researchers and PSS trainers/advisors and non-Lebanese psychologists, researchers </a:t>
            </a:r>
            <a:r>
              <a:rPr lang="en-GB" sz="1600" dirty="0">
                <a:solidFill>
                  <a:schemeClr val="tx1"/>
                </a:solidFill>
              </a:rPr>
              <a:t>(WHO, DRC and WCH</a:t>
            </a:r>
            <a:r>
              <a:rPr lang="en-GB" sz="1600" dirty="0" smtClean="0">
                <a:solidFill>
                  <a:schemeClr val="tx1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656276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Phase</a:t>
            </a:r>
            <a:r>
              <a:rPr lang="nl-NL" dirty="0" smtClean="0"/>
              <a:t> 1 – </a:t>
            </a:r>
            <a:r>
              <a:rPr lang="nl-NL" dirty="0" err="1" smtClean="0"/>
              <a:t>Cultural</a:t>
            </a:r>
            <a:r>
              <a:rPr lang="nl-NL" dirty="0" smtClean="0"/>
              <a:t> Adaptation – </a:t>
            </a:r>
            <a:r>
              <a:rPr lang="nl-NL" dirty="0" err="1" smtClean="0"/>
              <a:t>Example</a:t>
            </a:r>
            <a:r>
              <a:rPr lang="nl-NL" dirty="0" smtClean="0"/>
              <a:t> </a:t>
            </a:r>
            <a:r>
              <a:rPr lang="nl-NL" dirty="0" err="1" smtClean="0"/>
              <a:t>adaptation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12407-35E7-4E87-8757-FD495B64908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365337" y="1240626"/>
            <a:ext cx="9895562" cy="24160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80000"/>
              </a:lnSpc>
              <a:spcBef>
                <a:spcPts val="2200"/>
              </a:spcBef>
              <a:buFont typeface="Arial" panose="020B0604020202020204" pitchFamily="34" charset="0"/>
              <a:buChar char="•"/>
            </a:pPr>
            <a:r>
              <a:rPr lang="nl-NL" sz="2400" dirty="0" err="1"/>
              <a:t>Addressing</a:t>
            </a:r>
            <a:r>
              <a:rPr lang="nl-NL" sz="2400" dirty="0"/>
              <a:t> </a:t>
            </a:r>
            <a:r>
              <a:rPr lang="nl-NL" sz="2400" dirty="0" err="1"/>
              <a:t>aggression</a:t>
            </a:r>
            <a:r>
              <a:rPr lang="nl-NL" sz="2400" dirty="0"/>
              <a:t> </a:t>
            </a:r>
            <a:r>
              <a:rPr lang="nl-NL" sz="2400" dirty="0" err="1"/>
              <a:t>and</a:t>
            </a:r>
            <a:r>
              <a:rPr lang="nl-NL" sz="2400" dirty="0"/>
              <a:t> </a:t>
            </a:r>
            <a:r>
              <a:rPr lang="nl-NL" sz="2400" dirty="0" err="1"/>
              <a:t>bullying</a:t>
            </a:r>
            <a:r>
              <a:rPr lang="nl-NL" sz="2400" dirty="0"/>
              <a:t> </a:t>
            </a:r>
            <a:r>
              <a:rPr lang="nl-NL" sz="2400" dirty="0" err="1"/>
              <a:t>throughout</a:t>
            </a:r>
            <a:endParaRPr lang="nl-NL" sz="2400" dirty="0"/>
          </a:p>
          <a:p>
            <a:pPr marL="285750" indent="-285750">
              <a:lnSpc>
                <a:spcPct val="80000"/>
              </a:lnSpc>
              <a:spcBef>
                <a:spcPts val="2200"/>
              </a:spcBef>
              <a:buFont typeface="Arial" panose="020B0604020202020204" pitchFamily="34" charset="0"/>
              <a:buChar char="•"/>
            </a:pPr>
            <a:r>
              <a:rPr lang="nl-NL" sz="2400" dirty="0" err="1"/>
              <a:t>Reducing</a:t>
            </a:r>
            <a:r>
              <a:rPr lang="nl-NL" sz="2400" dirty="0"/>
              <a:t> resources </a:t>
            </a:r>
            <a:r>
              <a:rPr lang="nl-NL" sz="2400" dirty="0" err="1"/>
              <a:t>needed</a:t>
            </a:r>
            <a:r>
              <a:rPr lang="nl-NL" sz="2400" dirty="0"/>
              <a:t>- </a:t>
            </a:r>
            <a:r>
              <a:rPr lang="nl-NL" sz="2400" dirty="0" err="1"/>
              <a:t>such</a:t>
            </a:r>
            <a:r>
              <a:rPr lang="nl-NL" sz="2400" dirty="0"/>
              <a:t> as </a:t>
            </a:r>
            <a:r>
              <a:rPr lang="nl-NL" sz="2400" dirty="0" err="1"/>
              <a:t>costumes</a:t>
            </a:r>
            <a:r>
              <a:rPr lang="nl-NL" sz="2400" dirty="0"/>
              <a:t>, </a:t>
            </a:r>
            <a:r>
              <a:rPr lang="nl-NL" sz="2400" dirty="0" err="1"/>
              <a:t>coloured</a:t>
            </a:r>
            <a:r>
              <a:rPr lang="nl-NL" sz="2400" dirty="0"/>
              <a:t> </a:t>
            </a:r>
            <a:r>
              <a:rPr lang="nl-NL" sz="2400" dirty="0" err="1"/>
              <a:t>pencils</a:t>
            </a:r>
            <a:endParaRPr lang="nl-NL" sz="2400" dirty="0"/>
          </a:p>
          <a:p>
            <a:pPr marL="285750" indent="-285750">
              <a:lnSpc>
                <a:spcPct val="80000"/>
              </a:lnSpc>
              <a:spcBef>
                <a:spcPts val="2200"/>
              </a:spcBef>
              <a:buFont typeface="Arial" panose="020B0604020202020204" pitchFamily="34" charset="0"/>
              <a:buChar char="•"/>
            </a:pPr>
            <a:r>
              <a:rPr lang="nl-NL" sz="2400" dirty="0" err="1"/>
              <a:t>Prioritising</a:t>
            </a:r>
            <a:r>
              <a:rPr lang="nl-NL" sz="2400" dirty="0"/>
              <a:t> </a:t>
            </a:r>
            <a:r>
              <a:rPr lang="nl-NL" sz="2400" dirty="0" err="1"/>
              <a:t>problems</a:t>
            </a:r>
            <a:r>
              <a:rPr lang="nl-NL" sz="2400" dirty="0"/>
              <a:t> </a:t>
            </a:r>
            <a:r>
              <a:rPr lang="nl-NL" sz="2400" dirty="0" err="1"/>
              <a:t>during</a:t>
            </a:r>
            <a:r>
              <a:rPr lang="nl-NL" sz="2400" dirty="0"/>
              <a:t> </a:t>
            </a:r>
            <a:r>
              <a:rPr lang="nl-NL" sz="2400" dirty="0" err="1"/>
              <a:t>problem</a:t>
            </a:r>
            <a:r>
              <a:rPr lang="nl-NL" sz="2400" dirty="0"/>
              <a:t> </a:t>
            </a:r>
            <a:r>
              <a:rPr lang="nl-NL" sz="2400" dirty="0" err="1"/>
              <a:t>solving</a:t>
            </a:r>
            <a:endParaRPr lang="nl-NL" sz="2400" dirty="0"/>
          </a:p>
          <a:p>
            <a:pPr marL="285750" indent="-285750">
              <a:lnSpc>
                <a:spcPct val="80000"/>
              </a:lnSpc>
              <a:spcBef>
                <a:spcPts val="2200"/>
              </a:spcBef>
              <a:buFont typeface="Arial" panose="020B0604020202020204" pitchFamily="34" charset="0"/>
              <a:buChar char="•"/>
            </a:pPr>
            <a:r>
              <a:rPr lang="nl-NL" sz="2400" dirty="0" err="1"/>
              <a:t>Quality</a:t>
            </a:r>
            <a:r>
              <a:rPr lang="nl-NL" sz="2400" dirty="0"/>
              <a:t> time </a:t>
            </a:r>
            <a:r>
              <a:rPr lang="nl-NL" sz="2400" dirty="0" err="1"/>
              <a:t>needs</a:t>
            </a:r>
            <a:r>
              <a:rPr lang="nl-NL" sz="2400" dirty="0"/>
              <a:t> </a:t>
            </a:r>
            <a:r>
              <a:rPr lang="nl-NL" sz="2400" dirty="0" err="1"/>
              <a:t>to</a:t>
            </a:r>
            <a:r>
              <a:rPr lang="nl-NL" sz="2400" dirty="0"/>
              <a:t> </a:t>
            </a:r>
            <a:r>
              <a:rPr lang="nl-NL" sz="2400" dirty="0" err="1"/>
              <a:t>consider</a:t>
            </a:r>
            <a:r>
              <a:rPr lang="nl-NL" sz="2400" dirty="0"/>
              <a:t> large families, </a:t>
            </a:r>
            <a:r>
              <a:rPr lang="nl-NL" sz="2400" dirty="0" err="1"/>
              <a:t>limited</a:t>
            </a:r>
            <a:r>
              <a:rPr lang="nl-NL" sz="2400" dirty="0"/>
              <a:t> </a:t>
            </a:r>
            <a:r>
              <a:rPr lang="nl-NL" sz="2400" dirty="0" err="1"/>
              <a:t>space</a:t>
            </a:r>
            <a:r>
              <a:rPr lang="nl-NL" sz="2400" dirty="0"/>
              <a:t>, </a:t>
            </a:r>
            <a:r>
              <a:rPr lang="nl-NL" sz="2400" dirty="0" err="1"/>
              <a:t>and</a:t>
            </a:r>
            <a:r>
              <a:rPr lang="nl-NL" sz="2400" dirty="0"/>
              <a:t> </a:t>
            </a:r>
            <a:r>
              <a:rPr lang="nl-NL" sz="2400" dirty="0" err="1"/>
              <a:t>limited</a:t>
            </a:r>
            <a:r>
              <a:rPr lang="nl-NL" sz="2400" dirty="0"/>
              <a:t> time</a:t>
            </a:r>
          </a:p>
        </p:txBody>
      </p:sp>
    </p:spTree>
    <p:extLst>
      <p:ext uri="{BB962C8B-B14F-4D97-AF65-F5344CB8AC3E}">
        <p14:creationId xmlns:p14="http://schemas.microsoft.com/office/powerpoint/2010/main" val="41780508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hase 1 – Trainings + Timeline </a:t>
            </a:r>
            <a:endParaRPr lang="en-GB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952098707"/>
              </p:ext>
            </p:extLst>
          </p:nvPr>
        </p:nvGraphicFramePr>
        <p:xfrm>
          <a:off x="838200" y="1072979"/>
          <a:ext cx="10010371" cy="21523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Rectangle 6"/>
          <p:cNvSpPr/>
          <p:nvPr/>
        </p:nvSpPr>
        <p:spPr>
          <a:xfrm>
            <a:off x="1730087" y="2946113"/>
            <a:ext cx="1346662" cy="5486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tx1"/>
                </a:solidFill>
              </a:rPr>
              <a:t>2 days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275513" y="2951018"/>
            <a:ext cx="1346662" cy="5486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tx1"/>
                </a:solidFill>
              </a:rPr>
              <a:t>8 days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724188" y="2937799"/>
            <a:ext cx="1346662" cy="8312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 smtClean="0">
              <a:solidFill>
                <a:schemeClr val="tx1"/>
              </a:solidFill>
            </a:endParaRPr>
          </a:p>
          <a:p>
            <a:pPr algn="ctr"/>
            <a:r>
              <a:rPr lang="en-US" sz="2000" b="1" dirty="0" smtClean="0">
                <a:solidFill>
                  <a:schemeClr val="tx1"/>
                </a:solidFill>
              </a:rPr>
              <a:t>Full cycle</a:t>
            </a:r>
          </a:p>
          <a:p>
            <a:pPr algn="ctr"/>
            <a:r>
              <a:rPr lang="en-US" sz="2000" b="1" dirty="0" smtClean="0">
                <a:solidFill>
                  <a:schemeClr val="tx1"/>
                </a:solidFill>
              </a:rPr>
              <a:t>Trainers</a:t>
            </a:r>
            <a:endParaRPr lang="en-US" sz="2000" b="1" dirty="0">
              <a:solidFill>
                <a:schemeClr val="tx1"/>
              </a:solidFill>
            </a:endParaRPr>
          </a:p>
          <a:p>
            <a:pPr algn="ctr"/>
            <a:r>
              <a:rPr lang="en-US" sz="2000" b="1" dirty="0" smtClean="0">
                <a:solidFill>
                  <a:schemeClr val="tx1"/>
                </a:solidFill>
              </a:rPr>
              <a:t> 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742441" y="5634961"/>
            <a:ext cx="1346662" cy="5486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tx1"/>
                </a:solidFill>
              </a:rPr>
              <a:t>8 days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133985" y="5456585"/>
            <a:ext cx="1346662" cy="957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 smtClean="0">
              <a:solidFill>
                <a:schemeClr val="tx1"/>
              </a:solidFill>
            </a:endParaRPr>
          </a:p>
          <a:p>
            <a:pPr algn="ctr"/>
            <a:r>
              <a:rPr lang="en-US" sz="2000" b="1" dirty="0" smtClean="0">
                <a:solidFill>
                  <a:schemeClr val="tx1"/>
                </a:solidFill>
              </a:rPr>
              <a:t>Full cycle Facilitators</a:t>
            </a:r>
          </a:p>
          <a:p>
            <a:pPr algn="ctr"/>
            <a:r>
              <a:rPr lang="en-US" sz="2000" b="1" dirty="0" smtClean="0">
                <a:solidFill>
                  <a:schemeClr val="tx1"/>
                </a:solidFill>
              </a:rPr>
              <a:t> 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880577" y="5519599"/>
            <a:ext cx="1346662" cy="5486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tx1"/>
                </a:solidFill>
              </a:rPr>
              <a:t>5 days</a:t>
            </a:r>
            <a:endParaRPr lang="en-US" sz="2000" b="1" dirty="0">
              <a:solidFill>
                <a:schemeClr val="tx1"/>
              </a:solidFill>
            </a:endParaRPr>
          </a:p>
        </p:txBody>
      </p:sp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4133962054"/>
              </p:ext>
            </p:extLst>
          </p:nvPr>
        </p:nvGraphicFramePr>
        <p:xfrm>
          <a:off x="963460" y="3707769"/>
          <a:ext cx="10010371" cy="21523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09618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7955" y="415258"/>
            <a:ext cx="4644045" cy="59155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541"/>
            <a:ext cx="10515600" cy="811435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Phase 2 - Location for EASE trial</a:t>
            </a:r>
            <a:endParaRPr lang="en-US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5776" y="1042275"/>
            <a:ext cx="6553046" cy="4979122"/>
          </a:xfrm>
        </p:spPr>
        <p:txBody>
          <a:bodyPr>
            <a:normAutofit/>
          </a:bodyPr>
          <a:lstStyle/>
          <a:p>
            <a:r>
              <a:rPr lang="en-US" dirty="0" smtClean="0"/>
              <a:t>Embedded in </a:t>
            </a:r>
            <a:r>
              <a:rPr lang="en-US" i="1" dirty="0" smtClean="0"/>
              <a:t>Back </a:t>
            </a:r>
            <a:r>
              <a:rPr lang="en-US" i="1" dirty="0"/>
              <a:t>2</a:t>
            </a:r>
            <a:r>
              <a:rPr lang="en-US" i="1" dirty="0" smtClean="0"/>
              <a:t> </a:t>
            </a:r>
            <a:r>
              <a:rPr lang="en-US" i="1" dirty="0"/>
              <a:t>the </a:t>
            </a:r>
            <a:r>
              <a:rPr lang="en-US" i="1" dirty="0" smtClean="0"/>
              <a:t>Future</a:t>
            </a:r>
            <a:r>
              <a:rPr lang="en-US" dirty="0"/>
              <a:t> </a:t>
            </a:r>
            <a:r>
              <a:rPr lang="en-US" dirty="0" smtClean="0"/>
              <a:t>Education program  </a:t>
            </a:r>
          </a:p>
          <a:p>
            <a:r>
              <a:rPr lang="en-US" dirty="0" smtClean="0"/>
              <a:t>Location: Most </a:t>
            </a:r>
            <a:r>
              <a:rPr lang="en-US" dirty="0"/>
              <a:t>vulnerable </a:t>
            </a:r>
            <a:r>
              <a:rPr lang="en-US" dirty="0" smtClean="0"/>
              <a:t>regions in Tripoli and Akkar</a:t>
            </a:r>
          </a:p>
          <a:p>
            <a:r>
              <a:rPr lang="en-US" dirty="0" smtClean="0"/>
              <a:t>Camp </a:t>
            </a:r>
            <a:r>
              <a:rPr lang="en-US" dirty="0"/>
              <a:t>settlement, Village and Urban </a:t>
            </a:r>
            <a:r>
              <a:rPr lang="en-US" dirty="0" smtClean="0"/>
              <a:t>Settings</a:t>
            </a:r>
          </a:p>
          <a:p>
            <a:r>
              <a:rPr lang="en-US" dirty="0" smtClean="0"/>
              <a:t>Lebanese, Syrian and Palestinians Program</a:t>
            </a:r>
          </a:p>
          <a:p>
            <a:r>
              <a:rPr lang="en-US" dirty="0"/>
              <a:t>Nine Community Centers feasible for EASE</a:t>
            </a:r>
          </a:p>
          <a:p>
            <a:pPr marL="0" indent="0">
              <a:buNone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12407-35E7-4E87-8757-FD495B64908C}" type="slidenum">
              <a:rPr lang="en-US" smtClean="0"/>
              <a:t>8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838200" y="5082363"/>
            <a:ext cx="4499344" cy="124846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NL" sz="2800" dirty="0" err="1" smtClean="0"/>
              <a:t>Ethical</a:t>
            </a:r>
            <a:r>
              <a:rPr lang="nl-NL" sz="2800" dirty="0" smtClean="0"/>
              <a:t> </a:t>
            </a:r>
            <a:r>
              <a:rPr lang="nl-NL" sz="2800" dirty="0" err="1" smtClean="0"/>
              <a:t>approval</a:t>
            </a:r>
            <a:r>
              <a:rPr lang="nl-NL" sz="2800" dirty="0" smtClean="0"/>
              <a:t> </a:t>
            </a:r>
            <a:r>
              <a:rPr lang="nl-NL" sz="2800" dirty="0" err="1" smtClean="0"/>
              <a:t>from</a:t>
            </a:r>
            <a:r>
              <a:rPr lang="nl-NL" sz="2800" dirty="0" smtClean="0"/>
              <a:t> St. Joseph University &amp; WHO (</a:t>
            </a:r>
            <a:r>
              <a:rPr lang="nl-NL" sz="2800" dirty="0" err="1" smtClean="0"/>
              <a:t>almost</a:t>
            </a:r>
            <a:r>
              <a:rPr lang="nl-NL" sz="2800" dirty="0" smtClean="0"/>
              <a:t>) 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2342613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hase 2 – Pilot Study (1)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808" y="1066816"/>
            <a:ext cx="11375450" cy="5557706"/>
          </a:xfrm>
        </p:spPr>
        <p:txBody>
          <a:bodyPr>
            <a:normAutofit fontScale="92500" lnSpcReduction="10000"/>
          </a:bodyPr>
          <a:lstStyle/>
          <a:p>
            <a:r>
              <a:rPr lang="en-GB" dirty="0" smtClean="0"/>
              <a:t>2 locations in North (Tripoli) and Akkar </a:t>
            </a:r>
          </a:p>
          <a:p>
            <a:r>
              <a:rPr lang="en-GB" sz="3200" dirty="0" smtClean="0"/>
              <a:t>Sample: 128 children</a:t>
            </a:r>
          </a:p>
          <a:p>
            <a:pPr lvl="1"/>
            <a:r>
              <a:rPr lang="en-GB" dirty="0" smtClean="0"/>
              <a:t>64 children in 4 EASE groups - Groups divided on age and gender</a:t>
            </a:r>
          </a:p>
          <a:p>
            <a:pPr lvl="1"/>
            <a:r>
              <a:rPr lang="en-GB" dirty="0" smtClean="0"/>
              <a:t>64 children in the ETAU condition</a:t>
            </a:r>
          </a:p>
          <a:p>
            <a:r>
              <a:rPr lang="en-GB" dirty="0" smtClean="0"/>
              <a:t>Steps:</a:t>
            </a:r>
          </a:p>
          <a:p>
            <a:pPr lvl="1"/>
            <a:r>
              <a:rPr lang="en-GB" dirty="0" smtClean="0"/>
              <a:t>Parental consent and child assent for screening</a:t>
            </a:r>
          </a:p>
          <a:p>
            <a:pPr lvl="1"/>
            <a:r>
              <a:rPr lang="en-GB" dirty="0" smtClean="0"/>
              <a:t>Screening of child</a:t>
            </a:r>
          </a:p>
          <a:p>
            <a:pPr lvl="1"/>
            <a:r>
              <a:rPr lang="en-GB" dirty="0" smtClean="0"/>
              <a:t>Parental consent and children assent for study participation</a:t>
            </a:r>
          </a:p>
          <a:p>
            <a:pPr lvl="1"/>
            <a:r>
              <a:rPr lang="en-GB" dirty="0" smtClean="0"/>
              <a:t>Baseline</a:t>
            </a:r>
          </a:p>
          <a:p>
            <a:pPr lvl="1"/>
            <a:r>
              <a:rPr lang="en-GB" dirty="0" smtClean="0"/>
              <a:t>Randomization to ETAU and EASE</a:t>
            </a:r>
          </a:p>
          <a:p>
            <a:pPr lvl="1"/>
            <a:r>
              <a:rPr lang="en-GB" dirty="0" smtClean="0"/>
              <a:t>Assessment: Post intervention and 3-months Follow up</a:t>
            </a:r>
          </a:p>
          <a:p>
            <a:r>
              <a:rPr lang="en-GB" dirty="0" smtClean="0"/>
              <a:t>ETAU </a:t>
            </a:r>
          </a:p>
          <a:p>
            <a:pPr lvl="1"/>
            <a:r>
              <a:rPr lang="en-GB" dirty="0" smtClean="0"/>
              <a:t>Scripted individual sessions with parents and children by facilitator to cover:</a:t>
            </a:r>
          </a:p>
          <a:p>
            <a:pPr lvl="2"/>
            <a:r>
              <a:rPr lang="en-GB" dirty="0" smtClean="0"/>
              <a:t>Psychoeducation (screening results, self-help techniques)</a:t>
            </a:r>
          </a:p>
          <a:p>
            <a:pPr lvl="2"/>
            <a:r>
              <a:rPr lang="en-GB" dirty="0" smtClean="0"/>
              <a:t>Referral options to MHPSS services</a:t>
            </a:r>
          </a:p>
          <a:p>
            <a:endParaRPr lang="en-AU" dirty="0">
              <a:solidFill>
                <a:srgbClr val="FF0000"/>
              </a:solidFill>
            </a:endParaRPr>
          </a:p>
          <a:p>
            <a:endParaRPr lang="nl-NL" dirty="0" smtClean="0">
              <a:solidFill>
                <a:srgbClr val="FF0000"/>
              </a:solidFill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12407-35E7-4E87-8757-FD495B64908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2452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s3ZLVh0UGE3g_L76jWu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s3ZLVh0UGE3g_L76jW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KrOjpX066vUbGgeMW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HQ1binwkG4uvHp5d_g8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s3ZLVh0UGE3g_L76jW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KrOjpX066vUbGgeMW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HQ1binwkG4uvHp5d_g8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s3ZLVh0UGE3g_L76jWu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KrOjpX066vUbGgeMWs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HQ1binwkG4uvHp5d_g8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s3ZLVh0UGE3g_L76jW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XEF0pFZUWOKDRfdn1F1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KrOjpX066vUbGgeMW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HQ1binwkG4uvHp5d_g8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s3ZLVh0UGE3g_L76jW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KrOjpX066vUbGgeMWs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HQ1binwkG4uvHp5d_g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s3ZLVh0UGE3g_L76jWu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KrOjpX066vUbGgeMWs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s3ZLVh0UGE3g_L76jW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XEF0pFZUWOKDRfdn1F1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ow0Kg6u0GSPRgRB3gu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ow0Kg6u0GSPRgRB3guq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s3ZLVh0UGE3g_L76jWu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HQ1binwkG4uvHp5d_g8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KrOjpX066vUbGgeMWs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s3ZLVh0UGE3g_L76jWu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KrOjpX066vUbGgeMWs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HQ1binwkG4uvHp5d_g8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s3ZLVh0UGE3g_L76jW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KrOjpX066vUbGgeMWs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HQ1binwkG4uvHp5d_g8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s3ZLVh0UGE3g_L76jW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s3ZLVh0UGE3g_L76jWu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KrOjpX066vUbGgeMWs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HQ1binwkG4uvHp5d_g8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s3ZLVh0UGE3g_L76jWu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KrOjpX066vUbGgeMWs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HQ1binwkG4uvHp5d_g8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s3ZLVh0UGE3g_L76jWu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KrOjpX066vUbGgeMWs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HQ1binwkG4uvHp5d_g8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s3ZLVh0UGE3g_L76jWu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KrOjpX066vUbGgeMW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HQ1binwkG4uvHp5d_g8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HQ1binwkG4uvHp5d_g8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s3ZLVh0UGE3g_L76jWu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KrOjpX066vUbGgeMW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KrOjpX066vUbGgeMW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s3ZLVh0UGE3g_L76jW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KrOjpX066vUbGgeMW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HQ1binwkG4uvHp5d_g8w"/>
</p:tagLst>
</file>

<file path=ppt/theme/theme1.xml><?xml version="1.0" encoding="utf-8"?>
<a:theme xmlns:a="http://schemas.openxmlformats.org/drawingml/2006/main" name="Office Them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Office Them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aster">
  <a:themeElements>
    <a:clrScheme name="master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BDF53"/>
      </a:accent1>
      <a:accent2>
        <a:srgbClr val="FF9966"/>
      </a:accent2>
      <a:accent3>
        <a:srgbClr val="FFFFFF"/>
      </a:accent3>
      <a:accent4>
        <a:srgbClr val="000000"/>
      </a:accent4>
      <a:accent5>
        <a:srgbClr val="FDECB3"/>
      </a:accent5>
      <a:accent6>
        <a:srgbClr val="E78A5C"/>
      </a:accent6>
      <a:hlink>
        <a:srgbClr val="CC3300"/>
      </a:hlink>
      <a:folHlink>
        <a:srgbClr val="996600"/>
      </a:folHlink>
    </a:clrScheme>
    <a:fontScheme name="maste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578BEDF14F0C46B43D68BFF99413C8" ma:contentTypeVersion="20" ma:contentTypeDescription="Create a new document." ma:contentTypeScope="" ma:versionID="104c281fccd28b236a5cfdb495b63c47">
  <xsd:schema xmlns:xsd="http://www.w3.org/2001/XMLSchema" xmlns:xs="http://www.w3.org/2001/XMLSchema" xmlns:p="http://schemas.microsoft.com/office/2006/metadata/properties" xmlns:ns2="202ad6e4-d184-4635-82f3-46e0b18fe2a6" xmlns:ns3="b6d1b8ed-f676-4e68-a0c3-fb3fd4de66d8" xmlns:ns4="e82a134a-968e-4866-b0eb-f42cced77812" xmlns:ns5="3564246f-3d68-4a82-9401-b8a51b079cb2" targetNamespace="http://schemas.microsoft.com/office/2006/metadata/properties" ma:root="true" ma:fieldsID="1e9f9be91ef42087ac60584f052db101" ns2:_="" ns3:_="" ns4:_="" ns5:_="">
    <xsd:import namespace="202ad6e4-d184-4635-82f3-46e0b18fe2a6"/>
    <xsd:import namespace="b6d1b8ed-f676-4e68-a0c3-fb3fd4de66d8"/>
    <xsd:import namespace="e82a134a-968e-4866-b0eb-f42cced77812"/>
    <xsd:import namespace="3564246f-3d68-4a82-9401-b8a51b079cb2"/>
    <xsd:element name="properties">
      <xsd:complexType>
        <xsd:sequence>
          <xsd:element name="documentManagement">
            <xsd:complexType>
              <xsd:all>
                <xsd:element ref="ns2:h2f88f7875b5440d97364712b8d64c22" minOccurs="0"/>
                <xsd:element ref="ns2:TaxCatchAll" minOccurs="0"/>
                <xsd:element ref="ns3:d1cd45a75ed243f3936cffdaa95cbb3f" minOccurs="0"/>
                <xsd:element ref="ns3:c31ab4930a1f4540ac70b9f21ea81e11" minOccurs="0"/>
                <xsd:element ref="ns3:m13bc1898beb4f26bbe9fdab62c61676" minOccurs="0"/>
                <xsd:element ref="ns4:SharedWithUsers" minOccurs="0"/>
                <xsd:element ref="ns5:SharedWithDetails" minOccurs="0"/>
                <xsd:element ref="ns5:LastSharedByUser" minOccurs="0"/>
                <xsd:element ref="ns5:LastSharedByTim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2ad6e4-d184-4635-82f3-46e0b18fe2a6" elementFormDefault="qualified">
    <xsd:import namespace="http://schemas.microsoft.com/office/2006/documentManagement/types"/>
    <xsd:import namespace="http://schemas.microsoft.com/office/infopath/2007/PartnerControls"/>
    <xsd:element name="h2f88f7875b5440d97364712b8d64c22" ma:index="9" nillable="true" ma:taxonomy="true" ma:internalName="h2f88f7875b5440d97364712b8d64c22" ma:taxonomyFieldName="Document_x0020_Status" ma:displayName="Document Status" ma:default="" ma:fieldId="{12f88f78-75b5-440d-9736-4712b8d64c22}" ma:sspId="d222acf1-9cbd-4820-9ea2-b6515abbe819" ma:termSetId="0c37c3c1-a226-4956-b776-55d7491f222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description="" ma:hidden="true" ma:list="{d34079bb-ec15-40f2-9f8c-8621247d5ebb}" ma:internalName="TaxCatchAll" ma:showField="CatchAllData" ma:web="202ad6e4-d184-4635-82f3-46e0b18fe2a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d1b8ed-f676-4e68-a0c3-fb3fd4de66d8" elementFormDefault="qualified">
    <xsd:import namespace="http://schemas.microsoft.com/office/2006/documentManagement/types"/>
    <xsd:import namespace="http://schemas.microsoft.com/office/infopath/2007/PartnerControls"/>
    <xsd:element name="d1cd45a75ed243f3936cffdaa95cbb3f" ma:index="12" nillable="true" ma:taxonomy="true" ma:internalName="d1cd45a75ed243f3936cffdaa95cbb3f" ma:taxonomyFieldName="Sector" ma:displayName="Sector" ma:default="" ma:fieldId="{d1cd45a7-5ed2-43f3-936c-ffdaa95cbb3f}" ma:taxonomyMulti="true" ma:sspId="d222acf1-9cbd-4820-9ea2-b6515abbe819" ma:termSetId="4a8706ea-9c27-4f85-b418-2d41eb05479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31ab4930a1f4540ac70b9f21ea81e11" ma:index="14" nillable="true" ma:taxonomy="true" ma:internalName="c31ab4930a1f4540ac70b9f21ea81e11" ma:taxonomyFieldName="Project_x0020_Type" ma:displayName="Project Type" ma:default="" ma:fieldId="{c31ab493-0a1f-4540-ac70-b9f21ea81e11}" ma:sspId="d222acf1-9cbd-4820-9ea2-b6515abbe819" ma:termSetId="203d63c1-7721-4d7f-981c-bc789a00af8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13bc1898beb4f26bbe9fdab62c61676" ma:index="16" nillable="true" ma:taxonomy="true" ma:internalName="m13bc1898beb4f26bbe9fdab62c61676" ma:taxonomyFieldName="Phase_x0020_of_x0020_Intervention_x0020_Development" ma:displayName="Phase of Intervention Development" ma:default="" ma:fieldId="{613bc189-8beb-4f26-bbe9-fdab62c61676}" ma:sspId="d222acf1-9cbd-4820-9ea2-b6515abbe819" ma:termSetId="100194aa-38eb-4a8f-85ec-3b34568002e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ServiceMetadata" ma:index="2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2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2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24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2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2a134a-968e-4866-b0eb-f42cced77812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64246f-3d68-4a82-9401-b8a51b079cb2" elementFormDefault="qualified">
    <xsd:import namespace="http://schemas.microsoft.com/office/2006/documentManagement/types"/>
    <xsd:import namespace="http://schemas.microsoft.com/office/infopath/2007/PartnerControls"/>
    <xsd:element name="SharedWithDetails" ma:index="18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9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20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2f88f7875b5440d97364712b8d64c22 xmlns="202ad6e4-d184-4635-82f3-46e0b18fe2a6">
      <Terms xmlns="http://schemas.microsoft.com/office/infopath/2007/PartnerControls"/>
    </h2f88f7875b5440d97364712b8d64c22>
    <TaxCatchAll xmlns="202ad6e4-d184-4635-82f3-46e0b18fe2a6">
      <Value>1190</Value>
      <Value>1155</Value>
    </TaxCatchAll>
    <SharedWithUsers xmlns="e82a134a-968e-4866-b0eb-f42cced77812">
      <UserInfo>
        <DisplayName>MT distribution group</DisplayName>
        <AccountId>88</AccountId>
        <AccountType/>
      </UserInfo>
      <UserInfo>
        <DisplayName>Rinske Ellermeijer</DisplayName>
        <AccountId>72</AccountId>
        <AccountType/>
      </UserInfo>
      <UserInfo>
        <DisplayName>Russell Kerkhoven</DisplayName>
        <AccountId>64</AccountId>
        <AccountType/>
      </UserInfo>
      <UserInfo>
        <DisplayName>Nicole Engering</DisplayName>
        <AccountId>86</AccountId>
        <AccountType/>
      </UserInfo>
      <UserInfo>
        <DisplayName>Daphne Groenendijk</DisplayName>
        <AccountId>80</AccountId>
        <AccountType/>
      </UserInfo>
      <UserInfo>
        <DisplayName>Nienke Teunissen</DisplayName>
        <AccountId>89</AccountId>
        <AccountType/>
      </UserInfo>
      <UserInfo>
        <DisplayName>Laura Miller</DisplayName>
        <AccountId>82</AccountId>
        <AccountType/>
      </UserInfo>
    </SharedWithUsers>
    <c31ab4930a1f4540ac70b9f21ea81e11 xmlns="b6d1b8ed-f676-4e68-a0c3-fb3fd4de66d8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re Intervention</TermName>
          <TermId xmlns="http://schemas.microsoft.com/office/infopath/2007/PartnerControls">bc2622f0-0b84-481f-a9fe-d20dbce57cd4</TermId>
        </TermInfo>
      </Terms>
    </c31ab4930a1f4540ac70b9f21ea81e11>
    <d1cd45a75ed243f3936cffdaa95cbb3f xmlns="b6d1b8ed-f676-4e68-a0c3-fb3fd4de66d8">
      <Terms xmlns="http://schemas.microsoft.com/office/infopath/2007/PartnerControls">
        <TermInfo xmlns="http://schemas.microsoft.com/office/infopath/2007/PartnerControls">
          <TermName xmlns="http://schemas.microsoft.com/office/infopath/2007/PartnerControls">Psychosocial Support</TermName>
          <TermId xmlns="http://schemas.microsoft.com/office/infopath/2007/PartnerControls">e864f3b9-3360-45b3-aadc-97faa9faafb0</TermId>
        </TermInfo>
      </Terms>
    </d1cd45a75ed243f3936cffdaa95cbb3f>
    <m13bc1898beb4f26bbe9fdab62c61676 xmlns="b6d1b8ed-f676-4e68-a0c3-fb3fd4de66d8">
      <Terms xmlns="http://schemas.microsoft.com/office/infopath/2007/PartnerControls"/>
    </m13bc1898beb4f26bbe9fdab62c61676>
  </documentManagement>
</p:properties>
</file>

<file path=customXml/itemProps1.xml><?xml version="1.0" encoding="utf-8"?>
<ds:datastoreItem xmlns:ds="http://schemas.openxmlformats.org/officeDocument/2006/customXml" ds:itemID="{26D24046-E6DD-4A40-92F0-67EAB3CC626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02ad6e4-d184-4635-82f3-46e0b18fe2a6"/>
    <ds:schemaRef ds:uri="b6d1b8ed-f676-4e68-a0c3-fb3fd4de66d8"/>
    <ds:schemaRef ds:uri="e82a134a-968e-4866-b0eb-f42cced77812"/>
    <ds:schemaRef ds:uri="3564246f-3d68-4a82-9401-b8a51b079c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9EF4058-EDBA-4001-BAE1-CB8D14A3F5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F416673-1C12-4C2B-8E6E-E931009BBF16}">
  <ds:schemaRefs>
    <ds:schemaRef ds:uri="http://schemas.microsoft.com/office/2006/documentManagement/types"/>
    <ds:schemaRef ds:uri="http://www.w3.org/XML/1998/namespace"/>
    <ds:schemaRef ds:uri="http://purl.org/dc/terms/"/>
    <ds:schemaRef ds:uri="http://purl.org/dc/dcmitype/"/>
    <ds:schemaRef ds:uri="202ad6e4-d184-4635-82f3-46e0b18fe2a6"/>
    <ds:schemaRef ds:uri="http://schemas.openxmlformats.org/package/2006/metadata/core-properties"/>
    <ds:schemaRef ds:uri="e82a134a-968e-4866-b0eb-f42cced77812"/>
    <ds:schemaRef ds:uri="http://purl.org/dc/elements/1.1/"/>
    <ds:schemaRef ds:uri="http://schemas.microsoft.com/office/infopath/2007/PartnerControls"/>
    <ds:schemaRef ds:uri="3564246f-3d68-4a82-9401-b8a51b079cb2"/>
    <ds:schemaRef ds:uri="b6d1b8ed-f676-4e68-a0c3-fb3fd4de66d8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2701</TotalTime>
  <Words>1035</Words>
  <Application>Microsoft Office PowerPoint</Application>
  <PresentationFormat>Custom</PresentationFormat>
  <Paragraphs>217</Paragraphs>
  <Slides>14</Slides>
  <Notes>1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4</vt:i4>
      </vt:variant>
    </vt:vector>
  </HeadingPairs>
  <TitlesOfParts>
    <vt:vector size="17" baseType="lpstr">
      <vt:lpstr>Office Theme</vt:lpstr>
      <vt:lpstr>6_Office Theme</vt:lpstr>
      <vt:lpstr>master</vt:lpstr>
      <vt:lpstr>PowerPoint Presentation</vt:lpstr>
      <vt:lpstr>What is EASE? </vt:lpstr>
      <vt:lpstr>PowerPoint Presentation</vt:lpstr>
      <vt:lpstr> Phase 1- Cultural Adaptation - Process </vt:lpstr>
      <vt:lpstr> Phase 1- Cultural Adaptation – Procedures</vt:lpstr>
      <vt:lpstr>Phase 1 – Cultural Adaptation – Example adaptations</vt:lpstr>
      <vt:lpstr>Phase 1 – Trainings + Timeline </vt:lpstr>
      <vt:lpstr>Phase 2 - Location for EASE trial</vt:lpstr>
      <vt:lpstr>Phase 2 – Pilot Study (1) </vt:lpstr>
      <vt:lpstr>Phase 2 – Pilot Study (2) </vt:lpstr>
      <vt:lpstr>Measurements Instruments</vt:lpstr>
      <vt:lpstr>Adaptation and Validation of measures</vt:lpstr>
      <vt:lpstr>Phase 3 - Process evaluation</vt:lpstr>
      <vt:lpstr>Timeline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rst Thoughts on War Child Holland</dc:title>
  <dc:creator>Bergsma, Tjipke</dc:creator>
  <cp:lastModifiedBy>Uppendahl, J.R.</cp:lastModifiedBy>
  <cp:revision>1238</cp:revision>
  <cp:lastPrinted>2017-10-04T13:26:51Z</cp:lastPrinted>
  <dcterms:created xsi:type="dcterms:W3CDTF">2015-05-28T23:26:08Z</dcterms:created>
  <dcterms:modified xsi:type="dcterms:W3CDTF">2018-02-13T15:2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578BEDF14F0C46B43D68BFF99413C8</vt:lpwstr>
  </property>
  <property fmtid="{D5CDD505-2E9C-101B-9397-08002B2CF9AE}" pid="3" name="Country">
    <vt:lpwstr/>
  </property>
  <property fmtid="{D5CDD505-2E9C-101B-9397-08002B2CF9AE}" pid="4" name="Document Status">
    <vt:lpwstr/>
  </property>
  <property fmtid="{D5CDD505-2E9C-101B-9397-08002B2CF9AE}" pid="5" name="Document Type">
    <vt:lpwstr/>
  </property>
  <property fmtid="{D5CDD505-2E9C-101B-9397-08002B2CF9AE}" pid="6" name="Sector">
    <vt:lpwstr>1155;#Psychosocial Support|e864f3b9-3360-45b3-aadc-97faa9faafb0</vt:lpwstr>
  </property>
  <property fmtid="{D5CDD505-2E9C-101B-9397-08002B2CF9AE}" pid="7" name="Project Type">
    <vt:lpwstr>1190;#Core Intervention|bc2622f0-0b84-481f-a9fe-d20dbce57cd4</vt:lpwstr>
  </property>
  <property fmtid="{D5CDD505-2E9C-101B-9397-08002B2CF9AE}" pid="8" name="Phase of Intervention Development">
    <vt:lpwstr/>
  </property>
</Properties>
</file>